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media/image19.jpg" ContentType="image/jpg"/>
  <Override PartName="/ppt/media/image20.jpg" ContentType="image/jpg"/>
  <Override PartName="/ppt/media/image21.jpg" ContentType="image/jpg"/>
  <Override PartName="/ppt/media/image22.jpg" ContentType="image/jpg"/>
  <Override PartName="/ppt/media/image23.jpg" ContentType="image/jpg"/>
  <Override PartName="/ppt/media/image24.jpg" ContentType="image/jpg"/>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89" r:id="rId1"/>
  </p:sldMasterIdLst>
  <p:notesMasterIdLst>
    <p:notesMasterId r:id="rId43"/>
  </p:notesMasterIdLst>
  <p:sldIdLst>
    <p:sldId id="256" r:id="rId2"/>
    <p:sldId id="465" r:id="rId3"/>
    <p:sldId id="466" r:id="rId4"/>
    <p:sldId id="335" r:id="rId5"/>
    <p:sldId id="434" r:id="rId6"/>
    <p:sldId id="468" r:id="rId7"/>
    <p:sldId id="435" r:id="rId8"/>
    <p:sldId id="376" r:id="rId9"/>
    <p:sldId id="391" r:id="rId10"/>
    <p:sldId id="392" r:id="rId11"/>
    <p:sldId id="393" r:id="rId12"/>
    <p:sldId id="395" r:id="rId13"/>
    <p:sldId id="396" r:id="rId14"/>
    <p:sldId id="394" r:id="rId15"/>
    <p:sldId id="397" r:id="rId16"/>
    <p:sldId id="398" r:id="rId17"/>
    <p:sldId id="470" r:id="rId18"/>
    <p:sldId id="399" r:id="rId19"/>
    <p:sldId id="400" r:id="rId20"/>
    <p:sldId id="401" r:id="rId21"/>
    <p:sldId id="403" r:id="rId22"/>
    <p:sldId id="405" r:id="rId23"/>
    <p:sldId id="407" r:id="rId24"/>
    <p:sldId id="414" r:id="rId25"/>
    <p:sldId id="408" r:id="rId26"/>
    <p:sldId id="409" r:id="rId27"/>
    <p:sldId id="469" r:id="rId28"/>
    <p:sldId id="411" r:id="rId29"/>
    <p:sldId id="454" r:id="rId30"/>
    <p:sldId id="471" r:id="rId31"/>
    <p:sldId id="472" r:id="rId32"/>
    <p:sldId id="473" r:id="rId33"/>
    <p:sldId id="474" r:id="rId34"/>
    <p:sldId id="475" r:id="rId35"/>
    <p:sldId id="476" r:id="rId36"/>
    <p:sldId id="477" r:id="rId37"/>
    <p:sldId id="478" r:id="rId38"/>
    <p:sldId id="479" r:id="rId39"/>
    <p:sldId id="480" r:id="rId40"/>
    <p:sldId id="481" r:id="rId41"/>
    <p:sldId id="482" r:id="rId42"/>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Garamond" panose="02020404030301010803" pitchFamily="18"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Garamond" panose="02020404030301010803" pitchFamily="18"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Garamond" panose="02020404030301010803" pitchFamily="18"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Garamond" panose="02020404030301010803" pitchFamily="18"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Garamond" panose="02020404030301010803" pitchFamily="18" charset="0"/>
        <a:ea typeface="+mn-ea"/>
        <a:cs typeface="Arial" panose="020B0604020202020204" pitchFamily="34" charset="0"/>
      </a:defRPr>
    </a:lvl5pPr>
    <a:lvl6pPr marL="2286000" algn="r" defTabSz="914400" rtl="1" eaLnBrk="1" latinLnBrk="0" hangingPunct="1">
      <a:defRPr kern="1200">
        <a:solidFill>
          <a:schemeClr val="tx1"/>
        </a:solidFill>
        <a:latin typeface="Garamond" panose="02020404030301010803" pitchFamily="18" charset="0"/>
        <a:ea typeface="+mn-ea"/>
        <a:cs typeface="Arial" panose="020B0604020202020204" pitchFamily="34" charset="0"/>
      </a:defRPr>
    </a:lvl6pPr>
    <a:lvl7pPr marL="2743200" algn="r" defTabSz="914400" rtl="1" eaLnBrk="1" latinLnBrk="0" hangingPunct="1">
      <a:defRPr kern="1200">
        <a:solidFill>
          <a:schemeClr val="tx1"/>
        </a:solidFill>
        <a:latin typeface="Garamond" panose="02020404030301010803" pitchFamily="18" charset="0"/>
        <a:ea typeface="+mn-ea"/>
        <a:cs typeface="Arial" panose="020B0604020202020204" pitchFamily="34" charset="0"/>
      </a:defRPr>
    </a:lvl7pPr>
    <a:lvl8pPr marL="3200400" algn="r" defTabSz="914400" rtl="1" eaLnBrk="1" latinLnBrk="0" hangingPunct="1">
      <a:defRPr kern="1200">
        <a:solidFill>
          <a:schemeClr val="tx1"/>
        </a:solidFill>
        <a:latin typeface="Garamond" panose="02020404030301010803" pitchFamily="18" charset="0"/>
        <a:ea typeface="+mn-ea"/>
        <a:cs typeface="Arial" panose="020B0604020202020204" pitchFamily="34" charset="0"/>
      </a:defRPr>
    </a:lvl8pPr>
    <a:lvl9pPr marL="3657600" algn="r" defTabSz="914400" rtl="1" eaLnBrk="1" latinLnBrk="0" hangingPunct="1">
      <a:defRPr kern="1200">
        <a:solidFill>
          <a:schemeClr val="tx1"/>
        </a:solidFill>
        <a:latin typeface="Garamond" panose="02020404030301010803" pitchFamily="18"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38" autoAdjust="0"/>
    <p:restoredTop sz="83837" autoAdjust="0"/>
  </p:normalViewPr>
  <p:slideViewPr>
    <p:cSldViewPr>
      <p:cViewPr varScale="1">
        <p:scale>
          <a:sx n="60" d="100"/>
          <a:sy n="60" d="100"/>
        </p:scale>
        <p:origin x="1505" y="31"/>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691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rtl="0" eaLnBrk="1" hangingPunct="1">
              <a:defRPr sz="1200">
                <a:latin typeface="Arial" pitchFamily="34" charset="0"/>
                <a:cs typeface="+mn-cs"/>
              </a:defRPr>
            </a:lvl1pPr>
          </a:lstStyle>
          <a:p>
            <a:pPr>
              <a:defRPr/>
            </a:pPr>
            <a:endParaRPr lang="en-US"/>
          </a:p>
        </p:txBody>
      </p:sp>
      <p:sp>
        <p:nvSpPr>
          <p:cNvPr id="16691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rtl="0" eaLnBrk="1" hangingPunct="1">
              <a:defRPr sz="1200">
                <a:latin typeface="Arial" pitchFamily="34" charset="0"/>
                <a:cs typeface="+mn-cs"/>
              </a:defRPr>
            </a:lvl1pPr>
          </a:lstStyle>
          <a:p>
            <a:pPr>
              <a:defRPr/>
            </a:pPr>
            <a:endParaRPr lang="en-US"/>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6691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6691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rtl="0" eaLnBrk="1" hangingPunct="1">
              <a:defRPr sz="1200">
                <a:latin typeface="Arial" pitchFamily="34" charset="0"/>
                <a:cs typeface="+mn-cs"/>
              </a:defRPr>
            </a:lvl1pPr>
          </a:lstStyle>
          <a:p>
            <a:pPr>
              <a:defRPr/>
            </a:pPr>
            <a:endParaRPr lang="en-US"/>
          </a:p>
        </p:txBody>
      </p:sp>
      <p:sp>
        <p:nvSpPr>
          <p:cNvPr id="16691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rtl="0" eaLnBrk="1" hangingPunct="1">
              <a:defRPr sz="1200">
                <a:latin typeface="Arial" panose="020B0604020202020204" pitchFamily="34" charset="0"/>
              </a:defRPr>
            </a:lvl1pPr>
          </a:lstStyle>
          <a:p>
            <a:pPr>
              <a:defRPr/>
            </a:pPr>
            <a:fld id="{17052E83-4DFB-4760-A0D6-01278BC9469A}" type="slidenum">
              <a:rPr lang="en-US"/>
              <a:pPr>
                <a:defRPr/>
              </a:pPr>
              <a:t>‹#›</a:t>
            </a:fld>
            <a:endParaRPr lang="en-US"/>
          </a:p>
        </p:txBody>
      </p:sp>
    </p:spTree>
    <p:extLst>
      <p:ext uri="{BB962C8B-B14F-4D97-AF65-F5344CB8AC3E}">
        <p14:creationId xmlns:p14="http://schemas.microsoft.com/office/powerpoint/2010/main" val="149337520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7DA2AD58-17E9-40C4-AF1B-709D11B2BD90}" type="slidenum">
              <a:rPr lang="en-US" smtClean="0"/>
              <a:pPr>
                <a:spcBef>
                  <a:spcPct val="0"/>
                </a:spcBef>
              </a:pPr>
              <a:t>1</a:t>
            </a:fld>
            <a:endParaRPr lang="en-US" smtClean="0"/>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1889276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63FEF9-BA0D-4692-81B4-C08A6A6F9C9D}" type="slidenum">
              <a:rPr lang="en-US" smtClean="0"/>
              <a:pPr>
                <a:spcBef>
                  <a:spcPct val="0"/>
                </a:spcBef>
              </a:pPr>
              <a:t>10</a:t>
            </a:fld>
            <a:endParaRPr lang="en-US"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2259239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0B63CF7-7671-4264-8B1C-5BEE5382E790}" type="slidenum">
              <a:rPr lang="en-US" smtClean="0"/>
              <a:pPr>
                <a:spcBef>
                  <a:spcPct val="0"/>
                </a:spcBef>
              </a:pPr>
              <a:t>11</a:t>
            </a:fld>
            <a:endParaRPr lang="en-US" smtClean="0"/>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3712422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CF60E383-18DB-487B-90B7-1A1C4FCDA3F5}" type="slidenum">
              <a:rPr lang="en-US" smtClean="0"/>
              <a:pPr>
                <a:spcBef>
                  <a:spcPct val="0"/>
                </a:spcBef>
              </a:pPr>
              <a:t>12</a:t>
            </a:fld>
            <a:endParaRPr lang="en-US" smtClean="0"/>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441227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EDB3C451-5C06-4245-BDC3-95A87E9222DB}" type="slidenum">
              <a:rPr lang="en-US" smtClean="0"/>
              <a:pPr>
                <a:spcBef>
                  <a:spcPct val="0"/>
                </a:spcBef>
              </a:pPr>
              <a:t>13</a:t>
            </a:fld>
            <a:endParaRPr lang="en-US" smtClean="0"/>
          </a:p>
        </p:txBody>
      </p:sp>
      <p:sp>
        <p:nvSpPr>
          <p:cNvPr id="36867" name="Rectangle 2"/>
          <p:cNvSpPr>
            <a:spLocks noGrp="1" noRot="1" noChangeAspect="1" noChangeArrowheads="1" noTextEdit="1"/>
          </p:cNvSpPr>
          <p:nvPr>
            <p:ph type="sldImg"/>
          </p:nvPr>
        </p:nvSpPr>
        <p:spPr>
          <a:ln/>
        </p:spPr>
      </p:sp>
      <p:sp>
        <p:nvSpPr>
          <p:cNvPr id="36868" name="Rectangle 3"/>
          <p:cNvSpPr>
            <a:spLocks noGrp="1" noChangeArrowheads="1"/>
          </p:cNvSpPr>
          <p:nvPr>
            <p:ph type="body" idx="1"/>
          </p:nvPr>
        </p:nvSpPr>
        <p:spPr>
          <a:noFill/>
        </p:spPr>
        <p:txBody>
          <a:bodyPr/>
          <a:lstStyle/>
          <a:p>
            <a:pPr eaLnBrk="1" hangingPunct="1"/>
            <a:r>
              <a:rPr lang="en-US" b="1" smtClean="0">
                <a:latin typeface="Arial Unicode MS" panose="020B0604020202020204" pitchFamily="34" charset="-128"/>
                <a:ea typeface="Arial Unicode MS" panose="020B0604020202020204" pitchFamily="34" charset="-128"/>
                <a:cs typeface="Arial Unicode MS" panose="020B0604020202020204" pitchFamily="34" charset="-128"/>
              </a:rPr>
              <a:t>Charity Health Providers: </a:t>
            </a:r>
          </a:p>
          <a:p>
            <a:pPr eaLnBrk="1" hangingPunct="1"/>
            <a:r>
              <a:rPr lang="en-US" b="1" smtClean="0"/>
              <a:t>Prince Fahad Bin Salman Charity Association For Renal Failure Patients Care.</a:t>
            </a:r>
          </a:p>
          <a:p>
            <a:pPr eaLnBrk="1" hangingPunct="1"/>
            <a:r>
              <a:rPr lang="en-US" b="1" smtClean="0"/>
              <a:t>Charity Zamzam Association for Health Services volunteers . </a:t>
            </a:r>
            <a:endParaRPr lang="ar-SA" smtClean="0"/>
          </a:p>
        </p:txBody>
      </p:sp>
    </p:spTree>
    <p:extLst>
      <p:ext uri="{BB962C8B-B14F-4D97-AF65-F5344CB8AC3E}">
        <p14:creationId xmlns:p14="http://schemas.microsoft.com/office/powerpoint/2010/main" val="34106228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259C19F7-8726-46C7-A2AF-04F92C671152}" type="slidenum">
              <a:rPr lang="en-US" smtClean="0"/>
              <a:pPr>
                <a:spcBef>
                  <a:spcPct val="0"/>
                </a:spcBef>
              </a:pPr>
              <a:t>14</a:t>
            </a:fld>
            <a:endParaRPr lang="en-US" smtClean="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920955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2248826B-452A-4CDC-817E-CF03CD3C658C}" type="slidenum">
              <a:rPr lang="en-US" smtClean="0"/>
              <a:pPr>
                <a:spcBef>
                  <a:spcPct val="0"/>
                </a:spcBef>
              </a:pPr>
              <a:t>15</a:t>
            </a:fld>
            <a:endParaRPr lang="en-US" smtClean="0"/>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1880897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0B5A930-29FC-4819-827A-BB5A6483D7C5}" type="slidenum">
              <a:rPr lang="en-US" smtClean="0"/>
              <a:pPr>
                <a:spcBef>
                  <a:spcPct val="0"/>
                </a:spcBef>
              </a:pPr>
              <a:t>16</a:t>
            </a:fld>
            <a:endParaRPr lang="en-US" smtClean="0"/>
          </a:p>
        </p:txBody>
      </p:sp>
      <p:sp>
        <p:nvSpPr>
          <p:cNvPr id="43011" name="Rectangle 2"/>
          <p:cNvSpPr>
            <a:spLocks noGrp="1" noRot="1" noChangeAspect="1" noChangeArrowheads="1" noTextEdit="1"/>
          </p:cNvSpPr>
          <p:nvPr>
            <p:ph type="sldImg"/>
          </p:nvPr>
        </p:nvSpPr>
        <p:spPr>
          <a:ln/>
        </p:spPr>
      </p:sp>
      <p:sp>
        <p:nvSpPr>
          <p:cNvPr id="43012"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25313153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247E0B12-5901-4525-A11D-44468B885CB1}" type="slidenum">
              <a:rPr lang="en-US" smtClean="0"/>
              <a:pPr>
                <a:spcBef>
                  <a:spcPct val="0"/>
                </a:spcBef>
              </a:pPr>
              <a:t>17</a:t>
            </a:fld>
            <a:endParaRPr lang="en-US" smtClean="0"/>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34346640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0E27E33D-F072-4423-AC7F-503EFF6D68EE}" type="slidenum">
              <a:rPr lang="en-US" smtClean="0"/>
              <a:pPr>
                <a:spcBef>
                  <a:spcPct val="0"/>
                </a:spcBef>
              </a:pPr>
              <a:t>18</a:t>
            </a:fld>
            <a:endParaRPr lang="en-US" smtClean="0"/>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1863570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FD3589F8-CB4C-4BEC-A6DA-1BDDE823FDBF}" type="slidenum">
              <a:rPr lang="en-US" smtClean="0"/>
              <a:pPr>
                <a:spcBef>
                  <a:spcPct val="0"/>
                </a:spcBef>
              </a:pPr>
              <a:t>19</a:t>
            </a:fld>
            <a:endParaRPr lang="en-US" smtClean="0"/>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322118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F104CF8-F2EC-444B-A525-F8491B6EA06C}" type="slidenum">
              <a:rPr lang="en-US" smtClean="0"/>
              <a:pPr>
                <a:spcBef>
                  <a:spcPct val="0"/>
                </a:spcBef>
              </a:pPr>
              <a:t>2</a:t>
            </a:fld>
            <a:endParaRPr lang="en-US" smtClean="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23080687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FE746118-D95C-492C-9021-2371E072ED60}" type="slidenum">
              <a:rPr lang="en-US" smtClean="0"/>
              <a:pPr>
                <a:spcBef>
                  <a:spcPct val="0"/>
                </a:spcBef>
              </a:pPr>
              <a:t>20</a:t>
            </a:fld>
            <a:endParaRPr lang="en-US" smtClean="0"/>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28983038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p:spPr>
        <p:txBody>
          <a:bodyPr/>
          <a:lstStyle/>
          <a:p>
            <a:endParaRPr lang="ar-SA" smtClean="0"/>
          </a:p>
        </p:txBody>
      </p:sp>
      <p:sp>
        <p:nvSpPr>
          <p:cNvPr id="61444"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25D4AB8-205A-4110-8CDE-17E152172928}" type="slidenum">
              <a:rPr lang="en-US" smtClean="0"/>
              <a:pPr>
                <a:spcBef>
                  <a:spcPct val="0"/>
                </a:spcBef>
              </a:pPr>
              <a:t>29</a:t>
            </a:fld>
            <a:endParaRPr lang="en-US" smtClean="0"/>
          </a:p>
        </p:txBody>
      </p:sp>
    </p:spTree>
    <p:extLst>
      <p:ext uri="{BB962C8B-B14F-4D97-AF65-F5344CB8AC3E}">
        <p14:creationId xmlns:p14="http://schemas.microsoft.com/office/powerpoint/2010/main" val="4819984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p:spPr>
        <p:txBody>
          <a:bodyPr/>
          <a:lstStyle/>
          <a:p>
            <a:r>
              <a:rPr lang="en-US" smtClean="0"/>
              <a:t>(1 min)</a:t>
            </a:r>
          </a:p>
          <a:p>
            <a:r>
              <a:rPr lang="en-US" smtClean="0"/>
              <a:t>Together we designed the new Model of Care….(patient centric, empowered in all layers…)</a:t>
            </a:r>
          </a:p>
        </p:txBody>
      </p:sp>
      <p:sp>
        <p:nvSpPr>
          <p:cNvPr id="64516" name="Slide Number Placeholder 3"/>
          <p:cNvSpPr>
            <a:spLocks noGrp="1"/>
          </p:cNvSpPr>
          <p:nvPr>
            <p:ph type="sldNum" sz="quarter" idx="5"/>
          </p:nvPr>
        </p:nvSpPr>
        <p:spPr>
          <a:noFill/>
        </p:spPr>
        <p:txBody>
          <a:bodyPr/>
          <a:lstStyle>
            <a:lvl1pPr>
              <a:defRPr>
                <a:solidFill>
                  <a:schemeClr val="tx1"/>
                </a:solidFill>
                <a:latin typeface="Garamond" panose="02020404030301010803" pitchFamily="18" charset="0"/>
                <a:cs typeface="Arial" panose="020B0604020202020204" pitchFamily="34" charset="0"/>
              </a:defRPr>
            </a:lvl1pPr>
            <a:lvl2pPr marL="742950" indent="-285750">
              <a:defRPr>
                <a:solidFill>
                  <a:schemeClr val="tx1"/>
                </a:solidFill>
                <a:latin typeface="Garamond" panose="02020404030301010803" pitchFamily="18" charset="0"/>
                <a:cs typeface="Arial" panose="020B0604020202020204" pitchFamily="34" charset="0"/>
              </a:defRPr>
            </a:lvl2pPr>
            <a:lvl3pPr marL="1143000" indent="-228600">
              <a:defRPr>
                <a:solidFill>
                  <a:schemeClr val="tx1"/>
                </a:solidFill>
                <a:latin typeface="Garamond" panose="02020404030301010803" pitchFamily="18" charset="0"/>
                <a:cs typeface="Arial" panose="020B0604020202020204" pitchFamily="34" charset="0"/>
              </a:defRPr>
            </a:lvl3pPr>
            <a:lvl4pPr marL="1600200" indent="-228600">
              <a:defRPr>
                <a:solidFill>
                  <a:schemeClr val="tx1"/>
                </a:solidFill>
                <a:latin typeface="Garamond" panose="02020404030301010803" pitchFamily="18" charset="0"/>
                <a:cs typeface="Arial" panose="020B0604020202020204" pitchFamily="34" charset="0"/>
              </a:defRPr>
            </a:lvl4pPr>
            <a:lvl5pPr marL="2057400" indent="-228600">
              <a:defRPr>
                <a:solidFill>
                  <a:schemeClr val="tx1"/>
                </a:solidFill>
                <a:latin typeface="Garamond" panose="02020404030301010803" pitchFamily="18" charset="0"/>
                <a:cs typeface="Arial" panose="020B0604020202020204" pitchFamily="34" charset="0"/>
              </a:defRPr>
            </a:lvl5pPr>
            <a:lvl6pPr marL="25146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fld id="{AF61160B-9228-4738-B5A6-916370143D6D}" type="slidenum">
              <a:rPr lang="en-US" smtClean="0">
                <a:latin typeface="Arial" panose="020B0604020202020204" pitchFamily="34" charset="0"/>
              </a:rPr>
              <a:pPr/>
              <a:t>31</a:t>
            </a:fld>
            <a:endParaRPr lang="en-US" smtClean="0">
              <a:latin typeface="Arial" panose="020B0604020202020204" pitchFamily="34" charset="0"/>
            </a:endParaRPr>
          </a:p>
        </p:txBody>
      </p:sp>
    </p:spTree>
    <p:extLst>
      <p:ext uri="{BB962C8B-B14F-4D97-AF65-F5344CB8AC3E}">
        <p14:creationId xmlns:p14="http://schemas.microsoft.com/office/powerpoint/2010/main" val="41004059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p:spPr>
        <p:txBody>
          <a:bodyPr/>
          <a:lstStyle/>
          <a:p>
            <a:r>
              <a:rPr lang="en-US" smtClean="0"/>
              <a:t>(2 min)</a:t>
            </a:r>
          </a:p>
          <a:p>
            <a:r>
              <a:rPr lang="en-US" smtClean="0"/>
              <a:t>Integrated Care Systems are …(the definition). We will have 15-20 Integrated Care Systems in Saudi. Designed around a new Saudi specific designed Model of care that serves the needs of our population, and it will be implemented by our existing workforce in a new setup.</a:t>
            </a:r>
          </a:p>
          <a:p>
            <a:r>
              <a:rPr lang="en-US" smtClean="0"/>
              <a:t>This means no longer having a centralized training system. We can expand our residency programs. We can train people in all areas around the country. Utilize virtual learning even outside Saudi like Canada and Australia do it.</a:t>
            </a:r>
          </a:p>
        </p:txBody>
      </p:sp>
      <p:sp>
        <p:nvSpPr>
          <p:cNvPr id="68612" name="Slide Number Placeholder 3"/>
          <p:cNvSpPr>
            <a:spLocks noGrp="1"/>
          </p:cNvSpPr>
          <p:nvPr>
            <p:ph type="sldNum" sz="quarter" idx="5"/>
          </p:nvPr>
        </p:nvSpPr>
        <p:spPr>
          <a:noFill/>
        </p:spPr>
        <p:txBody>
          <a:bodyPr/>
          <a:lstStyle>
            <a:lvl1pPr>
              <a:defRPr>
                <a:solidFill>
                  <a:schemeClr val="tx1"/>
                </a:solidFill>
                <a:latin typeface="Garamond" panose="02020404030301010803" pitchFamily="18" charset="0"/>
                <a:cs typeface="Arial" panose="020B0604020202020204" pitchFamily="34" charset="0"/>
              </a:defRPr>
            </a:lvl1pPr>
            <a:lvl2pPr marL="742950" indent="-285750">
              <a:defRPr>
                <a:solidFill>
                  <a:schemeClr val="tx1"/>
                </a:solidFill>
                <a:latin typeface="Garamond" panose="02020404030301010803" pitchFamily="18" charset="0"/>
                <a:cs typeface="Arial" panose="020B0604020202020204" pitchFamily="34" charset="0"/>
              </a:defRPr>
            </a:lvl2pPr>
            <a:lvl3pPr marL="1143000" indent="-228600">
              <a:defRPr>
                <a:solidFill>
                  <a:schemeClr val="tx1"/>
                </a:solidFill>
                <a:latin typeface="Garamond" panose="02020404030301010803" pitchFamily="18" charset="0"/>
                <a:cs typeface="Arial" panose="020B0604020202020204" pitchFamily="34" charset="0"/>
              </a:defRPr>
            </a:lvl3pPr>
            <a:lvl4pPr marL="1600200" indent="-228600">
              <a:defRPr>
                <a:solidFill>
                  <a:schemeClr val="tx1"/>
                </a:solidFill>
                <a:latin typeface="Garamond" panose="02020404030301010803" pitchFamily="18" charset="0"/>
                <a:cs typeface="Arial" panose="020B0604020202020204" pitchFamily="34" charset="0"/>
              </a:defRPr>
            </a:lvl4pPr>
            <a:lvl5pPr marL="2057400" indent="-228600">
              <a:defRPr>
                <a:solidFill>
                  <a:schemeClr val="tx1"/>
                </a:solidFill>
                <a:latin typeface="Garamond" panose="02020404030301010803" pitchFamily="18" charset="0"/>
                <a:cs typeface="Arial" panose="020B0604020202020204" pitchFamily="34" charset="0"/>
              </a:defRPr>
            </a:lvl5pPr>
            <a:lvl6pPr marL="25146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fld id="{7D8CEBA3-8DF8-4D72-8C00-4BCD9335DD1C}" type="slidenum">
              <a:rPr lang="en-US" smtClean="0">
                <a:latin typeface="Arial" panose="020B0604020202020204" pitchFamily="34" charset="0"/>
              </a:rPr>
              <a:pPr/>
              <a:t>34</a:t>
            </a:fld>
            <a:endParaRPr lang="en-US" smtClean="0">
              <a:latin typeface="Arial" panose="020B0604020202020204" pitchFamily="34" charset="0"/>
            </a:endParaRPr>
          </a:p>
        </p:txBody>
      </p:sp>
    </p:spTree>
    <p:extLst>
      <p:ext uri="{BB962C8B-B14F-4D97-AF65-F5344CB8AC3E}">
        <p14:creationId xmlns:p14="http://schemas.microsoft.com/office/powerpoint/2010/main" val="37200947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p:spPr>
        <p:txBody>
          <a:bodyPr/>
          <a:lstStyle/>
          <a:p>
            <a:endParaRPr lang="ar-SA" smtClean="0"/>
          </a:p>
        </p:txBody>
      </p:sp>
      <p:sp>
        <p:nvSpPr>
          <p:cNvPr id="70660" name="Slide Number Placeholder 3"/>
          <p:cNvSpPr>
            <a:spLocks noGrp="1"/>
          </p:cNvSpPr>
          <p:nvPr>
            <p:ph type="sldNum" sz="quarter" idx="5"/>
          </p:nvPr>
        </p:nvSpPr>
        <p:spPr>
          <a:noFill/>
        </p:spPr>
        <p:txBody>
          <a:bodyPr/>
          <a:lstStyle>
            <a:lvl1pPr>
              <a:defRPr>
                <a:solidFill>
                  <a:schemeClr val="tx1"/>
                </a:solidFill>
                <a:latin typeface="Garamond" panose="02020404030301010803" pitchFamily="18" charset="0"/>
                <a:cs typeface="Arial" panose="020B0604020202020204" pitchFamily="34" charset="0"/>
              </a:defRPr>
            </a:lvl1pPr>
            <a:lvl2pPr marL="742950" indent="-285750">
              <a:defRPr>
                <a:solidFill>
                  <a:schemeClr val="tx1"/>
                </a:solidFill>
                <a:latin typeface="Garamond" panose="02020404030301010803" pitchFamily="18" charset="0"/>
                <a:cs typeface="Arial" panose="020B0604020202020204" pitchFamily="34" charset="0"/>
              </a:defRPr>
            </a:lvl2pPr>
            <a:lvl3pPr marL="1143000" indent="-228600">
              <a:defRPr>
                <a:solidFill>
                  <a:schemeClr val="tx1"/>
                </a:solidFill>
                <a:latin typeface="Garamond" panose="02020404030301010803" pitchFamily="18" charset="0"/>
                <a:cs typeface="Arial" panose="020B0604020202020204" pitchFamily="34" charset="0"/>
              </a:defRPr>
            </a:lvl3pPr>
            <a:lvl4pPr marL="1600200" indent="-228600">
              <a:defRPr>
                <a:solidFill>
                  <a:schemeClr val="tx1"/>
                </a:solidFill>
                <a:latin typeface="Garamond" panose="02020404030301010803" pitchFamily="18" charset="0"/>
                <a:cs typeface="Arial" panose="020B0604020202020204" pitchFamily="34" charset="0"/>
              </a:defRPr>
            </a:lvl4pPr>
            <a:lvl5pPr marL="2057400" indent="-228600">
              <a:defRPr>
                <a:solidFill>
                  <a:schemeClr val="tx1"/>
                </a:solidFill>
                <a:latin typeface="Garamond" panose="02020404030301010803" pitchFamily="18" charset="0"/>
                <a:cs typeface="Arial" panose="020B0604020202020204" pitchFamily="34" charset="0"/>
              </a:defRPr>
            </a:lvl5pPr>
            <a:lvl6pPr marL="25146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fld id="{70C136C6-36B5-45DC-B485-6A9104D2E84C}" type="slidenum">
              <a:rPr lang="en-US" smtClean="0">
                <a:latin typeface="Arial" panose="020B0604020202020204" pitchFamily="34" charset="0"/>
              </a:rPr>
              <a:pPr/>
              <a:t>35</a:t>
            </a:fld>
            <a:endParaRPr lang="en-US" smtClean="0">
              <a:latin typeface="Arial" panose="020B0604020202020204" pitchFamily="34" charset="0"/>
            </a:endParaRPr>
          </a:p>
        </p:txBody>
      </p:sp>
    </p:spTree>
    <p:extLst>
      <p:ext uri="{BB962C8B-B14F-4D97-AF65-F5344CB8AC3E}">
        <p14:creationId xmlns:p14="http://schemas.microsoft.com/office/powerpoint/2010/main" val="15856691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a:spLocks noGrp="1"/>
          </p:cNvSpPr>
          <p:nvPr>
            <p:ph type="body" idx="1"/>
          </p:nvPr>
        </p:nvSpPr>
        <p:spPr>
          <a:noFill/>
        </p:spPr>
        <p:txBody>
          <a:bodyPr/>
          <a:lstStyle/>
          <a:p>
            <a:endParaRPr lang="ar-SA" smtClean="0"/>
          </a:p>
        </p:txBody>
      </p:sp>
      <p:sp>
        <p:nvSpPr>
          <p:cNvPr id="72708" name="Slide Number Placeholder 3"/>
          <p:cNvSpPr>
            <a:spLocks noGrp="1"/>
          </p:cNvSpPr>
          <p:nvPr>
            <p:ph type="sldNum" sz="quarter" idx="5"/>
          </p:nvPr>
        </p:nvSpPr>
        <p:spPr>
          <a:noFill/>
        </p:spPr>
        <p:txBody>
          <a:bodyPr/>
          <a:lstStyle>
            <a:lvl1pPr>
              <a:defRPr>
                <a:solidFill>
                  <a:schemeClr val="tx1"/>
                </a:solidFill>
                <a:latin typeface="Garamond" panose="02020404030301010803" pitchFamily="18" charset="0"/>
                <a:cs typeface="Arial" panose="020B0604020202020204" pitchFamily="34" charset="0"/>
              </a:defRPr>
            </a:lvl1pPr>
            <a:lvl2pPr marL="742950" indent="-285750">
              <a:defRPr>
                <a:solidFill>
                  <a:schemeClr val="tx1"/>
                </a:solidFill>
                <a:latin typeface="Garamond" panose="02020404030301010803" pitchFamily="18" charset="0"/>
                <a:cs typeface="Arial" panose="020B0604020202020204" pitchFamily="34" charset="0"/>
              </a:defRPr>
            </a:lvl2pPr>
            <a:lvl3pPr marL="1143000" indent="-228600">
              <a:defRPr>
                <a:solidFill>
                  <a:schemeClr val="tx1"/>
                </a:solidFill>
                <a:latin typeface="Garamond" panose="02020404030301010803" pitchFamily="18" charset="0"/>
                <a:cs typeface="Arial" panose="020B0604020202020204" pitchFamily="34" charset="0"/>
              </a:defRPr>
            </a:lvl3pPr>
            <a:lvl4pPr marL="1600200" indent="-228600">
              <a:defRPr>
                <a:solidFill>
                  <a:schemeClr val="tx1"/>
                </a:solidFill>
                <a:latin typeface="Garamond" panose="02020404030301010803" pitchFamily="18" charset="0"/>
                <a:cs typeface="Arial" panose="020B0604020202020204" pitchFamily="34" charset="0"/>
              </a:defRPr>
            </a:lvl4pPr>
            <a:lvl5pPr marL="2057400" indent="-228600">
              <a:defRPr>
                <a:solidFill>
                  <a:schemeClr val="tx1"/>
                </a:solidFill>
                <a:latin typeface="Garamond" panose="02020404030301010803" pitchFamily="18" charset="0"/>
                <a:cs typeface="Arial" panose="020B0604020202020204" pitchFamily="34" charset="0"/>
              </a:defRPr>
            </a:lvl5pPr>
            <a:lvl6pPr marL="25146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fld id="{C9CDAA0D-835F-4603-B998-58998F7FD32A}" type="slidenum">
              <a:rPr lang="en-US" smtClean="0">
                <a:latin typeface="Arial" panose="020B0604020202020204" pitchFamily="34" charset="0"/>
              </a:rPr>
              <a:pPr/>
              <a:t>36</a:t>
            </a:fld>
            <a:endParaRPr lang="en-US" smtClean="0">
              <a:latin typeface="Arial" panose="020B0604020202020204" pitchFamily="34" charset="0"/>
            </a:endParaRPr>
          </a:p>
        </p:txBody>
      </p:sp>
    </p:spTree>
    <p:extLst>
      <p:ext uri="{BB962C8B-B14F-4D97-AF65-F5344CB8AC3E}">
        <p14:creationId xmlns:p14="http://schemas.microsoft.com/office/powerpoint/2010/main" val="32875841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ln/>
        </p:spPr>
      </p:sp>
      <p:sp>
        <p:nvSpPr>
          <p:cNvPr id="74755" name="Notes Placeholder 2"/>
          <p:cNvSpPr>
            <a:spLocks noGrp="1"/>
          </p:cNvSpPr>
          <p:nvPr>
            <p:ph type="body" idx="1"/>
          </p:nvPr>
        </p:nvSpPr>
        <p:spPr>
          <a:noFill/>
        </p:spPr>
        <p:txBody>
          <a:bodyPr/>
          <a:lstStyle/>
          <a:p>
            <a:endParaRPr lang="ar-SA" smtClean="0"/>
          </a:p>
        </p:txBody>
      </p:sp>
      <p:sp>
        <p:nvSpPr>
          <p:cNvPr id="74756" name="Slide Number Placeholder 3"/>
          <p:cNvSpPr>
            <a:spLocks noGrp="1"/>
          </p:cNvSpPr>
          <p:nvPr>
            <p:ph type="sldNum" sz="quarter" idx="5"/>
          </p:nvPr>
        </p:nvSpPr>
        <p:spPr>
          <a:noFill/>
        </p:spPr>
        <p:txBody>
          <a:bodyPr/>
          <a:lstStyle>
            <a:lvl1pPr>
              <a:defRPr>
                <a:solidFill>
                  <a:schemeClr val="tx1"/>
                </a:solidFill>
                <a:latin typeface="Garamond" panose="02020404030301010803" pitchFamily="18" charset="0"/>
                <a:cs typeface="Arial" panose="020B0604020202020204" pitchFamily="34" charset="0"/>
              </a:defRPr>
            </a:lvl1pPr>
            <a:lvl2pPr marL="742950" indent="-285750">
              <a:defRPr>
                <a:solidFill>
                  <a:schemeClr val="tx1"/>
                </a:solidFill>
                <a:latin typeface="Garamond" panose="02020404030301010803" pitchFamily="18" charset="0"/>
                <a:cs typeface="Arial" panose="020B0604020202020204" pitchFamily="34" charset="0"/>
              </a:defRPr>
            </a:lvl2pPr>
            <a:lvl3pPr marL="1143000" indent="-228600">
              <a:defRPr>
                <a:solidFill>
                  <a:schemeClr val="tx1"/>
                </a:solidFill>
                <a:latin typeface="Garamond" panose="02020404030301010803" pitchFamily="18" charset="0"/>
                <a:cs typeface="Arial" panose="020B0604020202020204" pitchFamily="34" charset="0"/>
              </a:defRPr>
            </a:lvl3pPr>
            <a:lvl4pPr marL="1600200" indent="-228600">
              <a:defRPr>
                <a:solidFill>
                  <a:schemeClr val="tx1"/>
                </a:solidFill>
                <a:latin typeface="Garamond" panose="02020404030301010803" pitchFamily="18" charset="0"/>
                <a:cs typeface="Arial" panose="020B0604020202020204" pitchFamily="34" charset="0"/>
              </a:defRPr>
            </a:lvl4pPr>
            <a:lvl5pPr marL="2057400" indent="-228600">
              <a:defRPr>
                <a:solidFill>
                  <a:schemeClr val="tx1"/>
                </a:solidFill>
                <a:latin typeface="Garamond" panose="02020404030301010803" pitchFamily="18" charset="0"/>
                <a:cs typeface="Arial" panose="020B0604020202020204" pitchFamily="34" charset="0"/>
              </a:defRPr>
            </a:lvl5pPr>
            <a:lvl6pPr marL="25146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fld id="{8DD1EFB2-2A3D-4753-A072-2C7BEAD3B8B7}" type="slidenum">
              <a:rPr lang="en-US" smtClean="0">
                <a:latin typeface="Arial" panose="020B0604020202020204" pitchFamily="34" charset="0"/>
              </a:rPr>
              <a:pPr/>
              <a:t>37</a:t>
            </a:fld>
            <a:endParaRPr lang="en-US" smtClean="0">
              <a:latin typeface="Arial" panose="020B0604020202020204" pitchFamily="34" charset="0"/>
            </a:endParaRPr>
          </a:p>
        </p:txBody>
      </p:sp>
    </p:spTree>
    <p:extLst>
      <p:ext uri="{BB962C8B-B14F-4D97-AF65-F5344CB8AC3E}">
        <p14:creationId xmlns:p14="http://schemas.microsoft.com/office/powerpoint/2010/main" val="5398544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ln/>
        </p:spPr>
      </p:sp>
      <p:sp>
        <p:nvSpPr>
          <p:cNvPr id="76803" name="Notes Placeholder 2"/>
          <p:cNvSpPr>
            <a:spLocks noGrp="1"/>
          </p:cNvSpPr>
          <p:nvPr>
            <p:ph type="body" idx="1"/>
          </p:nvPr>
        </p:nvSpPr>
        <p:spPr>
          <a:noFill/>
        </p:spPr>
        <p:txBody>
          <a:bodyPr/>
          <a:lstStyle/>
          <a:p>
            <a:endParaRPr lang="ar-SA" smtClean="0"/>
          </a:p>
        </p:txBody>
      </p:sp>
      <p:sp>
        <p:nvSpPr>
          <p:cNvPr id="76804" name="Slide Number Placeholder 3"/>
          <p:cNvSpPr>
            <a:spLocks noGrp="1"/>
          </p:cNvSpPr>
          <p:nvPr>
            <p:ph type="sldNum" sz="quarter" idx="5"/>
          </p:nvPr>
        </p:nvSpPr>
        <p:spPr>
          <a:noFill/>
        </p:spPr>
        <p:txBody>
          <a:bodyPr/>
          <a:lstStyle>
            <a:lvl1pPr>
              <a:defRPr>
                <a:solidFill>
                  <a:schemeClr val="tx1"/>
                </a:solidFill>
                <a:latin typeface="Garamond" panose="02020404030301010803" pitchFamily="18" charset="0"/>
                <a:cs typeface="Arial" panose="020B0604020202020204" pitchFamily="34" charset="0"/>
              </a:defRPr>
            </a:lvl1pPr>
            <a:lvl2pPr marL="742950" indent="-285750">
              <a:defRPr>
                <a:solidFill>
                  <a:schemeClr val="tx1"/>
                </a:solidFill>
                <a:latin typeface="Garamond" panose="02020404030301010803" pitchFamily="18" charset="0"/>
                <a:cs typeface="Arial" panose="020B0604020202020204" pitchFamily="34" charset="0"/>
              </a:defRPr>
            </a:lvl2pPr>
            <a:lvl3pPr marL="1143000" indent="-228600">
              <a:defRPr>
                <a:solidFill>
                  <a:schemeClr val="tx1"/>
                </a:solidFill>
                <a:latin typeface="Garamond" panose="02020404030301010803" pitchFamily="18" charset="0"/>
                <a:cs typeface="Arial" panose="020B0604020202020204" pitchFamily="34" charset="0"/>
              </a:defRPr>
            </a:lvl3pPr>
            <a:lvl4pPr marL="1600200" indent="-228600">
              <a:defRPr>
                <a:solidFill>
                  <a:schemeClr val="tx1"/>
                </a:solidFill>
                <a:latin typeface="Garamond" panose="02020404030301010803" pitchFamily="18" charset="0"/>
                <a:cs typeface="Arial" panose="020B0604020202020204" pitchFamily="34" charset="0"/>
              </a:defRPr>
            </a:lvl4pPr>
            <a:lvl5pPr marL="2057400" indent="-228600">
              <a:defRPr>
                <a:solidFill>
                  <a:schemeClr val="tx1"/>
                </a:solidFill>
                <a:latin typeface="Garamond" panose="02020404030301010803" pitchFamily="18" charset="0"/>
                <a:cs typeface="Arial" panose="020B0604020202020204" pitchFamily="34" charset="0"/>
              </a:defRPr>
            </a:lvl5pPr>
            <a:lvl6pPr marL="25146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fld id="{624EE6B9-FC45-425D-B834-4B39B429251E}" type="slidenum">
              <a:rPr lang="en-US" smtClean="0">
                <a:latin typeface="Arial" panose="020B0604020202020204" pitchFamily="34" charset="0"/>
              </a:rPr>
              <a:pPr/>
              <a:t>38</a:t>
            </a:fld>
            <a:endParaRPr lang="en-US" smtClean="0">
              <a:latin typeface="Arial" panose="020B0604020202020204" pitchFamily="34" charset="0"/>
            </a:endParaRPr>
          </a:p>
        </p:txBody>
      </p:sp>
    </p:spTree>
    <p:extLst>
      <p:ext uri="{BB962C8B-B14F-4D97-AF65-F5344CB8AC3E}">
        <p14:creationId xmlns:p14="http://schemas.microsoft.com/office/powerpoint/2010/main" val="1045107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p:spPr>
        <p:txBody>
          <a:bodyPr/>
          <a:lstStyle/>
          <a:p>
            <a:endParaRPr lang="ar-SA" smtClean="0"/>
          </a:p>
        </p:txBody>
      </p:sp>
      <p:sp>
        <p:nvSpPr>
          <p:cNvPr id="78852" name="Slide Number Placeholder 3"/>
          <p:cNvSpPr>
            <a:spLocks noGrp="1"/>
          </p:cNvSpPr>
          <p:nvPr>
            <p:ph type="sldNum" sz="quarter" idx="5"/>
          </p:nvPr>
        </p:nvSpPr>
        <p:spPr>
          <a:noFill/>
        </p:spPr>
        <p:txBody>
          <a:bodyPr/>
          <a:lstStyle>
            <a:lvl1pPr>
              <a:defRPr>
                <a:solidFill>
                  <a:schemeClr val="tx1"/>
                </a:solidFill>
                <a:latin typeface="Garamond" panose="02020404030301010803" pitchFamily="18" charset="0"/>
                <a:cs typeface="Arial" panose="020B0604020202020204" pitchFamily="34" charset="0"/>
              </a:defRPr>
            </a:lvl1pPr>
            <a:lvl2pPr marL="742950" indent="-285750">
              <a:defRPr>
                <a:solidFill>
                  <a:schemeClr val="tx1"/>
                </a:solidFill>
                <a:latin typeface="Garamond" panose="02020404030301010803" pitchFamily="18" charset="0"/>
                <a:cs typeface="Arial" panose="020B0604020202020204" pitchFamily="34" charset="0"/>
              </a:defRPr>
            </a:lvl2pPr>
            <a:lvl3pPr marL="1143000" indent="-228600">
              <a:defRPr>
                <a:solidFill>
                  <a:schemeClr val="tx1"/>
                </a:solidFill>
                <a:latin typeface="Garamond" panose="02020404030301010803" pitchFamily="18" charset="0"/>
                <a:cs typeface="Arial" panose="020B0604020202020204" pitchFamily="34" charset="0"/>
              </a:defRPr>
            </a:lvl3pPr>
            <a:lvl4pPr marL="1600200" indent="-228600">
              <a:defRPr>
                <a:solidFill>
                  <a:schemeClr val="tx1"/>
                </a:solidFill>
                <a:latin typeface="Garamond" panose="02020404030301010803" pitchFamily="18" charset="0"/>
                <a:cs typeface="Arial" panose="020B0604020202020204" pitchFamily="34" charset="0"/>
              </a:defRPr>
            </a:lvl4pPr>
            <a:lvl5pPr marL="2057400" indent="-228600">
              <a:defRPr>
                <a:solidFill>
                  <a:schemeClr val="tx1"/>
                </a:solidFill>
                <a:latin typeface="Garamond" panose="02020404030301010803" pitchFamily="18" charset="0"/>
                <a:cs typeface="Arial" panose="020B0604020202020204" pitchFamily="34" charset="0"/>
              </a:defRPr>
            </a:lvl5pPr>
            <a:lvl6pPr marL="25146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algn="l" rtl="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fld id="{95A364EE-29D7-47D3-ADB9-F498FA9ECE4B}" type="slidenum">
              <a:rPr lang="en-US" smtClean="0">
                <a:latin typeface="Arial" panose="020B0604020202020204" pitchFamily="34" charset="0"/>
              </a:rPr>
              <a:pPr/>
              <a:t>39</a:t>
            </a:fld>
            <a:endParaRPr lang="en-US" smtClean="0">
              <a:latin typeface="Arial" panose="020B0604020202020204" pitchFamily="34" charset="0"/>
            </a:endParaRPr>
          </a:p>
        </p:txBody>
      </p:sp>
    </p:spTree>
    <p:extLst>
      <p:ext uri="{BB962C8B-B14F-4D97-AF65-F5344CB8AC3E}">
        <p14:creationId xmlns:p14="http://schemas.microsoft.com/office/powerpoint/2010/main" val="141792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710F48B-B1DA-4522-935C-8A2A52AD68DE}" type="slidenum">
              <a:rPr lang="en-US" smtClean="0"/>
              <a:pPr>
                <a:spcBef>
                  <a:spcPct val="0"/>
                </a:spcBef>
              </a:pPr>
              <a:t>3</a:t>
            </a:fld>
            <a:endParaRPr lang="en-US" smtClean="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3487250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648E722E-60D4-4F1A-9750-1F30132BBB70}" type="slidenum">
              <a:rPr lang="en-US" smtClean="0"/>
              <a:pPr>
                <a:spcBef>
                  <a:spcPct val="0"/>
                </a:spcBef>
              </a:pPr>
              <a:t>4</a:t>
            </a:fld>
            <a:endParaRPr lang="en-US" smtClean="0"/>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3865277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F3BC64F-6AD2-486B-8460-37B3B2D98151}" type="slidenum">
              <a:rPr lang="en-US" smtClean="0"/>
              <a:pPr>
                <a:spcBef>
                  <a:spcPct val="0"/>
                </a:spcBef>
              </a:pPr>
              <a:t>5</a:t>
            </a:fld>
            <a:endParaRPr lang="en-US" smtClean="0"/>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2545885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238862F7-1322-45A1-80FD-FDCD00827765}" type="slidenum">
              <a:rPr lang="en-US" smtClean="0"/>
              <a:pPr>
                <a:spcBef>
                  <a:spcPct val="0"/>
                </a:spcBef>
              </a:pPr>
              <a:t>6</a:t>
            </a:fld>
            <a:endParaRPr lang="en-US" smtClean="0"/>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255060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C9C797CA-4333-486E-9485-A0F8027899A7}" type="slidenum">
              <a:rPr lang="en-US" smtClean="0"/>
              <a:pPr>
                <a:spcBef>
                  <a:spcPct val="0"/>
                </a:spcBef>
              </a:pPr>
              <a:t>7</a:t>
            </a:fld>
            <a:endParaRPr lang="en-US" smtClean="0"/>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1930362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786BAB5C-A59C-469A-B352-3680FE525326}" type="slidenum">
              <a:rPr lang="en-US" smtClean="0"/>
              <a:pPr>
                <a:spcBef>
                  <a:spcPct val="0"/>
                </a:spcBef>
              </a:pPr>
              <a:t>8</a:t>
            </a:fld>
            <a:endParaRPr lang="en-US" smtClean="0"/>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1947026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algn="l" rtl="0" eaLnBrk="0" fontAlgn="base" hangingPunct="0">
              <a:spcBef>
                <a:spcPct val="30000"/>
              </a:spcBef>
              <a:spcAft>
                <a:spcPct val="0"/>
              </a:spcAft>
              <a:defRPr sz="1200">
                <a:solidFill>
                  <a:schemeClr val="tx1"/>
                </a:solidFill>
                <a:latin typeface="Arial" panose="020B0604020202020204" pitchFamily="34" charset="0"/>
              </a:defRPr>
            </a:lvl6pPr>
            <a:lvl7pPr marL="2971800" indent="-228600" algn="l" rtl="0" eaLnBrk="0" fontAlgn="base" hangingPunct="0">
              <a:spcBef>
                <a:spcPct val="30000"/>
              </a:spcBef>
              <a:spcAft>
                <a:spcPct val="0"/>
              </a:spcAft>
              <a:defRPr sz="1200">
                <a:solidFill>
                  <a:schemeClr val="tx1"/>
                </a:solidFill>
                <a:latin typeface="Arial" panose="020B0604020202020204" pitchFamily="34" charset="0"/>
              </a:defRPr>
            </a:lvl7pPr>
            <a:lvl8pPr marL="3429000" indent="-228600" algn="l" rtl="0" eaLnBrk="0" fontAlgn="base" hangingPunct="0">
              <a:spcBef>
                <a:spcPct val="30000"/>
              </a:spcBef>
              <a:spcAft>
                <a:spcPct val="0"/>
              </a:spcAft>
              <a:defRPr sz="1200">
                <a:solidFill>
                  <a:schemeClr val="tx1"/>
                </a:solidFill>
                <a:latin typeface="Arial" panose="020B0604020202020204" pitchFamily="34" charset="0"/>
              </a:defRPr>
            </a:lvl8pPr>
            <a:lvl9pPr marL="3886200" indent="-228600" algn="l" rtl="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E91F2891-CFC6-46DC-BEF4-1A33DE654A79}" type="slidenum">
              <a:rPr lang="en-US" smtClean="0"/>
              <a:pPr>
                <a:spcBef>
                  <a:spcPct val="0"/>
                </a:spcBef>
              </a:pPr>
              <a:t>9</a:t>
            </a:fld>
            <a:endParaRPr lang="en-US" smtClean="0"/>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p:spPr>
        <p:txBody>
          <a:bodyPr/>
          <a:lstStyle/>
          <a:p>
            <a:pPr eaLnBrk="1" hangingPunct="1"/>
            <a:endParaRPr lang="ar-SA" smtClean="0"/>
          </a:p>
        </p:txBody>
      </p:sp>
    </p:spTree>
    <p:extLst>
      <p:ext uri="{BB962C8B-B14F-4D97-AF65-F5344CB8AC3E}">
        <p14:creationId xmlns:p14="http://schemas.microsoft.com/office/powerpoint/2010/main" val="28394408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p:cNvCxnSpPr/>
          <p:nvPr/>
        </p:nvCxnSpPr>
        <p:spPr>
          <a:xfrm>
            <a:off x="906463" y="4343400"/>
            <a:ext cx="740568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822960" y="758952"/>
            <a:ext cx="7543800" cy="3566160"/>
          </a:xfrm>
        </p:spPr>
        <p:txBody>
          <a:bodyPr/>
          <a:lstStyle>
            <a:lvl1pPr algn="l">
              <a:lnSpc>
                <a:spcPct val="85000"/>
              </a:lnSpc>
              <a:defRPr sz="8000" spc="-50"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825038" y="4455621"/>
            <a:ext cx="75438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C04BF884-D18C-4BAD-8006-648169D2C163}" type="slidenum">
              <a:rPr lang="en-US"/>
              <a:pPr>
                <a:defRPr/>
              </a:pPr>
              <a:t>‹#›</a:t>
            </a:fld>
            <a:endParaRPr lang="en-US"/>
          </a:p>
        </p:txBody>
      </p:sp>
    </p:spTree>
    <p:extLst>
      <p:ext uri="{BB962C8B-B14F-4D97-AF65-F5344CB8AC3E}">
        <p14:creationId xmlns:p14="http://schemas.microsoft.com/office/powerpoint/2010/main" val="3876456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6FCE3ED3-C45E-498A-87EC-57006B81F0AD}" type="slidenum">
              <a:rPr lang="en-US"/>
              <a:pPr>
                <a:defRPr/>
              </a:pPr>
              <a:t>‹#›</a:t>
            </a:fld>
            <a:endParaRPr lang="en-US"/>
          </a:p>
        </p:txBody>
      </p:sp>
    </p:spTree>
    <p:extLst>
      <p:ext uri="{BB962C8B-B14F-4D97-AF65-F5344CB8AC3E}">
        <p14:creationId xmlns:p14="http://schemas.microsoft.com/office/powerpoint/2010/main" val="1928437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414779"/>
            <a:ext cx="1971675" cy="575742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414779"/>
            <a:ext cx="5800725" cy="5757420"/>
          </a:xfrm>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Date Placeholder 3"/>
          <p:cNvSpPr>
            <a:spLocks noGrp="1"/>
          </p:cNvSpPr>
          <p:nvPr>
            <p:ph type="dt" sz="half" idx="10"/>
          </p:nvPr>
        </p:nvSpPr>
        <p:spPr/>
        <p:txBody>
          <a:bodyPr/>
          <a:lstStyle>
            <a:lvl1pPr>
              <a:defRPr/>
            </a:lvl1pPr>
          </a:lstStyle>
          <a:p>
            <a:pPr>
              <a:defRPr/>
            </a:pPr>
            <a:endParaRPr 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A5C7C989-AAE9-4C26-873C-3C0397511A2B}" type="slidenum">
              <a:rPr lang="en-US"/>
              <a:pPr>
                <a:defRPr/>
              </a:pPr>
              <a:t>‹#›</a:t>
            </a:fld>
            <a:endParaRPr lang="en-US"/>
          </a:p>
        </p:txBody>
      </p:sp>
    </p:spTree>
    <p:extLst>
      <p:ext uri="{BB962C8B-B14F-4D97-AF65-F5344CB8AC3E}">
        <p14:creationId xmlns:p14="http://schemas.microsoft.com/office/powerpoint/2010/main" val="15773806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T. Kearney TitleAndText 2014">
    <p:spTree>
      <p:nvGrpSpPr>
        <p:cNvPr id="1" name=""/>
        <p:cNvGrpSpPr/>
        <p:nvPr/>
      </p:nvGrpSpPr>
      <p:grpSpPr>
        <a:xfrm>
          <a:off x="0" y="0"/>
          <a:ext cx="0" cy="0"/>
          <a:chOff x="0" y="0"/>
          <a:chExt cx="0" cy="0"/>
        </a:xfrm>
      </p:grpSpPr>
      <p:graphicFrame>
        <p:nvGraphicFramePr>
          <p:cNvPr id="5" name="Object 1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Title 2"/>
          <p:cNvSpPr>
            <a:spLocks noGrp="1"/>
          </p:cNvSpPr>
          <p:nvPr>
            <p:ph type="title"/>
          </p:nvPr>
        </p:nvSpPr>
        <p:spPr>
          <a:xfrm>
            <a:off x="244800" y="152636"/>
            <a:ext cx="7567560" cy="332399"/>
          </a:xfrm>
          <a:prstGeom prst="rect">
            <a:avLst/>
          </a:prstGeom>
          <a:noFill/>
          <a:ln>
            <a:noFill/>
          </a:ln>
        </p:spPr>
        <p:txBody>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4475" y="2060575"/>
            <a:ext cx="8640000" cy="1338828"/>
          </a:xfrm>
        </p:spPr>
        <p:txBody>
          <a:bodyPr/>
          <a:lstStyle>
            <a:lvl1pPr>
              <a:defRPr baseline="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77483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graphicFrame>
        <p:nvGraphicFramePr>
          <p:cNvPr id="3" name="Object 1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Title 3"/>
          <p:cNvSpPr>
            <a:spLocks noGrp="1"/>
          </p:cNvSpPr>
          <p:nvPr>
            <p:ph type="title"/>
          </p:nvPr>
        </p:nvSpPr>
        <p:spPr>
          <a:xfrm>
            <a:off x="244800" y="152636"/>
            <a:ext cx="7603800" cy="332399"/>
          </a:xfrm>
          <a:prstGeom prst="rect">
            <a:avLst/>
          </a:prstGeom>
          <a:noFill/>
          <a:ln>
            <a:noFill/>
          </a:ln>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04316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E81C484-B21A-4D92-8D25-9B162E19ACC2}" type="slidenum">
              <a:rPr lang="en-US"/>
              <a:pPr>
                <a:defRPr/>
              </a:pPr>
              <a:t>‹#›</a:t>
            </a:fld>
            <a:endParaRPr lang="en-US"/>
          </a:p>
        </p:txBody>
      </p:sp>
    </p:spTree>
    <p:extLst>
      <p:ext uri="{BB962C8B-B14F-4D97-AF65-F5344CB8AC3E}">
        <p14:creationId xmlns:p14="http://schemas.microsoft.com/office/powerpoint/2010/main" val="2913634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p:cNvCxnSpPr/>
          <p:nvPr/>
        </p:nvCxnSpPr>
        <p:spPr>
          <a:xfrm>
            <a:off x="906463" y="4343400"/>
            <a:ext cx="740568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22960" y="758952"/>
            <a:ext cx="7543800" cy="3566160"/>
          </a:xfrm>
        </p:spPr>
        <p:txBody>
          <a:bodyPr anchorCtr="0"/>
          <a:lstStyle>
            <a:lvl1pPr>
              <a:lnSpc>
                <a:spcPct val="85000"/>
              </a:lnSpc>
              <a:defRPr sz="80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822960" y="4453128"/>
            <a:ext cx="7543800" cy="1143000"/>
          </a:xfrm>
        </p:spPr>
        <p:txBody>
          <a:bodyPr lIns="91440" rIns="9144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0046329-A125-451E-B221-D124544F8E6B}" type="slidenum">
              <a:rPr lang="en-US"/>
              <a:pPr>
                <a:defRPr/>
              </a:pPr>
              <a:t>‹#›</a:t>
            </a:fld>
            <a:endParaRPr lang="en-US"/>
          </a:p>
        </p:txBody>
      </p:sp>
    </p:spTree>
    <p:extLst>
      <p:ext uri="{BB962C8B-B14F-4D97-AF65-F5344CB8AC3E}">
        <p14:creationId xmlns:p14="http://schemas.microsoft.com/office/powerpoint/2010/main" val="18692894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86604"/>
            <a:ext cx="7543800" cy="145075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22960" y="1845734"/>
            <a:ext cx="370332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63440" y="1845736"/>
            <a:ext cx="3703320" cy="40233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B4B6B4E-7FDD-4138-AC92-8DBC6F95504B}" type="slidenum">
              <a:rPr lang="en-US"/>
              <a:pPr>
                <a:defRPr/>
              </a:pPr>
              <a:t>‹#›</a:t>
            </a:fld>
            <a:endParaRPr lang="en-US"/>
          </a:p>
        </p:txBody>
      </p:sp>
    </p:spTree>
    <p:extLst>
      <p:ext uri="{BB962C8B-B14F-4D97-AF65-F5344CB8AC3E}">
        <p14:creationId xmlns:p14="http://schemas.microsoft.com/office/powerpoint/2010/main" val="2651981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2296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22960" y="2582334"/>
            <a:ext cx="3703320" cy="3286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6344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63440" y="2582334"/>
            <a:ext cx="3703320" cy="3286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38AD947-9809-4A1E-A935-FCD0EC641582}" type="slidenum">
              <a:rPr lang="en-US"/>
              <a:pPr>
                <a:defRPr/>
              </a:pPr>
              <a:t>‹#›</a:t>
            </a:fld>
            <a:endParaRPr lang="en-US"/>
          </a:p>
        </p:txBody>
      </p:sp>
    </p:spTree>
    <p:extLst>
      <p:ext uri="{BB962C8B-B14F-4D97-AF65-F5344CB8AC3E}">
        <p14:creationId xmlns:p14="http://schemas.microsoft.com/office/powerpoint/2010/main" val="1632972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4DCD9437-B30B-44D2-B399-B69BEBD262CE}" type="slidenum">
              <a:rPr lang="en-US"/>
              <a:pPr>
                <a:defRPr/>
              </a:pPr>
              <a:t>‹#›</a:t>
            </a:fld>
            <a:endParaRPr lang="en-US"/>
          </a:p>
        </p:txBody>
      </p:sp>
    </p:spTree>
    <p:extLst>
      <p:ext uri="{BB962C8B-B14F-4D97-AF65-F5344CB8AC3E}">
        <p14:creationId xmlns:p14="http://schemas.microsoft.com/office/powerpoint/2010/main" val="4294276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Rectangle 2"/>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6"/>
          <p:cNvSpPr>
            <a:spLocks noGrp="1"/>
          </p:cNvSpPr>
          <p:nvPr>
            <p:ph type="dt" sz="half" idx="10"/>
          </p:nvPr>
        </p:nvSpPr>
        <p:spPr/>
        <p:txBody>
          <a:bodyPr/>
          <a:lstStyle>
            <a:lvl1pPr>
              <a:defRPr/>
            </a:lvl1pPr>
          </a:lstStyle>
          <a:p>
            <a:pPr>
              <a:defRPr/>
            </a:pPr>
            <a:endParaRPr lang="en-US"/>
          </a:p>
        </p:txBody>
      </p:sp>
      <p:sp>
        <p:nvSpPr>
          <p:cNvPr id="5" name="Footer Placeholder 7"/>
          <p:cNvSpPr>
            <a:spLocks noGrp="1"/>
          </p:cNvSpPr>
          <p:nvPr>
            <p:ph type="ftr" sz="quarter" idx="11"/>
          </p:nvPr>
        </p:nvSpPr>
        <p:spPr/>
        <p:txBody>
          <a:bodyPr/>
          <a:lstStyle>
            <a:lvl1pPr>
              <a:defRPr>
                <a:solidFill>
                  <a:srgbClr val="FFFFFF"/>
                </a:solidFill>
              </a:defRPr>
            </a:lvl1pPr>
          </a:lstStyle>
          <a:p>
            <a:pPr>
              <a:defRPr/>
            </a:pPr>
            <a:endParaRPr lang="en-US"/>
          </a:p>
        </p:txBody>
      </p:sp>
      <p:sp>
        <p:nvSpPr>
          <p:cNvPr id="6" name="Slide Number Placeholder 8"/>
          <p:cNvSpPr>
            <a:spLocks noGrp="1"/>
          </p:cNvSpPr>
          <p:nvPr>
            <p:ph type="sldNum" sz="quarter" idx="12"/>
          </p:nvPr>
        </p:nvSpPr>
        <p:spPr/>
        <p:txBody>
          <a:bodyPr/>
          <a:lstStyle>
            <a:lvl1pPr>
              <a:defRPr/>
            </a:lvl1pPr>
          </a:lstStyle>
          <a:p>
            <a:pPr>
              <a:defRPr/>
            </a:pPr>
            <a:fld id="{15516BC8-F1AB-4596-86E0-DB1FBAF3028D}" type="slidenum">
              <a:rPr lang="en-US"/>
              <a:pPr>
                <a:defRPr/>
              </a:pPr>
              <a:t>‹#›</a:t>
            </a:fld>
            <a:endParaRPr lang="en-US"/>
          </a:p>
        </p:txBody>
      </p:sp>
    </p:spTree>
    <p:extLst>
      <p:ext uri="{BB962C8B-B14F-4D97-AF65-F5344CB8AC3E}">
        <p14:creationId xmlns:p14="http://schemas.microsoft.com/office/powerpoint/2010/main" val="676621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4"/>
          <p:cNvSpPr/>
          <p:nvPr/>
        </p:nvSpPr>
        <p:spPr>
          <a:xfrm>
            <a:off x="0" y="0"/>
            <a:ext cx="30384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3030538" y="0"/>
            <a:ext cx="476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460237" y="731520"/>
            <a:ext cx="5009393" cy="5257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Date Placeholder 4"/>
          <p:cNvSpPr>
            <a:spLocks noGrp="1"/>
          </p:cNvSpPr>
          <p:nvPr>
            <p:ph type="dt" sz="half" idx="10"/>
          </p:nvPr>
        </p:nvSpPr>
        <p:spPr>
          <a:xfrm>
            <a:off x="349250" y="6459538"/>
            <a:ext cx="1963738" cy="365125"/>
          </a:xfrm>
        </p:spPr>
        <p:txBody>
          <a:bodyPr/>
          <a:lstStyle>
            <a:lvl1pPr algn="l">
              <a:defRPr/>
            </a:lvl1pPr>
          </a:lstStyle>
          <a:p>
            <a:pPr>
              <a:defRPr/>
            </a:pPr>
            <a:endParaRPr lang="en-US"/>
          </a:p>
        </p:txBody>
      </p:sp>
      <p:sp>
        <p:nvSpPr>
          <p:cNvPr id="8" name="Footer Placeholder 5"/>
          <p:cNvSpPr>
            <a:spLocks noGrp="1"/>
          </p:cNvSpPr>
          <p:nvPr>
            <p:ph type="ftr" sz="quarter" idx="11"/>
          </p:nvPr>
        </p:nvSpPr>
        <p:spPr>
          <a:xfrm>
            <a:off x="3600450" y="6459538"/>
            <a:ext cx="3486150" cy="365125"/>
          </a:xfrm>
        </p:spPr>
        <p:txBody>
          <a:bodyPr/>
          <a:lstStyle>
            <a:lvl1pPr algn="l">
              <a:defRPr>
                <a:solidFill>
                  <a:schemeClr val="tx2"/>
                </a:solidFill>
              </a:defRPr>
            </a:lvl1pPr>
          </a:lstStyle>
          <a:p>
            <a:pPr>
              <a:defRPr/>
            </a:pPr>
            <a:endParaRPr lang="en-US"/>
          </a:p>
        </p:txBody>
      </p:sp>
      <p:sp>
        <p:nvSpPr>
          <p:cNvPr id="9" name="Slide Number Placeholder 6"/>
          <p:cNvSpPr>
            <a:spLocks noGrp="1"/>
          </p:cNvSpPr>
          <p:nvPr>
            <p:ph type="sldNum" sz="quarter" idx="12"/>
          </p:nvPr>
        </p:nvSpPr>
        <p:spPr/>
        <p:txBody>
          <a:bodyPr/>
          <a:lstStyle>
            <a:lvl1pPr>
              <a:defRPr smtClean="0">
                <a:solidFill>
                  <a:schemeClr val="tx2"/>
                </a:solidFill>
              </a:defRPr>
            </a:lvl1pPr>
          </a:lstStyle>
          <a:p>
            <a:pPr>
              <a:defRPr/>
            </a:pPr>
            <a:fld id="{E6F60A0F-F908-4D9A-9250-7BA87F195D90}" type="slidenum">
              <a:rPr lang="en-US"/>
              <a:pPr>
                <a:defRPr/>
              </a:pPr>
              <a:t>‹#›</a:t>
            </a:fld>
            <a:endParaRPr lang="en-US"/>
          </a:p>
        </p:txBody>
      </p:sp>
    </p:spTree>
    <p:extLst>
      <p:ext uri="{BB962C8B-B14F-4D97-AF65-F5344CB8AC3E}">
        <p14:creationId xmlns:p14="http://schemas.microsoft.com/office/powerpoint/2010/main" val="1177059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4"/>
          <p:cNvSpPr/>
          <p:nvPr/>
        </p:nvSpPr>
        <p:spPr>
          <a:xfrm>
            <a:off x="0" y="4953000"/>
            <a:ext cx="9142413"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0" y="4914900"/>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074920"/>
            <a:ext cx="7589520" cy="822960"/>
          </a:xfrm>
        </p:spPr>
        <p:txBody>
          <a:bodyPr tIns="0" bIns="0">
            <a:noAutofit/>
          </a:bodyPr>
          <a:lstStyle>
            <a:lvl1pPr>
              <a:defRPr sz="36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2" y="0"/>
            <a:ext cx="9143989" cy="4915076"/>
          </a:xfrm>
          <a:blipFill>
            <a:blip r:embed="rId2"/>
            <a:stretch>
              <a:fillRect/>
            </a:stretch>
          </a:blipFill>
        </p:spPr>
        <p:txBody>
          <a:bodyPr lIns="457200" tIns="457200" rtlCol="0">
            <a:normAutofit/>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a:p>
        </p:txBody>
      </p:sp>
      <p:sp>
        <p:nvSpPr>
          <p:cNvPr id="4" name="Text Placeholder 3"/>
          <p:cNvSpPr>
            <a:spLocks noGrp="1"/>
          </p:cNvSpPr>
          <p:nvPr>
            <p:ph type="body" sz="half" idx="2"/>
          </p:nvPr>
        </p:nvSpPr>
        <p:spPr>
          <a:xfrm>
            <a:off x="822959" y="5907024"/>
            <a:ext cx="7589520"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Date Placeholder 4"/>
          <p:cNvSpPr>
            <a:spLocks noGrp="1"/>
          </p:cNvSpPr>
          <p:nvPr>
            <p:ph type="dt" sz="half" idx="10"/>
          </p:nvPr>
        </p:nvSpPr>
        <p:spPr/>
        <p:txBody>
          <a:bodyPr/>
          <a:lstStyle>
            <a:lvl1pPr>
              <a:defRPr/>
            </a:lvl1pPr>
          </a:lstStyle>
          <a:p>
            <a:pPr>
              <a:defRPr/>
            </a:pPr>
            <a:endParaRPr lang="en-US"/>
          </a:p>
        </p:txBody>
      </p:sp>
      <p:sp>
        <p:nvSpPr>
          <p:cNvPr id="8" name="Footer Placeholder 5"/>
          <p:cNvSpPr>
            <a:spLocks noGrp="1"/>
          </p:cNvSpPr>
          <p:nvPr>
            <p:ph type="ftr" sz="quarter" idx="11"/>
          </p:nvPr>
        </p:nvSpPr>
        <p:spPr/>
        <p:txBody>
          <a:bodyPr/>
          <a:lstStyle>
            <a:lvl1pPr>
              <a:defRPr/>
            </a:lvl1pPr>
          </a:lstStyle>
          <a:p>
            <a:pPr>
              <a:defRPr/>
            </a:pPr>
            <a:endParaRPr lang="en-US"/>
          </a:p>
        </p:txBody>
      </p:sp>
      <p:sp>
        <p:nvSpPr>
          <p:cNvPr id="9" name="Slide Number Placeholder 6"/>
          <p:cNvSpPr>
            <a:spLocks noGrp="1"/>
          </p:cNvSpPr>
          <p:nvPr>
            <p:ph type="sldNum" sz="quarter" idx="12"/>
          </p:nvPr>
        </p:nvSpPr>
        <p:spPr/>
        <p:txBody>
          <a:bodyPr/>
          <a:lstStyle>
            <a:lvl1pPr>
              <a:defRPr/>
            </a:lvl1pPr>
          </a:lstStyle>
          <a:p>
            <a:pPr>
              <a:defRPr/>
            </a:pPr>
            <a:fld id="{5C006F18-3915-4C8E-BEDF-4CFA5E2E697B}" type="slidenum">
              <a:rPr lang="en-US"/>
              <a:pPr>
                <a:defRPr/>
              </a:pPr>
              <a:t>‹#›</a:t>
            </a:fld>
            <a:endParaRPr lang="en-US"/>
          </a:p>
        </p:txBody>
      </p:sp>
    </p:spTree>
    <p:extLst>
      <p:ext uri="{BB962C8B-B14F-4D97-AF65-F5344CB8AC3E}">
        <p14:creationId xmlns:p14="http://schemas.microsoft.com/office/powerpoint/2010/main" val="3820772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125"/>
            <a:ext cx="9144000" cy="6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325" y="287338"/>
            <a:ext cx="7543800" cy="144938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1029" name="Text Placeholder 2"/>
          <p:cNvSpPr>
            <a:spLocks noGrp="1"/>
          </p:cNvSpPr>
          <p:nvPr>
            <p:ph type="body" idx="1"/>
          </p:nvPr>
        </p:nvSpPr>
        <p:spPr bwMode="auto">
          <a:xfrm>
            <a:off x="822325" y="1846263"/>
            <a:ext cx="7543800"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822325" y="6459538"/>
            <a:ext cx="1854200" cy="365125"/>
          </a:xfrm>
          <a:prstGeom prst="rect">
            <a:avLst/>
          </a:prstGeom>
        </p:spPr>
        <p:txBody>
          <a:bodyPr vert="horz" lIns="91440" tIns="45720" rIns="91440" bIns="45720" rtlCol="0" anchor="ctr"/>
          <a:lstStyle>
            <a:lvl1pPr algn="l">
              <a:defRPr sz="900">
                <a:solidFill>
                  <a:srgbClr val="FFFFFF"/>
                </a:solidFill>
              </a:defRPr>
            </a:lvl1pPr>
          </a:lstStyle>
          <a:p>
            <a:pPr>
              <a:defRPr/>
            </a:pPr>
            <a:endParaRPr lang="en-US"/>
          </a:p>
        </p:txBody>
      </p:sp>
      <p:sp>
        <p:nvSpPr>
          <p:cNvPr id="5" name="Footer Placeholder 4"/>
          <p:cNvSpPr>
            <a:spLocks noGrp="1"/>
          </p:cNvSpPr>
          <p:nvPr>
            <p:ph type="ftr" sz="quarter" idx="3"/>
          </p:nvPr>
        </p:nvSpPr>
        <p:spPr>
          <a:xfrm>
            <a:off x="2765425" y="6459538"/>
            <a:ext cx="3616325" cy="365125"/>
          </a:xfrm>
          <a:prstGeom prst="rect">
            <a:avLst/>
          </a:prstGeom>
        </p:spPr>
        <p:txBody>
          <a:bodyPr vert="horz" lIns="91440" tIns="45720" rIns="91440" bIns="45720" rtlCol="0" anchor="ctr"/>
          <a:lstStyle>
            <a:lvl1pPr algn="ctr">
              <a:defRPr sz="900" cap="all" baseline="0">
                <a:solidFill>
                  <a:srgbClr val="FFFFFF"/>
                </a:solidFill>
              </a:defRPr>
            </a:lvl1pPr>
          </a:lstStyle>
          <a:p>
            <a:pPr>
              <a:defRPr/>
            </a:pPr>
            <a:endParaRPr lang="en-US"/>
          </a:p>
        </p:txBody>
      </p:sp>
      <p:sp>
        <p:nvSpPr>
          <p:cNvPr id="6" name="Slide Number Placeholder 5"/>
          <p:cNvSpPr>
            <a:spLocks noGrp="1"/>
          </p:cNvSpPr>
          <p:nvPr>
            <p:ph type="sldNum" sz="quarter" idx="4"/>
          </p:nvPr>
        </p:nvSpPr>
        <p:spPr>
          <a:xfrm>
            <a:off x="7424738" y="6459538"/>
            <a:ext cx="984250" cy="365125"/>
          </a:xfrm>
          <a:prstGeom prst="rect">
            <a:avLst/>
          </a:prstGeom>
        </p:spPr>
        <p:txBody>
          <a:bodyPr vert="horz" lIns="91440" tIns="45720" rIns="91440" bIns="45720" rtlCol="0" anchor="ctr"/>
          <a:lstStyle>
            <a:lvl1pPr algn="r">
              <a:defRPr sz="1050" smtClean="0">
                <a:solidFill>
                  <a:srgbClr val="FFFFFF"/>
                </a:solidFill>
              </a:defRPr>
            </a:lvl1pPr>
          </a:lstStyle>
          <a:p>
            <a:pPr>
              <a:defRPr/>
            </a:pPr>
            <a:fld id="{265CD0C3-8918-466E-ACAA-98C18080A03D}" type="slidenum">
              <a:rPr lang="en-US"/>
              <a:pPr>
                <a:defRPr/>
              </a:pPr>
              <a:t>‹#›</a:t>
            </a:fld>
            <a:endParaRPr lang="en-US"/>
          </a:p>
        </p:txBody>
      </p:sp>
      <p:cxnSp>
        <p:nvCxnSpPr>
          <p:cNvPr id="10" name="Straight Connector 9"/>
          <p:cNvCxnSpPr/>
          <p:nvPr/>
        </p:nvCxnSpPr>
        <p:spPr>
          <a:xfrm>
            <a:off x="895350" y="1738313"/>
            <a:ext cx="7475538"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16" r:id="rId1"/>
    <p:sldLayoutId id="2147484111" r:id="rId2"/>
    <p:sldLayoutId id="2147484117" r:id="rId3"/>
    <p:sldLayoutId id="2147484112" r:id="rId4"/>
    <p:sldLayoutId id="2147484113" r:id="rId5"/>
    <p:sldLayoutId id="2147484114" r:id="rId6"/>
    <p:sldLayoutId id="2147484118" r:id="rId7"/>
    <p:sldLayoutId id="2147484119" r:id="rId8"/>
    <p:sldLayoutId id="2147484120" r:id="rId9"/>
    <p:sldLayoutId id="2147484115" r:id="rId10"/>
    <p:sldLayoutId id="2147484121" r:id="rId11"/>
    <p:sldLayoutId id="2147484122" r:id="rId12"/>
    <p:sldLayoutId id="2147484123" r:id="rId13"/>
  </p:sldLayoutIdLst>
  <p:txStyles>
    <p:titleStyle>
      <a:lvl1pPr algn="l" rtl="1" fontAlgn="base">
        <a:lnSpc>
          <a:spcPct val="85000"/>
        </a:lnSpc>
        <a:spcBef>
          <a:spcPct val="0"/>
        </a:spcBef>
        <a:spcAft>
          <a:spcPct val="0"/>
        </a:spcAft>
        <a:defRPr sz="4800" kern="1200" spc="-50">
          <a:solidFill>
            <a:srgbClr val="404040"/>
          </a:solidFill>
          <a:latin typeface="+mj-lt"/>
          <a:ea typeface="+mj-ea"/>
          <a:cs typeface="+mj-cs"/>
        </a:defRPr>
      </a:lvl1pPr>
      <a:lvl2pPr algn="l" rtl="1" fontAlgn="base">
        <a:lnSpc>
          <a:spcPct val="85000"/>
        </a:lnSpc>
        <a:spcBef>
          <a:spcPct val="0"/>
        </a:spcBef>
        <a:spcAft>
          <a:spcPct val="0"/>
        </a:spcAft>
        <a:defRPr sz="4800">
          <a:solidFill>
            <a:srgbClr val="404040"/>
          </a:solidFill>
          <a:latin typeface="Calibri Light" panose="020F0302020204030204" pitchFamily="34" charset="0"/>
        </a:defRPr>
      </a:lvl2pPr>
      <a:lvl3pPr algn="l" rtl="1" fontAlgn="base">
        <a:lnSpc>
          <a:spcPct val="85000"/>
        </a:lnSpc>
        <a:spcBef>
          <a:spcPct val="0"/>
        </a:spcBef>
        <a:spcAft>
          <a:spcPct val="0"/>
        </a:spcAft>
        <a:defRPr sz="4800">
          <a:solidFill>
            <a:srgbClr val="404040"/>
          </a:solidFill>
          <a:latin typeface="Calibri Light" panose="020F0302020204030204" pitchFamily="34" charset="0"/>
        </a:defRPr>
      </a:lvl3pPr>
      <a:lvl4pPr algn="l" rtl="1" fontAlgn="base">
        <a:lnSpc>
          <a:spcPct val="85000"/>
        </a:lnSpc>
        <a:spcBef>
          <a:spcPct val="0"/>
        </a:spcBef>
        <a:spcAft>
          <a:spcPct val="0"/>
        </a:spcAft>
        <a:defRPr sz="4800">
          <a:solidFill>
            <a:srgbClr val="404040"/>
          </a:solidFill>
          <a:latin typeface="Calibri Light" panose="020F0302020204030204" pitchFamily="34" charset="0"/>
        </a:defRPr>
      </a:lvl4pPr>
      <a:lvl5pPr algn="l" rtl="1"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1"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1"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1"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1" fontAlgn="base">
        <a:lnSpc>
          <a:spcPct val="85000"/>
        </a:lnSpc>
        <a:spcBef>
          <a:spcPct val="0"/>
        </a:spcBef>
        <a:spcAft>
          <a:spcPct val="0"/>
        </a:spcAft>
        <a:defRPr sz="4800">
          <a:solidFill>
            <a:srgbClr val="404040"/>
          </a:solidFill>
          <a:latin typeface="Calibri Light" panose="020F0302020204030204" pitchFamily="34" charset="0"/>
        </a:defRPr>
      </a:lvl9pPr>
    </p:titleStyle>
    <p:bodyStyle>
      <a:lvl1pPr marL="90488" indent="-90488" algn="r" rtl="1" fontAlgn="base">
        <a:lnSpc>
          <a:spcPct val="90000"/>
        </a:lnSpc>
        <a:spcBef>
          <a:spcPts val="1200"/>
        </a:spcBef>
        <a:spcAft>
          <a:spcPts val="200"/>
        </a:spcAft>
        <a:buClr>
          <a:schemeClr val="accent1"/>
        </a:buClr>
        <a:buSzPct val="100000"/>
        <a:buFont typeface="Calibri" panose="020F0502020204030204" pitchFamily="34" charset="0"/>
        <a:buChar char=" "/>
        <a:defRPr sz="2000" kern="1200">
          <a:solidFill>
            <a:srgbClr val="404040"/>
          </a:solidFill>
          <a:latin typeface="+mn-lt"/>
          <a:ea typeface="+mn-ea"/>
          <a:cs typeface="+mn-cs"/>
        </a:defRPr>
      </a:lvl1pPr>
      <a:lvl2pPr marL="382588" indent="-182563" algn="r" rtl="1" fontAlgn="base">
        <a:lnSpc>
          <a:spcPct val="90000"/>
        </a:lnSpc>
        <a:spcBef>
          <a:spcPts val="200"/>
        </a:spcBef>
        <a:spcAft>
          <a:spcPts val="400"/>
        </a:spcAft>
        <a:buClr>
          <a:schemeClr val="accent1"/>
        </a:buClr>
        <a:buFont typeface="Calibri" panose="020F0502020204030204" pitchFamily="34" charset="0"/>
        <a:buChar char="◦"/>
        <a:defRPr kern="1200">
          <a:solidFill>
            <a:srgbClr val="404040"/>
          </a:solidFill>
          <a:latin typeface="+mn-lt"/>
          <a:ea typeface="+mn-ea"/>
          <a:cs typeface="+mn-cs"/>
        </a:defRPr>
      </a:lvl2pPr>
      <a:lvl3pPr marL="566738" indent="-182563" algn="r" rtl="1" fontAlgn="base">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3pPr>
      <a:lvl4pPr marL="749300" indent="-182563" algn="r" rtl="1" fontAlgn="base">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4pPr>
      <a:lvl5pPr marL="931863" indent="-182563" algn="r" rtl="1" fontAlgn="base">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5pPr>
      <a:lvl6pPr marL="11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r" defTabSz="914400" rtl="1"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22.xml"/><Relationship Id="rId9"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2.xml"/><Relationship Id="rId7" Type="http://schemas.openxmlformats.org/officeDocument/2006/relationships/image" Target="../media/image17.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25.xml"/></Relationships>
</file>

<file path=ppt/slides/_rels/slide37.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12.xml"/><Relationship Id="rId7" Type="http://schemas.openxmlformats.org/officeDocument/2006/relationships/image" Target="../media/image19.jpg"/><Relationship Id="rId12" Type="http://schemas.openxmlformats.org/officeDocument/2006/relationships/image" Target="../media/image24.jp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emf"/><Relationship Id="rId11" Type="http://schemas.openxmlformats.org/officeDocument/2006/relationships/image" Target="../media/image23.jpg"/><Relationship Id="rId5" Type="http://schemas.openxmlformats.org/officeDocument/2006/relationships/oleObject" Target="../embeddings/oleObject7.bin"/><Relationship Id="rId10" Type="http://schemas.openxmlformats.org/officeDocument/2006/relationships/image" Target="../media/image22.jpg"/><Relationship Id="rId4" Type="http://schemas.openxmlformats.org/officeDocument/2006/relationships/notesSlide" Target="../notesSlides/notesSlide26.xml"/><Relationship Id="rId9" Type="http://schemas.openxmlformats.org/officeDocument/2006/relationships/image" Target="../media/image21.jp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2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notesSlide" Target="../notesSlides/notesSlide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3.xml"/><Relationship Id="rId7" Type="http://schemas.openxmlformats.org/officeDocument/2006/relationships/image" Target="../media/image27.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6.png"/><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39"/>
          <p:cNvSpPr>
            <a:spLocks noChangeArrowheads="1"/>
          </p:cNvSpPr>
          <p:nvPr/>
        </p:nvSpPr>
        <p:spPr bwMode="auto">
          <a:xfrm>
            <a:off x="952500" y="1905000"/>
            <a:ext cx="7315200" cy="16764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5400" b="1">
                <a:solidFill>
                  <a:schemeClr val="bg1"/>
                </a:solidFill>
                <a:latin typeface="Arial Rounded MT Bold" panose="020F0704030504030204" pitchFamily="34" charset="0"/>
              </a:rPr>
              <a:t>Health System </a:t>
            </a:r>
          </a:p>
          <a:p>
            <a:pPr algn="ctr" rtl="0">
              <a:lnSpc>
                <a:spcPct val="100000"/>
              </a:lnSpc>
              <a:spcBef>
                <a:spcPct val="0"/>
              </a:spcBef>
              <a:spcAft>
                <a:spcPct val="0"/>
              </a:spcAft>
              <a:buClrTx/>
              <a:buSzTx/>
              <a:buFontTx/>
              <a:buNone/>
            </a:pPr>
            <a:r>
              <a:rPr lang="en-US" sz="5400" b="1">
                <a:solidFill>
                  <a:schemeClr val="bg1"/>
                </a:solidFill>
                <a:latin typeface="Arial Rounded MT Bold" panose="020F0704030504030204" pitchFamily="34" charset="0"/>
              </a:rPr>
              <a:t>in Saudi Arabia</a:t>
            </a:r>
          </a:p>
        </p:txBody>
      </p:sp>
      <p:sp>
        <p:nvSpPr>
          <p:cNvPr id="8" name="Rectangle 1"/>
          <p:cNvSpPr>
            <a:spLocks noGrp="1" noChangeArrowheads="1"/>
          </p:cNvSpPr>
          <p:nvPr>
            <p:ph type="subTitle" idx="1"/>
          </p:nvPr>
        </p:nvSpPr>
        <p:spPr>
          <a:xfrm>
            <a:off x="1066800" y="3886200"/>
            <a:ext cx="6934200" cy="1825625"/>
          </a:xfrm>
          <a:extLst/>
        </p:spPr>
        <p:txBody>
          <a:bodyPr rtlCol="0">
            <a:spAutoFit/>
          </a:bodyPr>
          <a:lstStyle/>
          <a:p>
            <a:pPr fontAlgn="auto">
              <a:spcAft>
                <a:spcPts val="0"/>
              </a:spcAft>
              <a:buFont typeface="Wingdings 3" charset="2"/>
              <a:buNone/>
              <a:defRPr/>
            </a:pPr>
            <a:r>
              <a:rPr lang="en-US" sz="4000" b="1" dirty="0" smtClean="0"/>
              <a:t>Dr. Bader Al-Ibrahim</a:t>
            </a:r>
          </a:p>
          <a:p>
            <a:pPr fontAlgn="auto">
              <a:spcAft>
                <a:spcPts val="0"/>
              </a:spcAft>
              <a:buFont typeface="Wingdings 3" charset="2"/>
              <a:buNone/>
              <a:defRPr/>
            </a:pPr>
            <a:r>
              <a:rPr lang="en-US" sz="2800" b="1" dirty="0" smtClean="0"/>
              <a:t>Field Epidemiology Training Program</a:t>
            </a:r>
          </a:p>
          <a:p>
            <a:pPr fontAlgn="auto">
              <a:spcAft>
                <a:spcPts val="0"/>
              </a:spcAft>
              <a:buFont typeface="Wingdings 3" charset="2"/>
              <a:buNone/>
              <a:defRPr/>
            </a:pPr>
            <a:r>
              <a:rPr lang="en-US" sz="2800" b="1" dirty="0" smtClean="0"/>
              <a:t>Ministry Of Health</a:t>
            </a:r>
            <a:endParaRPr lang="en-US" sz="2800" b="1" dirty="0"/>
          </a:p>
        </p:txBody>
      </p:sp>
      <p:sp>
        <p:nvSpPr>
          <p:cNvPr id="11268" name="Rectangle 39"/>
          <p:cNvSpPr>
            <a:spLocks noChangeArrowheads="1"/>
          </p:cNvSpPr>
          <p:nvPr/>
        </p:nvSpPr>
        <p:spPr bwMode="auto">
          <a:xfrm>
            <a:off x="0" y="0"/>
            <a:ext cx="9144000" cy="2286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11269" name="Rectangle 39"/>
          <p:cNvSpPr>
            <a:spLocks noChangeArrowheads="1"/>
          </p:cNvSpPr>
          <p:nvPr/>
        </p:nvSpPr>
        <p:spPr bwMode="auto">
          <a:xfrm rot="5400000">
            <a:off x="5676900" y="3314700"/>
            <a:ext cx="6858000" cy="2286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11270" name="Rectangle 39"/>
          <p:cNvSpPr>
            <a:spLocks noChangeArrowheads="1"/>
          </p:cNvSpPr>
          <p:nvPr/>
        </p:nvSpPr>
        <p:spPr bwMode="auto">
          <a:xfrm rot="5400000">
            <a:off x="-3314700" y="3314700"/>
            <a:ext cx="6858000" cy="2286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11271" name="Rectangle 39"/>
          <p:cNvSpPr>
            <a:spLocks noChangeArrowheads="1"/>
          </p:cNvSpPr>
          <p:nvPr/>
        </p:nvSpPr>
        <p:spPr bwMode="auto">
          <a:xfrm>
            <a:off x="0" y="6629400"/>
            <a:ext cx="9220200" cy="2286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29699"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600" b="1">
                <a:solidFill>
                  <a:schemeClr val="tx1"/>
                </a:solidFill>
                <a:latin typeface="Garamond" panose="02020404030301010803" pitchFamily="18" charset="0"/>
              </a:rPr>
              <a:t>Legislative </a:t>
            </a:r>
            <a:r>
              <a:rPr lang="ar-SA" sz="3600" b="1">
                <a:solidFill>
                  <a:schemeClr val="tx1"/>
                </a:solidFill>
                <a:latin typeface="Garamond" panose="02020404030301010803" pitchFamily="18" charset="0"/>
              </a:rPr>
              <a:t> </a:t>
            </a:r>
            <a:r>
              <a:rPr lang="en-US" sz="3600" b="1">
                <a:solidFill>
                  <a:schemeClr val="tx1"/>
                </a:solidFill>
                <a:latin typeface="Garamond" panose="02020404030301010803" pitchFamily="18" charset="0"/>
              </a:rPr>
              <a:t>Authorities:</a:t>
            </a:r>
          </a:p>
        </p:txBody>
      </p:sp>
      <p:sp>
        <p:nvSpPr>
          <p:cNvPr id="11268" name="Rectangle 4"/>
          <p:cNvSpPr>
            <a:spLocks noChangeArrowheads="1"/>
          </p:cNvSpPr>
          <p:nvPr/>
        </p:nvSpPr>
        <p:spPr bwMode="auto">
          <a:xfrm>
            <a:off x="2286000" y="2170113"/>
            <a:ext cx="6248400"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200" b="1">
                <a:solidFill>
                  <a:schemeClr val="tx1"/>
                </a:solidFill>
                <a:latin typeface="Garamond" panose="02020404030301010803" pitchFamily="18" charset="0"/>
              </a:rPr>
              <a:t>The Royal Cabinet:</a:t>
            </a:r>
          </a:p>
          <a:p>
            <a:pPr algn="l" rtl="0" eaLnBrk="1" hangingPunct="1">
              <a:lnSpc>
                <a:spcPct val="100000"/>
              </a:lnSpc>
              <a:spcBef>
                <a:spcPct val="0"/>
              </a:spcBef>
              <a:spcAft>
                <a:spcPct val="0"/>
              </a:spcAft>
              <a:buClrTx/>
              <a:buSzTx/>
              <a:buFontTx/>
              <a:buNone/>
            </a:pPr>
            <a:endParaRPr lang="en-US" sz="3200" b="1">
              <a:solidFill>
                <a:schemeClr val="tx1"/>
              </a:solidFill>
              <a:latin typeface="Garamond" panose="02020404030301010803" pitchFamily="18" charset="0"/>
            </a:endParaRPr>
          </a:p>
          <a:p>
            <a:pPr lvl="2" algn="l" rtl="0" eaLnBrk="1" hangingPunct="1">
              <a:lnSpc>
                <a:spcPct val="100000"/>
              </a:lnSpc>
              <a:spcBef>
                <a:spcPct val="0"/>
              </a:spcBef>
              <a:spcAft>
                <a:spcPct val="0"/>
              </a:spcAft>
              <a:buClrTx/>
              <a:buFont typeface="Wingdings" panose="05000000000000000000" pitchFamily="2" charset="2"/>
              <a:buChar char="Ø"/>
            </a:pPr>
            <a:r>
              <a:rPr lang="en-US" sz="3200" b="1">
                <a:solidFill>
                  <a:schemeClr val="tx1"/>
                </a:solidFill>
                <a:latin typeface="Garamond" panose="02020404030301010803" pitchFamily="18" charset="0"/>
              </a:rPr>
              <a:t> Al Shora Council</a:t>
            </a:r>
          </a:p>
          <a:p>
            <a:pPr lvl="2" algn="l" rtl="0" eaLnBrk="1" hangingPunct="1">
              <a:lnSpc>
                <a:spcPct val="100000"/>
              </a:lnSpc>
              <a:spcBef>
                <a:spcPct val="0"/>
              </a:spcBef>
              <a:spcAft>
                <a:spcPct val="0"/>
              </a:spcAft>
              <a:buClrTx/>
              <a:buFontTx/>
              <a:buNone/>
            </a:pPr>
            <a:endParaRPr lang="en-US" sz="3200" b="1">
              <a:solidFill>
                <a:schemeClr val="tx1"/>
              </a:solidFill>
              <a:latin typeface="Garamond" panose="02020404030301010803" pitchFamily="18" charset="0"/>
            </a:endParaRPr>
          </a:p>
          <a:p>
            <a:pPr lvl="2" algn="l" rtl="0" eaLnBrk="1" hangingPunct="1">
              <a:lnSpc>
                <a:spcPct val="100000"/>
              </a:lnSpc>
              <a:spcBef>
                <a:spcPct val="0"/>
              </a:spcBef>
              <a:spcAft>
                <a:spcPct val="0"/>
              </a:spcAft>
              <a:buClrTx/>
              <a:buFont typeface="Wingdings" panose="05000000000000000000" pitchFamily="2" charset="2"/>
              <a:buChar char="Ø"/>
            </a:pPr>
            <a:r>
              <a:rPr lang="en-US" sz="3200" b="1">
                <a:solidFill>
                  <a:schemeClr val="tx1"/>
                </a:solidFill>
                <a:latin typeface="Garamond" panose="02020404030301010803" pitchFamily="18" charset="0"/>
              </a:rPr>
              <a:t> The Bureau of Experts</a:t>
            </a:r>
          </a:p>
        </p:txBody>
      </p:sp>
      <p:sp>
        <p:nvSpPr>
          <p:cNvPr id="29701"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29702"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26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26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26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31747"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600" b="1">
                <a:solidFill>
                  <a:schemeClr val="tx1"/>
                </a:solidFill>
                <a:latin typeface="Garamond" panose="02020404030301010803" pitchFamily="18" charset="0"/>
              </a:rPr>
              <a:t>Health Regulators:</a:t>
            </a:r>
          </a:p>
        </p:txBody>
      </p:sp>
      <p:sp>
        <p:nvSpPr>
          <p:cNvPr id="12292" name="Rectangle 4"/>
          <p:cNvSpPr>
            <a:spLocks noChangeArrowheads="1"/>
          </p:cNvSpPr>
          <p:nvPr/>
        </p:nvSpPr>
        <p:spPr bwMode="auto">
          <a:xfrm>
            <a:off x="0" y="1828800"/>
            <a:ext cx="8382000"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             The National Organizations:</a:t>
            </a:r>
          </a:p>
          <a:p>
            <a:pPr algn="l" rtl="0">
              <a:lnSpc>
                <a:spcPct val="100000"/>
              </a:lnSpc>
              <a:spcBef>
                <a:spcPct val="0"/>
              </a:spcBef>
              <a:spcAft>
                <a:spcPct val="0"/>
              </a:spcAft>
              <a:buClrTx/>
              <a:buSzTx/>
              <a:buFontTx/>
              <a:buNone/>
            </a:pPr>
            <a:endParaRPr lang="en-US" sz="3200" b="1">
              <a:solidFill>
                <a:schemeClr val="tx1"/>
              </a:solidFill>
              <a:latin typeface="Garamond" panose="02020404030301010803" pitchFamily="18" charset="0"/>
            </a:endParaRPr>
          </a:p>
          <a:p>
            <a:pPr lvl="2" algn="l" rtl="0">
              <a:lnSpc>
                <a:spcPct val="100000"/>
              </a:lnSpc>
              <a:spcBef>
                <a:spcPct val="0"/>
              </a:spcBef>
              <a:spcAft>
                <a:spcPct val="0"/>
              </a:spcAft>
              <a:buClr>
                <a:srgbClr val="FF0000"/>
              </a:buClr>
              <a:buFont typeface="Wingdings" panose="05000000000000000000" pitchFamily="2" charset="2"/>
              <a:buChar char="§"/>
            </a:pPr>
            <a:r>
              <a:rPr lang="en-US" sz="3200" b="1">
                <a:solidFill>
                  <a:schemeClr val="tx1"/>
                </a:solidFill>
                <a:latin typeface="Garamond" panose="02020404030301010803" pitchFamily="18" charset="0"/>
              </a:rPr>
              <a:t> The National Health Council </a:t>
            </a:r>
          </a:p>
          <a:p>
            <a:pPr lvl="2" algn="l" rtl="0">
              <a:lnSpc>
                <a:spcPct val="100000"/>
              </a:lnSpc>
              <a:spcBef>
                <a:spcPct val="0"/>
              </a:spcBef>
              <a:spcAft>
                <a:spcPct val="0"/>
              </a:spcAft>
              <a:buClr>
                <a:srgbClr val="FF0000"/>
              </a:buClr>
              <a:buFont typeface="Wingdings" panose="05000000000000000000" pitchFamily="2" charset="2"/>
              <a:buChar char="§"/>
            </a:pPr>
            <a:r>
              <a:rPr lang="en-US" sz="3200" b="1">
                <a:solidFill>
                  <a:schemeClr val="tx1"/>
                </a:solidFill>
                <a:latin typeface="Garamond" panose="02020404030301010803" pitchFamily="18" charset="0"/>
              </a:rPr>
              <a:t> Ministry of health</a:t>
            </a:r>
          </a:p>
          <a:p>
            <a:pPr lvl="2" algn="l" rtl="0">
              <a:lnSpc>
                <a:spcPct val="100000"/>
              </a:lnSpc>
              <a:spcBef>
                <a:spcPct val="0"/>
              </a:spcBef>
              <a:spcAft>
                <a:spcPct val="0"/>
              </a:spcAft>
              <a:buClr>
                <a:srgbClr val="FF0000"/>
              </a:buClr>
              <a:buFont typeface="Wingdings" panose="05000000000000000000" pitchFamily="2" charset="2"/>
              <a:buChar char="§"/>
            </a:pPr>
            <a:r>
              <a:rPr lang="en-US" sz="3200" b="1">
                <a:solidFill>
                  <a:schemeClr val="tx1"/>
                </a:solidFill>
                <a:latin typeface="Garamond" panose="02020404030301010803" pitchFamily="18" charset="0"/>
              </a:rPr>
              <a:t>The Saudi Commission for Health    	  Specialties</a:t>
            </a:r>
          </a:p>
          <a:p>
            <a:pPr lvl="2" algn="l" rtl="0">
              <a:lnSpc>
                <a:spcPct val="100000"/>
              </a:lnSpc>
              <a:spcBef>
                <a:spcPct val="0"/>
              </a:spcBef>
              <a:spcAft>
                <a:spcPct val="0"/>
              </a:spcAft>
              <a:buClr>
                <a:srgbClr val="FF0000"/>
              </a:buClr>
              <a:buFont typeface="Wingdings" panose="05000000000000000000" pitchFamily="2" charset="2"/>
              <a:buChar char="§"/>
            </a:pPr>
            <a:r>
              <a:rPr lang="en-US" sz="3200" b="1">
                <a:solidFill>
                  <a:schemeClr val="tx1"/>
                </a:solidFill>
                <a:latin typeface="Garamond" panose="02020404030301010803" pitchFamily="18" charset="0"/>
              </a:rPr>
              <a:t> Council of Co-operative Health  	 	  Insurance</a:t>
            </a:r>
          </a:p>
          <a:p>
            <a:pPr lvl="2" algn="l" rtl="0">
              <a:lnSpc>
                <a:spcPct val="100000"/>
              </a:lnSpc>
              <a:spcBef>
                <a:spcPct val="0"/>
              </a:spcBef>
              <a:spcAft>
                <a:spcPct val="0"/>
              </a:spcAft>
              <a:buClr>
                <a:srgbClr val="FF0000"/>
              </a:buClr>
              <a:buFont typeface="Wingdings" panose="05000000000000000000" pitchFamily="2" charset="2"/>
              <a:buChar char="§"/>
            </a:pPr>
            <a:r>
              <a:rPr lang="en-US" sz="3200" b="1">
                <a:solidFill>
                  <a:schemeClr val="tx1"/>
                </a:solidFill>
                <a:latin typeface="Garamond" panose="02020404030301010803" pitchFamily="18" charset="0"/>
              </a:rPr>
              <a:t> The Saudi Food and Drug Authority</a:t>
            </a:r>
            <a:r>
              <a:rPr lang="en-US" sz="3200">
                <a:solidFill>
                  <a:schemeClr val="tx1"/>
                </a:solidFill>
                <a:latin typeface="Garamond" panose="02020404030301010803" pitchFamily="18" charset="0"/>
              </a:rPr>
              <a:t> </a:t>
            </a:r>
          </a:p>
        </p:txBody>
      </p:sp>
      <p:sp>
        <p:nvSpPr>
          <p:cNvPr id="31749"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31750"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292">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29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29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29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29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33795"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600" b="1">
                <a:solidFill>
                  <a:srgbClr val="FF0000"/>
                </a:solidFill>
                <a:latin typeface="Garamond" panose="02020404030301010803" pitchFamily="18" charset="0"/>
              </a:rPr>
              <a:t>Health Care Providers</a:t>
            </a:r>
            <a:r>
              <a:rPr lang="ar-SA" sz="3600" b="1">
                <a:solidFill>
                  <a:srgbClr val="FF0000"/>
                </a:solidFill>
                <a:latin typeface="Garamond" panose="02020404030301010803" pitchFamily="18" charset="0"/>
              </a:rPr>
              <a:t>:</a:t>
            </a:r>
            <a:endParaRPr lang="en-US" sz="3600" b="1">
              <a:solidFill>
                <a:srgbClr val="FF0000"/>
              </a:solidFill>
              <a:latin typeface="Garamond" panose="02020404030301010803" pitchFamily="18" charset="0"/>
            </a:endParaRPr>
          </a:p>
        </p:txBody>
      </p:sp>
      <p:sp>
        <p:nvSpPr>
          <p:cNvPr id="12" name="Rectangle 3"/>
          <p:cNvSpPr>
            <a:spLocks noChangeArrowheads="1"/>
          </p:cNvSpPr>
          <p:nvPr/>
        </p:nvSpPr>
        <p:spPr bwMode="auto">
          <a:xfrm>
            <a:off x="914400" y="2211388"/>
            <a:ext cx="8077200" cy="30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Ministry of Health</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Ministry of Defense and Aviation</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National Guards</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Ministry of Interior</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Specialized Hospitals (KFSH, KKESH)</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Universities (Ministry of Higher Education)</a:t>
            </a:r>
          </a:p>
        </p:txBody>
      </p:sp>
      <p:sp>
        <p:nvSpPr>
          <p:cNvPr id="33797"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33798"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35843"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600" b="1">
                <a:solidFill>
                  <a:srgbClr val="FF0000"/>
                </a:solidFill>
                <a:latin typeface="Garamond" panose="02020404030301010803" pitchFamily="18" charset="0"/>
              </a:rPr>
              <a:t>Health Care Providers</a:t>
            </a:r>
            <a:r>
              <a:rPr lang="ar-SA" sz="3600" b="1">
                <a:solidFill>
                  <a:srgbClr val="FF0000"/>
                </a:solidFill>
                <a:latin typeface="Garamond" panose="02020404030301010803" pitchFamily="18" charset="0"/>
              </a:rPr>
              <a:t>:</a:t>
            </a:r>
            <a:endParaRPr lang="en-US" sz="3600" b="1">
              <a:solidFill>
                <a:srgbClr val="FF0000"/>
              </a:solidFill>
              <a:latin typeface="Garamond" panose="02020404030301010803" pitchFamily="18" charset="0"/>
            </a:endParaRPr>
          </a:p>
        </p:txBody>
      </p:sp>
      <p:sp>
        <p:nvSpPr>
          <p:cNvPr id="12" name="Rectangle 3"/>
          <p:cNvSpPr>
            <a:spLocks noChangeArrowheads="1"/>
          </p:cNvSpPr>
          <p:nvPr/>
        </p:nvSpPr>
        <p:spPr bwMode="auto">
          <a:xfrm>
            <a:off x="914400" y="1882775"/>
            <a:ext cx="8001000"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Ministry of Social welfare</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The Private Health Providers </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The big Companies: </a:t>
            </a:r>
          </a:p>
          <a:p>
            <a:pPr algn="l" rtl="0">
              <a:lnSpc>
                <a:spcPct val="100000"/>
              </a:lnSpc>
              <a:spcBef>
                <a:spcPct val="0"/>
              </a:spcBef>
              <a:spcAft>
                <a:spcPct val="0"/>
              </a:spcAft>
              <a:buClr>
                <a:srgbClr val="FF0000"/>
              </a:buClr>
              <a:buSzTx/>
              <a:buFontTx/>
              <a:buNone/>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Saudi Aramco, </a:t>
            </a:r>
          </a:p>
          <a:p>
            <a:pPr algn="l" rtl="0">
              <a:lnSpc>
                <a:spcPct val="100000"/>
              </a:lnSpc>
              <a:spcBef>
                <a:spcPct val="0"/>
              </a:spcBef>
              <a:spcAft>
                <a:spcPct val="0"/>
              </a:spcAft>
              <a:buClr>
                <a:srgbClr val="FF0000"/>
              </a:buClr>
              <a:buSzTx/>
              <a:buFontTx/>
              <a:buNone/>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SABIC,    	</a:t>
            </a:r>
          </a:p>
          <a:p>
            <a:pPr algn="l" rtl="0">
              <a:lnSpc>
                <a:spcPct val="100000"/>
              </a:lnSpc>
              <a:spcBef>
                <a:spcPct val="0"/>
              </a:spcBef>
              <a:spcAft>
                <a:spcPct val="0"/>
              </a:spcAft>
              <a:buClr>
                <a:srgbClr val="FF0000"/>
              </a:buClr>
              <a:buSzTx/>
              <a:buFontTx/>
              <a:buNone/>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Saudi  Electric Company, </a:t>
            </a:r>
          </a:p>
          <a:p>
            <a:pPr algn="l" rtl="0">
              <a:lnSpc>
                <a:spcPct val="100000"/>
              </a:lnSpc>
              <a:spcBef>
                <a:spcPct val="0"/>
              </a:spcBef>
              <a:spcAft>
                <a:spcPct val="0"/>
              </a:spcAft>
              <a:buClr>
                <a:srgbClr val="FF0000"/>
              </a:buClr>
              <a:buSzTx/>
              <a:buFontTx/>
              <a:buNone/>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Saudi Airlines </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Charity Health Providers</a:t>
            </a:r>
          </a:p>
          <a:p>
            <a:pPr algn="l" rtl="0">
              <a:lnSpc>
                <a:spcPct val="100000"/>
              </a:lnSpc>
              <a:spcBef>
                <a:spcPct val="0"/>
              </a:spcBef>
              <a:spcAft>
                <a:spcPct val="0"/>
              </a:spcAft>
              <a:buClr>
                <a:srgbClr val="FF0000"/>
              </a:buClr>
              <a:buSzTx/>
              <a:buFontTx/>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The Saudi Red Crescent</a:t>
            </a:r>
          </a:p>
        </p:txBody>
      </p:sp>
      <p:sp>
        <p:nvSpPr>
          <p:cNvPr id="35845"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35846"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12">
                                            <p:txEl>
                                              <p:pRg st="7" end="7"/>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1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37891"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600" b="1">
                <a:solidFill>
                  <a:srgbClr val="FF0000"/>
                </a:solidFill>
                <a:latin typeface="Garamond" panose="02020404030301010803" pitchFamily="18" charset="0"/>
              </a:rPr>
              <a:t>Health Care Providers</a:t>
            </a:r>
            <a:r>
              <a:rPr lang="ar-SA" sz="3600" b="1">
                <a:solidFill>
                  <a:srgbClr val="FF0000"/>
                </a:solidFill>
                <a:latin typeface="Garamond" panose="02020404030301010803" pitchFamily="18" charset="0"/>
              </a:rPr>
              <a:t>:</a:t>
            </a:r>
            <a:endParaRPr lang="en-US" sz="3600" b="1">
              <a:solidFill>
                <a:srgbClr val="FF0000"/>
              </a:solidFill>
              <a:latin typeface="Garamond" panose="02020404030301010803" pitchFamily="18" charset="0"/>
            </a:endParaRPr>
          </a:p>
        </p:txBody>
      </p:sp>
      <p:grpSp>
        <p:nvGrpSpPr>
          <p:cNvPr id="37892" name="Group 3"/>
          <p:cNvGrpSpPr>
            <a:grpSpLocks/>
          </p:cNvGrpSpPr>
          <p:nvPr/>
        </p:nvGrpSpPr>
        <p:grpSpPr bwMode="auto">
          <a:xfrm>
            <a:off x="1763713" y="2205038"/>
            <a:ext cx="6192837" cy="3362325"/>
            <a:chOff x="1111" y="1389"/>
            <a:chExt cx="3901" cy="2118"/>
          </a:xfrm>
        </p:grpSpPr>
        <p:pic>
          <p:nvPicPr>
            <p:cNvPr id="37895" name="Picture 4" descr="fig2-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1" y="1389"/>
              <a:ext cx="3901" cy="2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6" name="Text Box 5"/>
            <p:cNvSpPr txBox="1">
              <a:spLocks noChangeArrowheads="1"/>
            </p:cNvSpPr>
            <p:nvPr/>
          </p:nvSpPr>
          <p:spPr bwMode="auto">
            <a:xfrm>
              <a:off x="4241" y="2840"/>
              <a:ext cx="725" cy="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1400" b="1">
                  <a:solidFill>
                    <a:srgbClr val="000000"/>
                  </a:solidFill>
                  <a:latin typeface="Arial" panose="020B0604020202020204" pitchFamily="34" charset="0"/>
                </a:rPr>
                <a:t>MOH 58.5%</a:t>
              </a:r>
            </a:p>
          </p:txBody>
        </p:sp>
        <p:sp>
          <p:nvSpPr>
            <p:cNvPr id="37897" name="Text Box 6"/>
            <p:cNvSpPr txBox="1">
              <a:spLocks noChangeArrowheads="1"/>
            </p:cNvSpPr>
            <p:nvPr/>
          </p:nvSpPr>
          <p:spPr bwMode="auto">
            <a:xfrm>
              <a:off x="1338" y="1888"/>
              <a:ext cx="1154" cy="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1400" b="1">
                  <a:solidFill>
                    <a:srgbClr val="000000"/>
                  </a:solidFill>
                  <a:latin typeface="Arial" panose="020B0604020202020204" pitchFamily="34" charset="0"/>
                </a:rPr>
                <a:t>Private Sector 23 %</a:t>
              </a:r>
            </a:p>
          </p:txBody>
        </p:sp>
        <p:sp>
          <p:nvSpPr>
            <p:cNvPr id="37898" name="Text Box 7"/>
            <p:cNvSpPr txBox="1">
              <a:spLocks noChangeArrowheads="1"/>
            </p:cNvSpPr>
            <p:nvPr/>
          </p:nvSpPr>
          <p:spPr bwMode="auto">
            <a:xfrm>
              <a:off x="1292" y="2931"/>
              <a:ext cx="874" cy="46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1400" b="1">
                  <a:solidFill>
                    <a:srgbClr val="000000"/>
                  </a:solidFill>
                  <a:latin typeface="Arial" panose="020B0604020202020204" pitchFamily="34" charset="0"/>
                </a:rPr>
                <a:t>Other </a:t>
              </a:r>
            </a:p>
            <a:p>
              <a:pPr algn="ctr" rtl="0" eaLnBrk="1" hangingPunct="1">
                <a:lnSpc>
                  <a:spcPct val="100000"/>
                </a:lnSpc>
                <a:spcBef>
                  <a:spcPct val="0"/>
                </a:spcBef>
                <a:spcAft>
                  <a:spcPct val="0"/>
                </a:spcAft>
                <a:buClrTx/>
                <a:buSzTx/>
                <a:buFontTx/>
                <a:buNone/>
              </a:pPr>
              <a:r>
                <a:rPr lang="en-US" sz="1400" b="1">
                  <a:solidFill>
                    <a:srgbClr val="000000"/>
                  </a:solidFill>
                  <a:latin typeface="Arial" panose="020B0604020202020204" pitchFamily="34" charset="0"/>
                </a:rPr>
                <a:t>Governmental</a:t>
              </a:r>
            </a:p>
            <a:p>
              <a:pPr algn="ctr" rtl="0" eaLnBrk="1" hangingPunct="1">
                <a:lnSpc>
                  <a:spcPct val="100000"/>
                </a:lnSpc>
                <a:spcBef>
                  <a:spcPct val="0"/>
                </a:spcBef>
                <a:spcAft>
                  <a:spcPct val="0"/>
                </a:spcAft>
                <a:buClrTx/>
                <a:buSzTx/>
                <a:buFontTx/>
                <a:buNone/>
              </a:pPr>
              <a:r>
                <a:rPr lang="en-US" sz="1400" b="1">
                  <a:solidFill>
                    <a:srgbClr val="000000"/>
                  </a:solidFill>
                  <a:latin typeface="Arial" panose="020B0604020202020204" pitchFamily="34" charset="0"/>
                </a:rPr>
                <a:t>Sectors 18.7%</a:t>
              </a:r>
            </a:p>
          </p:txBody>
        </p:sp>
        <p:sp>
          <p:nvSpPr>
            <p:cNvPr id="37899" name="Text Box 8"/>
            <p:cNvSpPr txBox="1">
              <a:spLocks noChangeArrowheads="1"/>
            </p:cNvSpPr>
            <p:nvPr/>
          </p:nvSpPr>
          <p:spPr bwMode="auto">
            <a:xfrm>
              <a:off x="1701" y="1434"/>
              <a:ext cx="3005" cy="21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1600" b="1">
                  <a:solidFill>
                    <a:srgbClr val="000000"/>
                  </a:solidFill>
                  <a:latin typeface="Arial" panose="020B0604020202020204" pitchFamily="34" charset="0"/>
                </a:rPr>
                <a:t>Hospital Beds distribution according to sectors</a:t>
              </a:r>
            </a:p>
          </p:txBody>
        </p:sp>
        <p:sp>
          <p:nvSpPr>
            <p:cNvPr id="37900" name="Text Box 9"/>
            <p:cNvSpPr txBox="1">
              <a:spLocks noChangeArrowheads="1"/>
            </p:cNvSpPr>
            <p:nvPr/>
          </p:nvSpPr>
          <p:spPr bwMode="auto">
            <a:xfrm>
              <a:off x="3696" y="3294"/>
              <a:ext cx="1090"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800">
                  <a:solidFill>
                    <a:srgbClr val="000000"/>
                  </a:solidFill>
                  <a:latin typeface="Arial" panose="020B0604020202020204" pitchFamily="34" charset="0"/>
                </a:rPr>
                <a:t>Source: MOH  Annual report 2007</a:t>
              </a:r>
            </a:p>
          </p:txBody>
        </p:sp>
      </p:grpSp>
      <p:sp>
        <p:nvSpPr>
          <p:cNvPr id="37893"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37894"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39939"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600" b="1">
                <a:solidFill>
                  <a:srgbClr val="FF0000"/>
                </a:solidFill>
                <a:latin typeface="Garamond" panose="02020404030301010803" pitchFamily="18" charset="0"/>
              </a:rPr>
              <a:t>Health Care Providers</a:t>
            </a:r>
            <a:r>
              <a:rPr lang="ar-SA" sz="3600" b="1">
                <a:solidFill>
                  <a:srgbClr val="FF0000"/>
                </a:solidFill>
                <a:latin typeface="Garamond" panose="02020404030301010803" pitchFamily="18" charset="0"/>
              </a:rPr>
              <a:t>:</a:t>
            </a:r>
            <a:endParaRPr lang="en-US" sz="3600" b="1">
              <a:solidFill>
                <a:srgbClr val="FF0000"/>
              </a:solidFill>
              <a:latin typeface="Garamond" panose="02020404030301010803" pitchFamily="18" charset="0"/>
            </a:endParaRPr>
          </a:p>
        </p:txBody>
      </p:sp>
      <p:sp>
        <p:nvSpPr>
          <p:cNvPr id="6" name="Rectangle 4"/>
          <p:cNvSpPr>
            <a:spLocks noChangeArrowheads="1"/>
          </p:cNvSpPr>
          <p:nvPr/>
        </p:nvSpPr>
        <p:spPr bwMode="auto">
          <a:xfrm>
            <a:off x="3200400" y="2514600"/>
            <a:ext cx="4953000" cy="1143000"/>
          </a:xfrm>
          <a:prstGeom prst="rect">
            <a:avLst/>
          </a:prstGeom>
          <a:gradFill rotWithShape="1">
            <a:gsLst>
              <a:gs pos="0">
                <a:srgbClr val="3333CC"/>
              </a:gs>
              <a:gs pos="50000">
                <a:srgbClr val="18185E"/>
              </a:gs>
              <a:gs pos="100000">
                <a:srgbClr val="3333CC"/>
              </a:gs>
            </a:gsLst>
            <a:lin ang="5400000" scaled="1"/>
          </a:gradFill>
          <a:ln w="9525">
            <a:solidFill>
              <a:schemeClr val="tx1"/>
            </a:solidFill>
            <a:miter lim="800000"/>
            <a:headEnd/>
            <a:tailEnd/>
          </a:ln>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2800" b="1">
                <a:solidFill>
                  <a:schemeClr val="tx1"/>
                </a:solidFill>
                <a:latin typeface="Garamond" panose="02020404030301010803" pitchFamily="18" charset="0"/>
              </a:rPr>
              <a:t>PRIMARY HEALTH CARE</a:t>
            </a:r>
          </a:p>
        </p:txBody>
      </p:sp>
      <p:sp>
        <p:nvSpPr>
          <p:cNvPr id="9" name="Rectangle 5"/>
          <p:cNvSpPr>
            <a:spLocks noChangeArrowheads="1"/>
          </p:cNvSpPr>
          <p:nvPr/>
        </p:nvSpPr>
        <p:spPr bwMode="auto">
          <a:xfrm>
            <a:off x="3810000" y="3886200"/>
            <a:ext cx="3810000" cy="1143000"/>
          </a:xfrm>
          <a:prstGeom prst="rect">
            <a:avLst/>
          </a:prstGeom>
          <a:gradFill rotWithShape="1">
            <a:gsLst>
              <a:gs pos="0">
                <a:srgbClr val="3333CC"/>
              </a:gs>
              <a:gs pos="50000">
                <a:srgbClr val="18185E"/>
              </a:gs>
              <a:gs pos="100000">
                <a:srgbClr val="3333CC"/>
              </a:gs>
            </a:gsLst>
            <a:lin ang="5400000" scaled="1"/>
          </a:gradFill>
          <a:ln w="9525">
            <a:solidFill>
              <a:schemeClr val="tx1"/>
            </a:solidFill>
            <a:miter lim="800000"/>
            <a:headEnd/>
            <a:tailEnd/>
          </a:ln>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SECONDARY </a:t>
            </a:r>
          </a:p>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HEALTH CARE</a:t>
            </a:r>
          </a:p>
        </p:txBody>
      </p:sp>
      <p:sp>
        <p:nvSpPr>
          <p:cNvPr id="10" name="Rectangle 6"/>
          <p:cNvSpPr>
            <a:spLocks noChangeArrowheads="1"/>
          </p:cNvSpPr>
          <p:nvPr/>
        </p:nvSpPr>
        <p:spPr bwMode="auto">
          <a:xfrm>
            <a:off x="4572000" y="5257800"/>
            <a:ext cx="2314575" cy="1295400"/>
          </a:xfrm>
          <a:prstGeom prst="rect">
            <a:avLst/>
          </a:prstGeom>
          <a:gradFill rotWithShape="1">
            <a:gsLst>
              <a:gs pos="0">
                <a:srgbClr val="3333CC"/>
              </a:gs>
              <a:gs pos="50000">
                <a:srgbClr val="18185E"/>
              </a:gs>
              <a:gs pos="100000">
                <a:srgbClr val="3333CC"/>
              </a:gs>
            </a:gsLst>
            <a:lin ang="5400000" scaled="1"/>
          </a:gradFill>
          <a:ln w="9525">
            <a:solidFill>
              <a:schemeClr val="tx1"/>
            </a:solidFill>
            <a:miter lim="800000"/>
            <a:headEnd/>
            <a:tailEnd/>
          </a:ln>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TERIEARY  </a:t>
            </a:r>
          </a:p>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HEALTH </a:t>
            </a:r>
          </a:p>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CARE</a:t>
            </a:r>
          </a:p>
        </p:txBody>
      </p:sp>
      <p:sp>
        <p:nvSpPr>
          <p:cNvPr id="39943" name="Rectangle 7"/>
          <p:cNvSpPr>
            <a:spLocks noChangeArrowheads="1"/>
          </p:cNvSpPr>
          <p:nvPr/>
        </p:nvSpPr>
        <p:spPr bwMode="auto">
          <a:xfrm>
            <a:off x="4454525" y="1981200"/>
            <a:ext cx="2244725" cy="5238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2800" b="1">
                <a:solidFill>
                  <a:schemeClr val="tx1"/>
                </a:solidFill>
                <a:latin typeface="Garamond" panose="02020404030301010803" pitchFamily="18" charset="0"/>
              </a:rPr>
              <a:t>Level of Care</a:t>
            </a:r>
          </a:p>
        </p:txBody>
      </p:sp>
      <p:sp>
        <p:nvSpPr>
          <p:cNvPr id="13" name="Text Box 9"/>
          <p:cNvSpPr txBox="1">
            <a:spLocks noChangeArrowheads="1"/>
          </p:cNvSpPr>
          <p:nvPr/>
        </p:nvSpPr>
        <p:spPr bwMode="auto">
          <a:xfrm>
            <a:off x="268288" y="2743200"/>
            <a:ext cx="26003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3200" b="1">
                <a:solidFill>
                  <a:schemeClr val="tx1"/>
                </a:solidFill>
                <a:latin typeface="Arial" panose="020B0604020202020204" pitchFamily="34" charset="0"/>
              </a:rPr>
              <a:t>2325 PHCCs</a:t>
            </a:r>
          </a:p>
        </p:txBody>
      </p:sp>
      <p:sp>
        <p:nvSpPr>
          <p:cNvPr id="14" name="Text Box 10"/>
          <p:cNvSpPr txBox="1">
            <a:spLocks noChangeArrowheads="1"/>
          </p:cNvSpPr>
          <p:nvPr/>
        </p:nvSpPr>
        <p:spPr bwMode="auto">
          <a:xfrm>
            <a:off x="76200" y="4745038"/>
            <a:ext cx="3624263"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3200" b="1">
                <a:solidFill>
                  <a:schemeClr val="tx1"/>
                </a:solidFill>
                <a:latin typeface="Arial" panose="020B0604020202020204" pitchFamily="34" charset="0"/>
              </a:rPr>
              <a:t>Around 484</a:t>
            </a:r>
          </a:p>
          <a:p>
            <a:pPr algn="ctr" rtl="0" eaLnBrk="1" hangingPunct="1">
              <a:lnSpc>
                <a:spcPct val="100000"/>
              </a:lnSpc>
              <a:spcBef>
                <a:spcPct val="0"/>
              </a:spcBef>
              <a:spcAft>
                <a:spcPct val="0"/>
              </a:spcAft>
              <a:buClrTx/>
              <a:buSzTx/>
              <a:buFontTx/>
              <a:buNone/>
            </a:pPr>
            <a:r>
              <a:rPr lang="en-US" sz="3200" b="1">
                <a:solidFill>
                  <a:schemeClr val="tx1"/>
                </a:solidFill>
                <a:latin typeface="Arial" panose="020B0604020202020204" pitchFamily="34" charset="0"/>
              </a:rPr>
              <a:t>67% Govermental</a:t>
            </a:r>
          </a:p>
        </p:txBody>
      </p:sp>
      <p:sp>
        <p:nvSpPr>
          <p:cNvPr id="39946"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39947"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P spid="13" grpId="0"/>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41987"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600" b="1">
                <a:solidFill>
                  <a:schemeClr val="tx1"/>
                </a:solidFill>
                <a:latin typeface="Garamond" panose="02020404030301010803" pitchFamily="18" charset="0"/>
              </a:rPr>
              <a:t>Human Resources</a:t>
            </a:r>
            <a:r>
              <a:rPr lang="en-US" sz="3600">
                <a:solidFill>
                  <a:schemeClr val="tx1"/>
                </a:solidFill>
                <a:latin typeface="Garamond" panose="02020404030301010803" pitchFamily="18" charset="0"/>
              </a:rPr>
              <a:t>:</a:t>
            </a:r>
          </a:p>
        </p:txBody>
      </p:sp>
      <p:sp>
        <p:nvSpPr>
          <p:cNvPr id="41988"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41989"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graphicFrame>
        <p:nvGraphicFramePr>
          <p:cNvPr id="2" name="Table 1"/>
          <p:cNvGraphicFramePr>
            <a:graphicFrameLocks noGrp="1"/>
          </p:cNvGraphicFramePr>
          <p:nvPr/>
        </p:nvGraphicFramePr>
        <p:xfrm>
          <a:off x="609600" y="1905000"/>
          <a:ext cx="8001000" cy="4267200"/>
        </p:xfrm>
        <a:graphic>
          <a:graphicData uri="http://schemas.openxmlformats.org/drawingml/2006/table">
            <a:tbl>
              <a:tblPr/>
              <a:tblGrid>
                <a:gridCol w="4000500"/>
                <a:gridCol w="4000500"/>
              </a:tblGrid>
              <a:tr h="711200">
                <a:tc gridSpan="2">
                  <a:txBody>
                    <a:bodyPr/>
                    <a:lstStyle/>
                    <a:p>
                      <a:pPr marL="0" marR="0" algn="ctr" fontAlgn="t">
                        <a:spcBef>
                          <a:spcPts val="0"/>
                        </a:spcBef>
                        <a:spcAft>
                          <a:spcPts val="0"/>
                        </a:spcAft>
                      </a:pPr>
                      <a:r>
                        <a:rPr lang="en-US" sz="800" b="1" dirty="0">
                          <a:solidFill>
                            <a:srgbClr val="676767"/>
                          </a:solidFill>
                          <a:effectLst/>
                          <a:latin typeface="tahoma" panose="020B0604030504040204" pitchFamily="34" charset="0"/>
                        </a:rPr>
                        <a:t>Rates per 10,000 Population (MOH)</a:t>
                      </a:r>
                      <a:endParaRPr lang="en-US"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hMerge="1">
                  <a:txBody>
                    <a:bodyPr/>
                    <a:lstStyle/>
                    <a:p>
                      <a:pPr rtl="1"/>
                      <a:endParaRPr lang="ar-SA"/>
                    </a:p>
                  </a:txBody>
                  <a:tcPr/>
                </a:tc>
              </a:tr>
              <a:tr h="711200">
                <a:tc>
                  <a:txBody>
                    <a:bodyPr/>
                    <a:lstStyle/>
                    <a:p>
                      <a:pPr marL="0" marR="0" fontAlgn="t">
                        <a:spcBef>
                          <a:spcPts val="0"/>
                        </a:spcBef>
                        <a:spcAft>
                          <a:spcPts val="0"/>
                        </a:spcAft>
                      </a:pPr>
                      <a:r>
                        <a:rPr lang="en-US" sz="800">
                          <a:solidFill>
                            <a:srgbClr val="676767"/>
                          </a:solidFill>
                          <a:effectLst/>
                          <a:latin typeface="tahoma" panose="020B0604030504040204" pitchFamily="34" charset="0"/>
                        </a:rPr>
                        <a:t>Physicians including Dentists</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13.5​</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711200">
                <a:tc>
                  <a:txBody>
                    <a:bodyPr/>
                    <a:lstStyle/>
                    <a:p>
                      <a:pPr marL="0" marR="0" fontAlgn="t">
                        <a:spcBef>
                          <a:spcPts val="0"/>
                        </a:spcBef>
                        <a:spcAft>
                          <a:spcPts val="0"/>
                        </a:spcAft>
                      </a:pPr>
                      <a:r>
                        <a:rPr lang="en-US" sz="800">
                          <a:solidFill>
                            <a:srgbClr val="676767"/>
                          </a:solidFill>
                          <a:effectLst/>
                          <a:latin typeface="tahoma" panose="020B0604030504040204" pitchFamily="34" charset="0"/>
                        </a:rPr>
                        <a:t>Dentists</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dirty="0">
                          <a:solidFill>
                            <a:srgbClr val="676767"/>
                          </a:solidFill>
                          <a:effectLst/>
                          <a:latin typeface="tahoma" panose="020B0604030504040204" pitchFamily="34" charset="0"/>
                        </a:rPr>
                        <a:t>1.13​</a:t>
                      </a:r>
                      <a:endParaRPr lang="ar-SA"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711200">
                <a:tc>
                  <a:txBody>
                    <a:bodyPr/>
                    <a:lstStyle/>
                    <a:p>
                      <a:pPr marL="0" marR="0" fontAlgn="t">
                        <a:spcBef>
                          <a:spcPts val="0"/>
                        </a:spcBef>
                        <a:spcAft>
                          <a:spcPts val="0"/>
                        </a:spcAft>
                      </a:pPr>
                      <a:r>
                        <a:rPr lang="en-US" sz="800">
                          <a:solidFill>
                            <a:srgbClr val="676767"/>
                          </a:solidFill>
                          <a:effectLst/>
                          <a:latin typeface="tahoma" panose="020B0604030504040204" pitchFamily="34" charset="0"/>
                        </a:rPr>
                        <a:t>Pharmacists</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1.1​</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711200">
                <a:tc>
                  <a:txBody>
                    <a:bodyPr/>
                    <a:lstStyle/>
                    <a:p>
                      <a:pPr marL="0" marR="0" fontAlgn="t">
                        <a:spcBef>
                          <a:spcPts val="0"/>
                        </a:spcBef>
                        <a:spcAft>
                          <a:spcPts val="0"/>
                        </a:spcAft>
                      </a:pPr>
                      <a:r>
                        <a:rPr lang="en-US" sz="800">
                          <a:solidFill>
                            <a:srgbClr val="676767"/>
                          </a:solidFill>
                          <a:effectLst/>
                          <a:latin typeface="tahoma" panose="020B0604030504040204" pitchFamily="34" charset="0"/>
                        </a:rPr>
                        <a:t>Nurses including Midwives</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31.9​</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711200">
                <a:tc>
                  <a:txBody>
                    <a:bodyPr/>
                    <a:lstStyle/>
                    <a:p>
                      <a:pPr marL="0" marR="0" fontAlgn="t">
                        <a:spcBef>
                          <a:spcPts val="0"/>
                        </a:spcBef>
                        <a:spcAft>
                          <a:spcPts val="0"/>
                        </a:spcAft>
                      </a:pPr>
                      <a:r>
                        <a:rPr lang="en-US" sz="800" dirty="0">
                          <a:solidFill>
                            <a:srgbClr val="676767"/>
                          </a:solidFill>
                          <a:effectLst/>
                          <a:latin typeface="tahoma" panose="020B0604030504040204" pitchFamily="34" charset="0"/>
                        </a:rPr>
                        <a:t>Allied Health Personnel</a:t>
                      </a:r>
                      <a:endParaRPr lang="en-US"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dirty="0">
                          <a:solidFill>
                            <a:srgbClr val="676767"/>
                          </a:solidFill>
                          <a:effectLst/>
                          <a:latin typeface="tahoma" panose="020B0604030504040204" pitchFamily="34" charset="0"/>
                        </a:rPr>
                        <a:t>18.1​</a:t>
                      </a:r>
                      <a:endParaRPr lang="ar-SA"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bl>
          </a:graphicData>
        </a:graphic>
      </p:graphicFrame>
      <p:sp>
        <p:nvSpPr>
          <p:cNvPr id="42012" name="Rectangle 7"/>
          <p:cNvSpPr>
            <a:spLocks noChangeArrowheads="1"/>
          </p:cNvSpPr>
          <p:nvPr/>
        </p:nvSpPr>
        <p:spPr bwMode="auto">
          <a:xfrm>
            <a:off x="2895600" y="5181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0"/>
              </a:spcBef>
              <a:spcAft>
                <a:spcPct val="0"/>
              </a:spcAft>
              <a:buClrTx/>
              <a:buSzTx/>
              <a:buFontTx/>
              <a:buNone/>
            </a:pPr>
            <a:r>
              <a:rPr lang="en-US" sz="1800">
                <a:solidFill>
                  <a:schemeClr val="tx1"/>
                </a:solidFill>
                <a:latin typeface="Garamond" panose="02020404030301010803" pitchFamily="18" charset="0"/>
              </a:rPr>
              <a:t/>
            </a:r>
            <a:br>
              <a:rPr lang="en-US" sz="1800">
                <a:solidFill>
                  <a:schemeClr val="tx1"/>
                </a:solidFill>
                <a:latin typeface="Garamond" panose="02020404030301010803" pitchFamily="18" charset="0"/>
              </a:rPr>
            </a:br>
            <a:endParaRPr lang="en-US" sz="1800">
              <a:solidFill>
                <a:schemeClr val="tx1"/>
              </a:solidFill>
              <a:latin typeface="Garamond" panose="02020404030301010803" pitchFamily="18"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44035"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600" b="1">
                <a:solidFill>
                  <a:schemeClr val="tx1"/>
                </a:solidFill>
                <a:latin typeface="Garamond" panose="02020404030301010803" pitchFamily="18" charset="0"/>
              </a:rPr>
              <a:t>Human Resources</a:t>
            </a:r>
            <a:r>
              <a:rPr lang="en-US" sz="3600">
                <a:solidFill>
                  <a:schemeClr val="tx1"/>
                </a:solidFill>
                <a:latin typeface="Garamond" panose="02020404030301010803" pitchFamily="18" charset="0"/>
              </a:rPr>
              <a:t>:</a:t>
            </a:r>
          </a:p>
        </p:txBody>
      </p:sp>
      <p:sp>
        <p:nvSpPr>
          <p:cNvPr id="44036"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44037"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graphicFrame>
        <p:nvGraphicFramePr>
          <p:cNvPr id="3" name="Table 2"/>
          <p:cNvGraphicFramePr>
            <a:graphicFrameLocks noGrp="1"/>
          </p:cNvGraphicFramePr>
          <p:nvPr/>
        </p:nvGraphicFramePr>
        <p:xfrm>
          <a:off x="762000" y="1981200"/>
          <a:ext cx="7848600" cy="4114800"/>
        </p:xfrm>
        <a:graphic>
          <a:graphicData uri="http://schemas.openxmlformats.org/drawingml/2006/table">
            <a:tbl>
              <a:tblPr/>
              <a:tblGrid>
                <a:gridCol w="3924300"/>
                <a:gridCol w="3924300"/>
              </a:tblGrid>
              <a:tr h="517430">
                <a:tc gridSpan="2">
                  <a:txBody>
                    <a:bodyPr/>
                    <a:lstStyle/>
                    <a:p>
                      <a:pPr marL="0" marR="0" algn="ctr" fontAlgn="t">
                        <a:spcBef>
                          <a:spcPts val="0"/>
                        </a:spcBef>
                        <a:spcAft>
                          <a:spcPts val="0"/>
                        </a:spcAft>
                      </a:pPr>
                      <a:r>
                        <a:rPr lang="en-US" sz="800" b="1">
                          <a:solidFill>
                            <a:srgbClr val="676767"/>
                          </a:solidFill>
                          <a:effectLst/>
                          <a:latin typeface="tahoma" panose="020B0604030504040204" pitchFamily="34" charset="0"/>
                        </a:rPr>
                        <a:t>Total Health Manpower in KSA</a:t>
                      </a:r>
                      <a:endParaRPr lang="en-US"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hMerge="1">
                  <a:txBody>
                    <a:bodyPr/>
                    <a:lstStyle/>
                    <a:p>
                      <a:pPr rtl="1"/>
                      <a:endParaRPr lang="ar-SA"/>
                    </a:p>
                  </a:txBody>
                  <a:tcPr/>
                </a:tc>
              </a:tr>
              <a:tr h="517430">
                <a:tc>
                  <a:txBody>
                    <a:bodyPr/>
                    <a:lstStyle/>
                    <a:p>
                      <a:pPr marL="0" marR="0" fontAlgn="t">
                        <a:spcBef>
                          <a:spcPts val="0"/>
                        </a:spcBef>
                        <a:spcAft>
                          <a:spcPts val="0"/>
                        </a:spcAft>
                      </a:pPr>
                      <a:r>
                        <a:rPr lang="en-US" sz="800">
                          <a:solidFill>
                            <a:srgbClr val="676767"/>
                          </a:solidFill>
                          <a:effectLst/>
                          <a:latin typeface="tahoma" panose="020B0604030504040204" pitchFamily="34" charset="0"/>
                        </a:rPr>
                        <a:t>Physicians including Dentists</a:t>
                      </a:r>
                      <a:endParaRPr lang="en-US"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89٫675​</a:t>
                      </a:r>
                      <a:endParaRPr lang="ar-SA"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517430">
                <a:tc>
                  <a:txBody>
                    <a:bodyPr/>
                    <a:lstStyle/>
                    <a:p>
                      <a:pPr marL="0" marR="0" fontAlgn="t">
                        <a:spcBef>
                          <a:spcPts val="0"/>
                        </a:spcBef>
                        <a:spcAft>
                          <a:spcPts val="0"/>
                        </a:spcAft>
                      </a:pPr>
                      <a:r>
                        <a:rPr lang="en-US" sz="800">
                          <a:solidFill>
                            <a:srgbClr val="676767"/>
                          </a:solidFill>
                          <a:effectLst/>
                          <a:latin typeface="tahoma" panose="020B0604030504040204" pitchFamily="34" charset="0"/>
                        </a:rPr>
                        <a:t>Dentists</a:t>
                      </a:r>
                      <a:endParaRPr lang="en-US"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13٫935​</a:t>
                      </a:r>
                      <a:endParaRPr lang="ar-SA"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517430">
                <a:tc>
                  <a:txBody>
                    <a:bodyPr/>
                    <a:lstStyle/>
                    <a:p>
                      <a:pPr marL="0" marR="0" fontAlgn="t">
                        <a:spcBef>
                          <a:spcPts val="0"/>
                        </a:spcBef>
                        <a:spcAft>
                          <a:spcPts val="0"/>
                        </a:spcAft>
                      </a:pPr>
                      <a:r>
                        <a:rPr lang="en-US" sz="800">
                          <a:solidFill>
                            <a:srgbClr val="676767"/>
                          </a:solidFill>
                          <a:effectLst/>
                          <a:latin typeface="tahoma" panose="020B0604030504040204" pitchFamily="34" charset="0"/>
                        </a:rPr>
                        <a:t>Pharmacists</a:t>
                      </a:r>
                      <a:endParaRPr lang="en-US"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25٫119​</a:t>
                      </a:r>
                      <a:endParaRPr lang="ar-SA"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517430">
                <a:tc>
                  <a:txBody>
                    <a:bodyPr/>
                    <a:lstStyle/>
                    <a:p>
                      <a:pPr marL="0" marR="0" fontAlgn="t">
                        <a:spcBef>
                          <a:spcPts val="0"/>
                        </a:spcBef>
                        <a:spcAft>
                          <a:spcPts val="0"/>
                        </a:spcAft>
                      </a:pPr>
                      <a:r>
                        <a:rPr lang="en-US" sz="800">
                          <a:solidFill>
                            <a:srgbClr val="676767"/>
                          </a:solidFill>
                          <a:effectLst/>
                          <a:latin typeface="tahoma" panose="020B0604030504040204" pitchFamily="34" charset="0"/>
                        </a:rPr>
                        <a:t>Nurses including Midwives</a:t>
                      </a:r>
                      <a:endParaRPr lang="en-US"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180٫821​</a:t>
                      </a:r>
                      <a:endParaRPr lang="ar-SA"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517430">
                <a:tc>
                  <a:txBody>
                    <a:bodyPr/>
                    <a:lstStyle/>
                    <a:p>
                      <a:pPr marL="0" marR="0" fontAlgn="t">
                        <a:spcBef>
                          <a:spcPts val="0"/>
                        </a:spcBef>
                        <a:spcAft>
                          <a:spcPts val="0"/>
                        </a:spcAft>
                      </a:pPr>
                      <a:r>
                        <a:rPr lang="en-US" sz="800">
                          <a:solidFill>
                            <a:srgbClr val="676767"/>
                          </a:solidFill>
                          <a:effectLst/>
                          <a:latin typeface="tahoma" panose="020B0604030504040204" pitchFamily="34" charset="0"/>
                        </a:rPr>
                        <a:t>Allied Health Personnel</a:t>
                      </a:r>
                      <a:endParaRPr lang="en-US"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107٫323​</a:t>
                      </a:r>
                      <a:endParaRPr lang="ar-SA" sz="180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1010222">
                <a:tc gridSpan="2">
                  <a:txBody>
                    <a:bodyPr/>
                    <a:lstStyle/>
                    <a:p>
                      <a:pPr fontAlgn="t"/>
                      <a:endParaRPr lang="ar-SA" sz="1800"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hMerge="1">
                  <a:txBody>
                    <a:bodyPr/>
                    <a:lstStyle/>
                    <a:p>
                      <a:pPr rtl="1"/>
                      <a:endParaRPr lang="ar-SA"/>
                    </a:p>
                  </a:txBody>
                  <a:tcPr/>
                </a:tc>
              </a:tr>
            </a:tbl>
          </a:graphicData>
        </a:graphic>
      </p:graphicFrame>
      <p:sp>
        <p:nvSpPr>
          <p:cNvPr id="44062" name="Rectangle 7"/>
          <p:cNvSpPr>
            <a:spLocks noChangeArrowheads="1"/>
          </p:cNvSpPr>
          <p:nvPr/>
        </p:nvSpPr>
        <p:spPr bwMode="auto">
          <a:xfrm>
            <a:off x="2895600" y="5181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0"/>
              </a:spcBef>
              <a:spcAft>
                <a:spcPct val="0"/>
              </a:spcAft>
              <a:buClrTx/>
              <a:buSzTx/>
              <a:buFontTx/>
              <a:buNone/>
            </a:pPr>
            <a:r>
              <a:rPr lang="en-US" sz="1800">
                <a:solidFill>
                  <a:schemeClr val="tx1"/>
                </a:solidFill>
                <a:latin typeface="Garamond" panose="02020404030301010803" pitchFamily="18" charset="0"/>
              </a:rPr>
              <a:t/>
            </a:r>
            <a:br>
              <a:rPr lang="en-US" sz="1800">
                <a:solidFill>
                  <a:schemeClr val="tx1"/>
                </a:solidFill>
                <a:latin typeface="Garamond" panose="02020404030301010803" pitchFamily="18" charset="0"/>
              </a:rPr>
            </a:br>
            <a:endParaRPr lang="en-US" sz="1800">
              <a:solidFill>
                <a:schemeClr val="tx1"/>
              </a:solidFill>
              <a:latin typeface="Garamond" panose="02020404030301010803" pitchFamily="18"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46083" name="Rectangle 3"/>
          <p:cNvSpPr>
            <a:spLocks noChangeArrowheads="1"/>
          </p:cNvSpPr>
          <p:nvPr/>
        </p:nvSpPr>
        <p:spPr bwMode="auto">
          <a:xfrm>
            <a:off x="914400" y="1066800"/>
            <a:ext cx="6248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600" b="1">
                <a:solidFill>
                  <a:schemeClr val="tx1"/>
                </a:solidFill>
                <a:latin typeface="Garamond" panose="02020404030301010803" pitchFamily="18" charset="0"/>
              </a:rPr>
              <a:t>Medical supplies providers:</a:t>
            </a:r>
          </a:p>
        </p:txBody>
      </p:sp>
      <p:sp>
        <p:nvSpPr>
          <p:cNvPr id="9" name="Rectangle 3"/>
          <p:cNvSpPr>
            <a:spLocks noChangeArrowheads="1"/>
          </p:cNvSpPr>
          <p:nvPr/>
        </p:nvSpPr>
        <p:spPr bwMode="auto">
          <a:xfrm>
            <a:off x="1066800" y="1828800"/>
            <a:ext cx="6858000"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en-US" sz="3200" b="1">
              <a:solidFill>
                <a:schemeClr val="tx1"/>
              </a:solidFill>
              <a:latin typeface="Garamond" panose="02020404030301010803" pitchFamily="18" charset="0"/>
            </a:endParaRPr>
          </a:p>
          <a:p>
            <a:pPr algn="l" rtl="0">
              <a:lnSpc>
                <a:spcPct val="100000"/>
              </a:lnSpc>
              <a:spcBef>
                <a:spcPct val="0"/>
              </a:spcBef>
              <a:spcAft>
                <a:spcPct val="0"/>
              </a:spcAft>
              <a:buClr>
                <a:srgbClr val="FF0000"/>
              </a:buClr>
              <a:buSzTx/>
              <a:buFontTx/>
              <a:buChar char="•"/>
            </a:pPr>
            <a:r>
              <a:rPr lang="en-US" sz="3200" b="1">
                <a:solidFill>
                  <a:schemeClr val="tx1"/>
                </a:solidFill>
                <a:latin typeface="Garamond" panose="02020404030301010803" pitchFamily="18" charset="0"/>
              </a:rPr>
              <a:t>Medical supplies (consumables)</a:t>
            </a:r>
          </a:p>
          <a:p>
            <a:pPr algn="l" rtl="0">
              <a:lnSpc>
                <a:spcPct val="100000"/>
              </a:lnSpc>
              <a:spcBef>
                <a:spcPct val="0"/>
              </a:spcBef>
              <a:spcAft>
                <a:spcPct val="0"/>
              </a:spcAft>
              <a:buClr>
                <a:srgbClr val="FF0000"/>
              </a:buClr>
              <a:buSzTx/>
              <a:buFontTx/>
              <a:buChar char="•"/>
            </a:pPr>
            <a:r>
              <a:rPr lang="en-US" sz="3200" b="1">
                <a:solidFill>
                  <a:schemeClr val="tx1"/>
                </a:solidFill>
                <a:latin typeface="Garamond" panose="02020404030301010803" pitchFamily="18" charset="0"/>
              </a:rPr>
              <a:t> Medical Equipment</a:t>
            </a:r>
          </a:p>
          <a:p>
            <a:pPr algn="l" rtl="0">
              <a:lnSpc>
                <a:spcPct val="100000"/>
              </a:lnSpc>
              <a:spcBef>
                <a:spcPct val="0"/>
              </a:spcBef>
              <a:spcAft>
                <a:spcPct val="0"/>
              </a:spcAft>
              <a:buClr>
                <a:srgbClr val="FF0000"/>
              </a:buClr>
              <a:buSzTx/>
              <a:buFontTx/>
              <a:buChar char="•"/>
            </a:pPr>
            <a:r>
              <a:rPr lang="en-US" sz="3200" b="1">
                <a:solidFill>
                  <a:schemeClr val="tx1"/>
                </a:solidFill>
                <a:latin typeface="Garamond" panose="02020404030301010803" pitchFamily="18" charset="0"/>
              </a:rPr>
              <a:t> Medical Instruments</a:t>
            </a:r>
          </a:p>
          <a:p>
            <a:pPr algn="l" rtl="0">
              <a:lnSpc>
                <a:spcPct val="100000"/>
              </a:lnSpc>
              <a:spcBef>
                <a:spcPct val="0"/>
              </a:spcBef>
              <a:spcAft>
                <a:spcPct val="0"/>
              </a:spcAft>
              <a:buClr>
                <a:srgbClr val="FF0000"/>
              </a:buClr>
              <a:buSzTx/>
              <a:buFontTx/>
              <a:buChar char="•"/>
            </a:pPr>
            <a:r>
              <a:rPr lang="en-US" sz="3200" b="1">
                <a:solidFill>
                  <a:schemeClr val="tx1"/>
                </a:solidFill>
                <a:latin typeface="Garamond" panose="02020404030301010803" pitchFamily="18" charset="0"/>
              </a:rPr>
              <a:t> Medical Devices</a:t>
            </a:r>
          </a:p>
          <a:p>
            <a:pPr algn="l" rtl="0">
              <a:lnSpc>
                <a:spcPct val="100000"/>
              </a:lnSpc>
              <a:spcBef>
                <a:spcPct val="0"/>
              </a:spcBef>
              <a:spcAft>
                <a:spcPct val="0"/>
              </a:spcAft>
              <a:buClr>
                <a:srgbClr val="FF0000"/>
              </a:buClr>
              <a:buSzTx/>
              <a:buFontTx/>
              <a:buNone/>
            </a:pPr>
            <a:r>
              <a:rPr lang="en-US" sz="3200" b="1">
                <a:solidFill>
                  <a:srgbClr val="FF0000"/>
                </a:solidFill>
                <a:latin typeface="Garamond" panose="02020404030301010803" pitchFamily="18" charset="0"/>
              </a:rPr>
              <a:t>  Around 30 Medical Supplies </a:t>
            </a:r>
          </a:p>
          <a:p>
            <a:pPr algn="l" rtl="0">
              <a:lnSpc>
                <a:spcPct val="100000"/>
              </a:lnSpc>
              <a:spcBef>
                <a:spcPct val="0"/>
              </a:spcBef>
              <a:spcAft>
                <a:spcPct val="0"/>
              </a:spcAft>
              <a:buClr>
                <a:srgbClr val="FF0000"/>
              </a:buClr>
              <a:buSzTx/>
              <a:buFontTx/>
              <a:buNone/>
            </a:pPr>
            <a:r>
              <a:rPr lang="en-US" sz="3200" b="1">
                <a:solidFill>
                  <a:srgbClr val="FF0000"/>
                </a:solidFill>
                <a:latin typeface="Garamond" panose="02020404030301010803" pitchFamily="18" charset="0"/>
              </a:rPr>
              <a:t>     Factories in KSA</a:t>
            </a:r>
          </a:p>
        </p:txBody>
      </p:sp>
      <p:sp>
        <p:nvSpPr>
          <p:cNvPr id="46085"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46086"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48131" name="Rectangle 3"/>
          <p:cNvSpPr>
            <a:spLocks noChangeArrowheads="1"/>
          </p:cNvSpPr>
          <p:nvPr/>
        </p:nvSpPr>
        <p:spPr bwMode="auto">
          <a:xfrm>
            <a:off x="914400" y="1066800"/>
            <a:ext cx="6248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600" b="1">
                <a:solidFill>
                  <a:schemeClr val="tx1"/>
                </a:solidFill>
                <a:latin typeface="Garamond" panose="02020404030301010803" pitchFamily="18" charset="0"/>
              </a:rPr>
              <a:t>Pharmaceutical Producers:</a:t>
            </a:r>
          </a:p>
        </p:txBody>
      </p:sp>
      <p:sp>
        <p:nvSpPr>
          <p:cNvPr id="6" name="Rectangle 5"/>
          <p:cNvSpPr>
            <a:spLocks noChangeArrowheads="1"/>
          </p:cNvSpPr>
          <p:nvPr/>
        </p:nvSpPr>
        <p:spPr bwMode="auto">
          <a:xfrm>
            <a:off x="914400" y="1981200"/>
            <a:ext cx="4876800" cy="30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en-US" sz="3200" b="1">
              <a:solidFill>
                <a:schemeClr val="tx1"/>
              </a:solidFill>
              <a:latin typeface="Garamond" panose="02020404030301010803" pitchFamily="18" charset="0"/>
            </a:endParaRPr>
          </a:p>
          <a:p>
            <a:pPr algn="l" rtl="0">
              <a:lnSpc>
                <a:spcPct val="100000"/>
              </a:lnSpc>
              <a:spcBef>
                <a:spcPct val="0"/>
              </a:spcBef>
              <a:spcAft>
                <a:spcPct val="0"/>
              </a:spcAft>
              <a:buClr>
                <a:srgbClr val="FF0000"/>
              </a:buClr>
              <a:buSzTx/>
              <a:buFontTx/>
              <a:buChar char="•"/>
            </a:pPr>
            <a:r>
              <a:rPr lang="en-US" sz="3200" b="1">
                <a:solidFill>
                  <a:schemeClr val="tx1"/>
                </a:solidFill>
                <a:latin typeface="Garamond" panose="02020404030301010803" pitchFamily="18" charset="0"/>
              </a:rPr>
              <a:t> Medications</a:t>
            </a:r>
          </a:p>
          <a:p>
            <a:pPr algn="l" rtl="0">
              <a:lnSpc>
                <a:spcPct val="100000"/>
              </a:lnSpc>
              <a:spcBef>
                <a:spcPct val="0"/>
              </a:spcBef>
              <a:spcAft>
                <a:spcPct val="0"/>
              </a:spcAft>
              <a:buClr>
                <a:srgbClr val="FF0000"/>
              </a:buClr>
              <a:buSzTx/>
              <a:buFontTx/>
              <a:buNone/>
            </a:pPr>
            <a:endParaRPr lang="en-US" sz="3200" b="1">
              <a:solidFill>
                <a:schemeClr val="tx1"/>
              </a:solidFill>
              <a:latin typeface="Garamond" panose="02020404030301010803" pitchFamily="18" charset="0"/>
            </a:endParaRPr>
          </a:p>
          <a:p>
            <a:pPr algn="l" rtl="0">
              <a:lnSpc>
                <a:spcPct val="100000"/>
              </a:lnSpc>
              <a:spcBef>
                <a:spcPct val="0"/>
              </a:spcBef>
              <a:spcAft>
                <a:spcPct val="0"/>
              </a:spcAft>
              <a:buClr>
                <a:srgbClr val="FF0000"/>
              </a:buClr>
              <a:buSzTx/>
              <a:buFontTx/>
              <a:buChar char="•"/>
            </a:pPr>
            <a:r>
              <a:rPr lang="en-US" sz="3200" b="1">
                <a:solidFill>
                  <a:schemeClr val="tx1"/>
                </a:solidFill>
                <a:latin typeface="Garamond" panose="02020404030301010803" pitchFamily="18" charset="0"/>
              </a:rPr>
              <a:t> Medical Solutions</a:t>
            </a:r>
          </a:p>
          <a:p>
            <a:pPr algn="l" rtl="0">
              <a:lnSpc>
                <a:spcPct val="100000"/>
              </a:lnSpc>
              <a:spcBef>
                <a:spcPct val="0"/>
              </a:spcBef>
              <a:spcAft>
                <a:spcPct val="0"/>
              </a:spcAft>
              <a:buClr>
                <a:srgbClr val="FF0000"/>
              </a:buClr>
              <a:buSzTx/>
              <a:buFontTx/>
              <a:buNone/>
            </a:pPr>
            <a:endParaRPr lang="en-US" sz="3200" b="1">
              <a:solidFill>
                <a:schemeClr val="tx1"/>
              </a:solidFill>
              <a:latin typeface="Garamond" panose="02020404030301010803" pitchFamily="18" charset="0"/>
            </a:endParaRPr>
          </a:p>
          <a:p>
            <a:pPr algn="l" rtl="0">
              <a:lnSpc>
                <a:spcPct val="100000"/>
              </a:lnSpc>
              <a:spcBef>
                <a:spcPct val="0"/>
              </a:spcBef>
              <a:spcAft>
                <a:spcPct val="0"/>
              </a:spcAft>
              <a:buClr>
                <a:srgbClr val="FF0000"/>
              </a:buClr>
              <a:buSzTx/>
              <a:buFontTx/>
              <a:buChar char="•"/>
            </a:pPr>
            <a:r>
              <a:rPr lang="en-US" sz="3200" b="1">
                <a:solidFill>
                  <a:schemeClr val="tx1"/>
                </a:solidFill>
                <a:latin typeface="Garamond" panose="02020404030301010803" pitchFamily="18" charset="0"/>
              </a:rPr>
              <a:t> Immunizations</a:t>
            </a:r>
          </a:p>
        </p:txBody>
      </p:sp>
      <p:sp>
        <p:nvSpPr>
          <p:cNvPr id="48133"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48134"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box(in)">
                                      <p:cBhvr>
                                        <p:cTn id="7" dur="500"/>
                                        <p:tgtEl>
                                          <p:spTgt spid="6">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4" presetClass="entr" presetSubtype="16" fill="hold" nodeType="clickEffect">
                                  <p:stCondLst>
                                    <p:cond delay="0"/>
                                  </p:stCondLst>
                                  <p:childTnLst>
                                    <p:set>
                                      <p:cBhvr>
                                        <p:cTn id="11" dur="1" fill="hold">
                                          <p:stCondLst>
                                            <p:cond delay="0"/>
                                          </p:stCondLst>
                                        </p:cTn>
                                        <p:tgtEl>
                                          <p:spTgt spid="6">
                                            <p:txEl>
                                              <p:pRg st="3" end="3"/>
                                            </p:txEl>
                                          </p:spTgt>
                                        </p:tgtEl>
                                        <p:attrNameLst>
                                          <p:attrName>style.visibility</p:attrName>
                                        </p:attrNameLst>
                                      </p:cBhvr>
                                      <p:to>
                                        <p:strVal val="visible"/>
                                      </p:to>
                                    </p:set>
                                    <p:animEffect transition="in" filter="box(in)">
                                      <p:cBhvr>
                                        <p:cTn id="12" dur="500"/>
                                        <p:tgtEl>
                                          <p:spTgt spid="6">
                                            <p:txEl>
                                              <p:pRg st="3" end="3"/>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4" presetClass="entr" presetSubtype="16" fill="hold" nodeType="click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animEffect transition="in" filter="box(in)">
                                      <p:cBhvr>
                                        <p:cTn id="17"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13315"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13" name="Text Box 2"/>
          <p:cNvSpPr txBox="1">
            <a:spLocks noChangeArrowheads="1"/>
          </p:cNvSpPr>
          <p:nvPr/>
        </p:nvSpPr>
        <p:spPr bwMode="auto">
          <a:xfrm>
            <a:off x="838200" y="1366838"/>
            <a:ext cx="8305800" cy="440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457200" indent="-457200" eaLnBrk="1" hangingPunct="1">
              <a:spcBef>
                <a:spcPts val="0"/>
              </a:spcBef>
              <a:buFont typeface="Arial" pitchFamily="34" charset="0"/>
              <a:buChar char="•"/>
              <a:defRPr/>
            </a:pPr>
            <a:r>
              <a:rPr lang="en-US" sz="2800" dirty="0" smtClean="0"/>
              <a:t> To know why should a medical student         </a:t>
            </a:r>
          </a:p>
          <a:p>
            <a:pPr eaLnBrk="1" hangingPunct="1">
              <a:spcBef>
                <a:spcPts val="0"/>
              </a:spcBef>
              <a:defRPr/>
            </a:pPr>
            <a:r>
              <a:rPr lang="en-US" sz="2800" dirty="0" smtClean="0"/>
              <a:t>         understand  the health system</a:t>
            </a:r>
          </a:p>
          <a:p>
            <a:pPr marL="457200" indent="-457200" eaLnBrk="1" hangingPunct="1">
              <a:spcBef>
                <a:spcPts val="0"/>
              </a:spcBef>
              <a:buFont typeface="Arial" pitchFamily="34" charset="0"/>
              <a:buChar char="•"/>
              <a:defRPr/>
            </a:pPr>
            <a:r>
              <a:rPr lang="en-US" sz="2800" dirty="0" smtClean="0"/>
              <a:t> To understand what is a health system</a:t>
            </a:r>
          </a:p>
          <a:p>
            <a:pPr marL="457200" indent="-457200" eaLnBrk="1" hangingPunct="1">
              <a:spcBef>
                <a:spcPts val="0"/>
              </a:spcBef>
              <a:buFont typeface="Arial" pitchFamily="34" charset="0"/>
              <a:buChar char="•"/>
              <a:defRPr/>
            </a:pPr>
            <a:r>
              <a:rPr lang="en-US" sz="2800" dirty="0" smtClean="0"/>
              <a:t> To know the components of a  health system </a:t>
            </a:r>
          </a:p>
          <a:p>
            <a:pPr marL="457200" indent="-457200" eaLnBrk="1" hangingPunct="1">
              <a:spcBef>
                <a:spcPts val="0"/>
              </a:spcBef>
              <a:buFont typeface="Arial" pitchFamily="34" charset="0"/>
              <a:buChar char="•"/>
              <a:defRPr/>
            </a:pPr>
            <a:r>
              <a:rPr lang="en-US" sz="2800" dirty="0" smtClean="0"/>
              <a:t> To Know the strengths and weaknesses of </a:t>
            </a:r>
          </a:p>
          <a:p>
            <a:pPr eaLnBrk="1" hangingPunct="1">
              <a:spcBef>
                <a:spcPts val="0"/>
              </a:spcBef>
              <a:defRPr/>
            </a:pPr>
            <a:r>
              <a:rPr lang="en-US" sz="2800" dirty="0" smtClean="0"/>
              <a:t>         the current health system</a:t>
            </a:r>
          </a:p>
          <a:p>
            <a:pPr marL="457200" indent="-457200" eaLnBrk="1" hangingPunct="1">
              <a:spcBef>
                <a:spcPts val="0"/>
              </a:spcBef>
              <a:buFont typeface="Arial" pitchFamily="34" charset="0"/>
              <a:buChar char="•"/>
              <a:defRPr/>
            </a:pPr>
            <a:r>
              <a:rPr lang="en-US" sz="2800" dirty="0" smtClean="0"/>
              <a:t>To know the challenges facing the current   </a:t>
            </a:r>
          </a:p>
          <a:p>
            <a:pPr eaLnBrk="1" hangingPunct="1">
              <a:spcBef>
                <a:spcPts val="0"/>
              </a:spcBef>
              <a:defRPr/>
            </a:pPr>
            <a:r>
              <a:rPr lang="en-US" sz="2800" dirty="0" smtClean="0"/>
              <a:t>         Saudi  health system</a:t>
            </a:r>
          </a:p>
          <a:p>
            <a:pPr marL="457200" indent="-457200" eaLnBrk="1" hangingPunct="1">
              <a:spcBef>
                <a:spcPts val="0"/>
              </a:spcBef>
              <a:buFont typeface="Arial" pitchFamily="34" charset="0"/>
              <a:buChar char="•"/>
              <a:defRPr/>
            </a:pPr>
            <a:r>
              <a:rPr lang="en-US" sz="2800" dirty="0" smtClean="0"/>
              <a:t> To know the future changes in the Saudi </a:t>
            </a:r>
          </a:p>
          <a:p>
            <a:pPr eaLnBrk="1" hangingPunct="1">
              <a:spcBef>
                <a:spcPts val="0"/>
              </a:spcBef>
              <a:defRPr/>
            </a:pPr>
            <a:r>
              <a:rPr lang="en-US" sz="2800" dirty="0" smtClean="0"/>
              <a:t>          Health System Strategy </a:t>
            </a:r>
          </a:p>
        </p:txBody>
      </p:sp>
      <p:sp>
        <p:nvSpPr>
          <p:cNvPr id="13317" name="Rectangle 1"/>
          <p:cNvSpPr>
            <a:spLocks noChangeArrowheads="1"/>
          </p:cNvSpPr>
          <p:nvPr/>
        </p:nvSpPr>
        <p:spPr bwMode="auto">
          <a:xfrm>
            <a:off x="838200" y="685800"/>
            <a:ext cx="41259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Garamond" panose="02020404030301010803" pitchFamily="18" charset="0"/>
              </a:rPr>
              <a:t>Lecture Objectives</a:t>
            </a:r>
            <a:endParaRPr lang="ar-SA" sz="3200" b="1">
              <a:solidFill>
                <a:srgbClr val="FF0000"/>
              </a:solidFill>
              <a:latin typeface="Garamond" panose="02020404030301010803"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3"/>
          <p:cNvSpPr>
            <a:spLocks noChangeArrowheads="1"/>
          </p:cNvSpPr>
          <p:nvPr/>
        </p:nvSpPr>
        <p:spPr bwMode="auto">
          <a:xfrm>
            <a:off x="914400" y="1066800"/>
            <a:ext cx="6248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
                <a:srgbClr val="FF0000"/>
              </a:buClr>
              <a:buSzTx/>
              <a:buFontTx/>
              <a:buNone/>
            </a:pPr>
            <a:r>
              <a:rPr lang="en-US" sz="3600" b="1">
                <a:solidFill>
                  <a:schemeClr val="tx1"/>
                </a:solidFill>
                <a:latin typeface="Garamond" panose="02020404030301010803" pitchFamily="18" charset="0"/>
              </a:rPr>
              <a:t>Judiciary Services</a:t>
            </a:r>
          </a:p>
        </p:txBody>
      </p:sp>
      <p:sp>
        <p:nvSpPr>
          <p:cNvPr id="12" name="Rectangle 3"/>
          <p:cNvSpPr>
            <a:spLocks noChangeArrowheads="1"/>
          </p:cNvSpPr>
          <p:nvPr/>
        </p:nvSpPr>
        <p:spPr bwMode="auto">
          <a:xfrm>
            <a:off x="838200" y="1828800"/>
            <a:ext cx="5486400" cy="30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en-US" sz="3200" b="1">
              <a:solidFill>
                <a:schemeClr val="tx1"/>
              </a:solidFill>
              <a:latin typeface="Garamond" panose="02020404030301010803" pitchFamily="18" charset="0"/>
            </a:endParaRPr>
          </a:p>
          <a:p>
            <a:pPr algn="l" rtl="0">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Garamond" panose="02020404030301010803" pitchFamily="18" charset="0"/>
              </a:rPr>
              <a:t> Committee for Private sector   	violations</a:t>
            </a:r>
          </a:p>
          <a:p>
            <a:pPr algn="l" rtl="0">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Garamond" panose="02020404030301010803" pitchFamily="18" charset="0"/>
              </a:rPr>
              <a:t> Medico-legal committee.</a:t>
            </a:r>
          </a:p>
          <a:p>
            <a:pPr algn="l" rtl="0">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Garamond" panose="02020404030301010803" pitchFamily="18" charset="0"/>
              </a:rPr>
              <a:t> Health Insurance Violation 	Committee</a:t>
            </a:r>
          </a:p>
        </p:txBody>
      </p:sp>
      <p:sp>
        <p:nvSpPr>
          <p:cNvPr id="50180" name="Oval 7"/>
          <p:cNvSpPr>
            <a:spLocks noChangeArrowheads="1"/>
          </p:cNvSpPr>
          <p:nvPr/>
        </p:nvSpPr>
        <p:spPr bwMode="auto">
          <a:xfrm>
            <a:off x="6705600" y="2057400"/>
            <a:ext cx="2209800" cy="2362200"/>
          </a:xfrm>
          <a:prstGeom prst="ellipse">
            <a:avLst/>
          </a:prstGeom>
          <a:solidFill>
            <a:schemeClr val="tx2"/>
          </a:solidFill>
          <a:ln w="9525">
            <a:solidFill>
              <a:schemeClr val="tx1"/>
            </a:solidFill>
            <a:round/>
            <a:headEnd/>
            <a:tailEnd/>
          </a:ln>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endParaRPr lang="ar-SA" sz="1800">
              <a:solidFill>
                <a:schemeClr val="tx1"/>
              </a:solidFill>
              <a:latin typeface="Garamond" panose="02020404030301010803" pitchFamily="18" charset="0"/>
            </a:endParaRPr>
          </a:p>
        </p:txBody>
      </p:sp>
      <p:pic>
        <p:nvPicPr>
          <p:cNvPr id="50181" name="Picture 8" descr="medecine_justi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0400" y="2438400"/>
            <a:ext cx="16002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2"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0183"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50184"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12">
                                            <p:txEl>
                                              <p:pRg st="1" end="1"/>
                                            </p:txEl>
                                          </p:spTgt>
                                        </p:tgtEl>
                                        <p:attrNameLst>
                                          <p:attrName>style.visibility</p:attrName>
                                        </p:attrNameLst>
                                      </p:cBhvr>
                                      <p:to>
                                        <p:strVal val="visible"/>
                                      </p:to>
                                    </p:set>
                                    <p:animEffect transition="in" filter="box(in)">
                                      <p:cBhvr>
                                        <p:cTn id="7" dur="500"/>
                                        <p:tgtEl>
                                          <p:spTgt spid="12">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4" presetClass="entr" presetSubtype="16" fill="hold" nodeType="clickEffect">
                                  <p:stCondLst>
                                    <p:cond delay="0"/>
                                  </p:stCondLst>
                                  <p:childTnLst>
                                    <p:set>
                                      <p:cBhvr>
                                        <p:cTn id="11" dur="1" fill="hold">
                                          <p:stCondLst>
                                            <p:cond delay="0"/>
                                          </p:stCondLst>
                                        </p:cTn>
                                        <p:tgtEl>
                                          <p:spTgt spid="12">
                                            <p:txEl>
                                              <p:pRg st="2" end="2"/>
                                            </p:txEl>
                                          </p:spTgt>
                                        </p:tgtEl>
                                        <p:attrNameLst>
                                          <p:attrName>style.visibility</p:attrName>
                                        </p:attrNameLst>
                                      </p:cBhvr>
                                      <p:to>
                                        <p:strVal val="visible"/>
                                      </p:to>
                                    </p:set>
                                    <p:animEffect transition="in" filter="box(in)">
                                      <p:cBhvr>
                                        <p:cTn id="12" dur="500"/>
                                        <p:tgtEl>
                                          <p:spTgt spid="12">
                                            <p:txEl>
                                              <p:pRg st="2" end="2"/>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4" presetClass="entr" presetSubtype="16" fill="hold" nodeType="clickEffect">
                                  <p:stCondLst>
                                    <p:cond delay="0"/>
                                  </p:stCondLst>
                                  <p:childTnLst>
                                    <p:set>
                                      <p:cBhvr>
                                        <p:cTn id="16" dur="1" fill="hold">
                                          <p:stCondLst>
                                            <p:cond delay="0"/>
                                          </p:stCondLst>
                                        </p:cTn>
                                        <p:tgtEl>
                                          <p:spTgt spid="12">
                                            <p:txEl>
                                              <p:pRg st="3" end="3"/>
                                            </p:txEl>
                                          </p:spTgt>
                                        </p:tgtEl>
                                        <p:attrNameLst>
                                          <p:attrName>style.visibility</p:attrName>
                                        </p:attrNameLst>
                                      </p:cBhvr>
                                      <p:to>
                                        <p:strVal val="visible"/>
                                      </p:to>
                                    </p:set>
                                    <p:animEffect transition="in" filter="box(in)">
                                      <p:cBhvr>
                                        <p:cTn id="17"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2227" name="Rectangle 6"/>
          <p:cNvSpPr>
            <a:spLocks noChangeArrowheads="1"/>
          </p:cNvSpPr>
          <p:nvPr/>
        </p:nvSpPr>
        <p:spPr bwMode="auto">
          <a:xfrm>
            <a:off x="158750" y="457200"/>
            <a:ext cx="86042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600" b="1">
                <a:solidFill>
                  <a:schemeClr val="tx1"/>
                </a:solidFill>
                <a:latin typeface="Garamond" panose="02020404030301010803" pitchFamily="18" charset="0"/>
              </a:rPr>
              <a:t>Ministry of Health Organizational Chart</a:t>
            </a:r>
          </a:p>
        </p:txBody>
      </p:sp>
      <p:sp>
        <p:nvSpPr>
          <p:cNvPr id="52228"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pic>
        <p:nvPicPr>
          <p:cNvPr id="52229" name="Picture 7" descr="ØµÙØ±Ø© Ø°Ø§Øª ØµÙØ©"/>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863" y="1077913"/>
            <a:ext cx="8296275" cy="552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3251" name="Rectangle 1"/>
          <p:cNvSpPr>
            <a:spLocks noChangeArrowheads="1"/>
          </p:cNvSpPr>
          <p:nvPr/>
        </p:nvSpPr>
        <p:spPr bwMode="auto">
          <a:xfrm>
            <a:off x="922338" y="457200"/>
            <a:ext cx="669766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200" b="1">
                <a:solidFill>
                  <a:schemeClr val="tx1"/>
                </a:solidFill>
                <a:latin typeface="Garamond" panose="02020404030301010803" pitchFamily="18" charset="0"/>
              </a:rPr>
              <a:t>Role of Provincial Health Director</a:t>
            </a:r>
          </a:p>
        </p:txBody>
      </p:sp>
      <p:sp>
        <p:nvSpPr>
          <p:cNvPr id="6" name="Text Box 5"/>
          <p:cNvSpPr txBox="1">
            <a:spLocks noChangeArrowheads="1"/>
          </p:cNvSpPr>
          <p:nvPr/>
        </p:nvSpPr>
        <p:spPr bwMode="auto">
          <a:xfrm>
            <a:off x="838200" y="1676400"/>
            <a:ext cx="8610600"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Manage Patient  Care </a:t>
            </a: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Supervise the private sector </a:t>
            </a: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Supervise reporting of infectious   	diseases  among all health providers </a:t>
            </a: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Co-operate with health related agencies </a:t>
            </a:r>
            <a:endParaRPr lang="en-US" sz="3200">
              <a:solidFill>
                <a:schemeClr val="tx1"/>
              </a:solidFill>
              <a:latin typeface="Arial" panose="020B0604020202020204" pitchFamily="34" charset="0"/>
            </a:endParaRP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Participate in the health development 	planning </a:t>
            </a:r>
          </a:p>
        </p:txBody>
      </p:sp>
      <p:sp>
        <p:nvSpPr>
          <p:cNvPr id="53253"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box(in)">
                                      <p:cBhvr>
                                        <p:cTn id="7" dur="500"/>
                                        <p:tgtEl>
                                          <p:spTgt spid="6">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4" presetClass="entr" presetSubtype="16"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box(in)">
                                      <p:cBhvr>
                                        <p:cTn id="12" dur="500"/>
                                        <p:tgtEl>
                                          <p:spTgt spid="6">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4" presetClass="entr" presetSubtype="16"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box(in)">
                                      <p:cBhvr>
                                        <p:cTn id="17" dur="500"/>
                                        <p:tgtEl>
                                          <p:spTgt spid="6">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4" presetClass="entr" presetSubtype="16"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box(in)">
                                      <p:cBhvr>
                                        <p:cTn id="22" dur="500"/>
                                        <p:tgtEl>
                                          <p:spTgt spid="6">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4" presetClass="entr" presetSubtype="16"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box(in)">
                                      <p:cBhvr>
                                        <p:cTn id="27"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4275" name="Rectangle 3"/>
          <p:cNvSpPr>
            <a:spLocks noChangeArrowheads="1"/>
          </p:cNvSpPr>
          <p:nvPr/>
        </p:nvSpPr>
        <p:spPr bwMode="auto">
          <a:xfrm>
            <a:off x="304800" y="685800"/>
            <a:ext cx="88392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50000"/>
              </a:spcBef>
              <a:spcAft>
                <a:spcPct val="0"/>
              </a:spcAft>
              <a:buClrTx/>
              <a:buSzTx/>
              <a:buFontTx/>
              <a:buNone/>
            </a:pPr>
            <a:r>
              <a:rPr lang="en-US" sz="3200" b="1">
                <a:solidFill>
                  <a:srgbClr val="FF0000"/>
                </a:solidFill>
                <a:latin typeface="Garamond" panose="02020404030301010803" pitchFamily="18" charset="0"/>
              </a:rPr>
              <a:t>STRENGTHS AND WEAKNESSES OF THE </a:t>
            </a:r>
            <a:r>
              <a:rPr lang="en-US" sz="3200" b="1" u="sng">
                <a:solidFill>
                  <a:srgbClr val="FF0000"/>
                </a:solidFill>
                <a:latin typeface="Garamond" panose="02020404030301010803" pitchFamily="18" charset="0"/>
              </a:rPr>
              <a:t>CURRENT</a:t>
            </a:r>
            <a:r>
              <a:rPr lang="en-US" sz="3200" b="1">
                <a:solidFill>
                  <a:srgbClr val="FF0000"/>
                </a:solidFill>
                <a:latin typeface="Garamond" panose="02020404030301010803" pitchFamily="18" charset="0"/>
              </a:rPr>
              <a:t> HEALTH SYSTEM</a:t>
            </a:r>
          </a:p>
        </p:txBody>
      </p:sp>
      <p:sp>
        <p:nvSpPr>
          <p:cNvPr id="54276" name="Rectangle 2"/>
          <p:cNvSpPr>
            <a:spLocks noChangeArrowheads="1"/>
          </p:cNvSpPr>
          <p:nvPr/>
        </p:nvSpPr>
        <p:spPr bwMode="auto">
          <a:xfrm>
            <a:off x="914400" y="1828800"/>
            <a:ext cx="2895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200" b="1">
                <a:solidFill>
                  <a:schemeClr val="tx1"/>
                </a:solidFill>
                <a:latin typeface="Arial" panose="020B0604020202020204" pitchFamily="34" charset="0"/>
              </a:rPr>
              <a:t>Strengths:</a:t>
            </a:r>
          </a:p>
        </p:txBody>
      </p:sp>
      <p:sp>
        <p:nvSpPr>
          <p:cNvPr id="7" name="Text Box 4"/>
          <p:cNvSpPr txBox="1">
            <a:spLocks noChangeArrowheads="1"/>
          </p:cNvSpPr>
          <p:nvPr/>
        </p:nvSpPr>
        <p:spPr bwMode="auto">
          <a:xfrm>
            <a:off x="963613" y="2057400"/>
            <a:ext cx="7951787"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endParaRPr lang="en-US" sz="3200" b="1">
              <a:solidFill>
                <a:schemeClr val="tx1"/>
              </a:solidFill>
              <a:latin typeface="Arial" panose="020B0604020202020204" pitchFamily="34" charset="0"/>
            </a:endParaRP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Universal (covers everybody)  (NHS)</a:t>
            </a: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Accessible</a:t>
            </a: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Comprehensive </a:t>
            </a:r>
          </a:p>
          <a:p>
            <a:pPr algn="l" rtl="0" eaLnBrk="1" hangingPunct="1">
              <a:lnSpc>
                <a:spcPct val="100000"/>
              </a:lnSpc>
              <a:spcBef>
                <a:spcPct val="0"/>
              </a:spcBef>
              <a:spcAft>
                <a:spcPct val="0"/>
              </a:spcAft>
              <a:buClrTx/>
              <a:buSzTx/>
              <a:buFontTx/>
              <a:buNone/>
            </a:pPr>
            <a:r>
              <a:rPr lang="en-US" sz="3200" b="1">
                <a:solidFill>
                  <a:schemeClr val="tx1"/>
                </a:solidFill>
                <a:latin typeface="Arial" panose="020B0604020202020204" pitchFamily="34" charset="0"/>
              </a:rPr>
              <a:t>   ( primary, secondary and tertiary)</a:t>
            </a: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Safe</a:t>
            </a:r>
          </a:p>
          <a:p>
            <a:pPr algn="l" rtl="0" eaLnBrk="1" hangingPunct="1">
              <a:lnSpc>
                <a:spcPct val="100000"/>
              </a:lnSpc>
              <a:spcBef>
                <a:spcPct val="0"/>
              </a:spcBef>
              <a:spcAft>
                <a:spcPct val="0"/>
              </a:spcAft>
              <a:buClrTx/>
              <a:buSzTx/>
              <a:buFontTx/>
              <a:buChar char="•"/>
            </a:pPr>
            <a:r>
              <a:rPr lang="en-US" sz="3200" b="1">
                <a:solidFill>
                  <a:schemeClr val="tx1"/>
                </a:solidFill>
                <a:latin typeface="Arial" panose="020B0604020202020204" pitchFamily="34" charset="0"/>
              </a:rPr>
              <a:t> Equitable </a:t>
            </a:r>
          </a:p>
        </p:txBody>
      </p:sp>
      <p:sp>
        <p:nvSpPr>
          <p:cNvPr id="54278"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5299" name="Rectangle 2"/>
          <p:cNvSpPr>
            <a:spLocks noChangeArrowheads="1"/>
          </p:cNvSpPr>
          <p:nvPr/>
        </p:nvSpPr>
        <p:spPr bwMode="auto">
          <a:xfrm>
            <a:off x="2133600" y="3460750"/>
            <a:ext cx="9144000" cy="457200"/>
          </a:xfrm>
          <a:prstGeom prst="rect">
            <a:avLst/>
          </a:prstGeom>
          <a:noFill/>
          <a:ln>
            <a:noFill/>
          </a:ln>
          <a:effectLst/>
          <a:extLst>
            <a:ext uri="{909E8E84-426E-40DD-AFC4-6F175D3DCCD1}">
              <a14:hiddenFill xmlns:a14="http://schemas.microsoft.com/office/drawing/2010/main">
                <a:solidFill>
                  <a:srgbClr val="FFFF00">
                    <a:alpha val="70195"/>
                  </a:srgb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endParaRPr lang="ar-SA" sz="1800">
              <a:solidFill>
                <a:schemeClr val="tx1"/>
              </a:solidFill>
              <a:latin typeface="Garamond" panose="02020404030301010803" pitchFamily="18" charset="0"/>
            </a:endParaRPr>
          </a:p>
        </p:txBody>
      </p:sp>
      <p:sp>
        <p:nvSpPr>
          <p:cNvPr id="55300" name="Rectangle 10"/>
          <p:cNvSpPr>
            <a:spLocks noChangeArrowheads="1"/>
          </p:cNvSpPr>
          <p:nvPr/>
        </p:nvSpPr>
        <p:spPr bwMode="auto">
          <a:xfrm>
            <a:off x="2286000" y="-6450013"/>
            <a:ext cx="4572000" cy="1975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a:p>
            <a:pPr algn="ctr">
              <a:lnSpc>
                <a:spcPct val="100000"/>
              </a:lnSpc>
              <a:spcBef>
                <a:spcPct val="0"/>
              </a:spcBef>
              <a:spcAft>
                <a:spcPct val="0"/>
              </a:spcAft>
              <a:buClrTx/>
              <a:buSzTx/>
              <a:buFontTx/>
              <a:buNone/>
            </a:pPr>
            <a:r>
              <a:rPr lang="ar-SA" sz="1800">
                <a:solidFill>
                  <a:schemeClr val="tx1"/>
                </a:solidFill>
                <a:latin typeface="Garamond" panose="02020404030301010803" pitchFamily="18" charset="0"/>
              </a:rPr>
              <a:t> </a:t>
            </a:r>
            <a:endParaRPr lang="en-US" sz="1800">
              <a:solidFill>
                <a:schemeClr val="tx1"/>
              </a:solidFill>
              <a:latin typeface="Garamond" panose="02020404030301010803" pitchFamily="18" charset="0"/>
            </a:endParaRPr>
          </a:p>
        </p:txBody>
      </p:sp>
      <p:sp>
        <p:nvSpPr>
          <p:cNvPr id="55301"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graphicFrame>
        <p:nvGraphicFramePr>
          <p:cNvPr id="2" name="Table 1"/>
          <p:cNvGraphicFramePr>
            <a:graphicFrameLocks noGrp="1"/>
          </p:cNvGraphicFramePr>
          <p:nvPr/>
        </p:nvGraphicFramePr>
        <p:xfrm>
          <a:off x="457200" y="838200"/>
          <a:ext cx="8229600" cy="5410200"/>
        </p:xfrm>
        <a:graphic>
          <a:graphicData uri="http://schemas.openxmlformats.org/drawingml/2006/table">
            <a:tbl>
              <a:tblPr/>
              <a:tblGrid>
                <a:gridCol w="4114800"/>
                <a:gridCol w="4114800"/>
              </a:tblGrid>
              <a:tr h="378714">
                <a:tc gridSpan="2">
                  <a:txBody>
                    <a:bodyPr/>
                    <a:lstStyle/>
                    <a:p>
                      <a:pPr marL="0" marR="0" algn="ctr" fontAlgn="t">
                        <a:spcBef>
                          <a:spcPts val="0"/>
                        </a:spcBef>
                        <a:spcAft>
                          <a:spcPts val="0"/>
                        </a:spcAft>
                      </a:pPr>
                      <a:r>
                        <a:rPr lang="en-US" sz="800" b="1" dirty="0">
                          <a:solidFill>
                            <a:srgbClr val="676767"/>
                          </a:solidFill>
                          <a:effectLst/>
                          <a:latin typeface="tahoma" panose="020B0604030504040204" pitchFamily="34" charset="0"/>
                        </a:rPr>
                        <a:t>Vital Statistics</a:t>
                      </a:r>
                      <a:endParaRPr lang="en-US"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hMerge="1">
                  <a:txBody>
                    <a:bodyPr/>
                    <a:lstStyle/>
                    <a:p>
                      <a:pPr rtl="1"/>
                      <a:endParaRPr lang="ar-SA"/>
                    </a:p>
                  </a:txBody>
                  <a:tcPr/>
                </a:tc>
              </a:tr>
              <a:tr h="378714">
                <a:tc>
                  <a:txBody>
                    <a:bodyPr/>
                    <a:lstStyle/>
                    <a:p>
                      <a:pPr marL="0" marR="0" fontAlgn="t">
                        <a:spcBef>
                          <a:spcPts val="0"/>
                        </a:spcBef>
                        <a:spcAft>
                          <a:spcPts val="0"/>
                        </a:spcAft>
                      </a:pPr>
                      <a:r>
                        <a:rPr lang="en-US" sz="800">
                          <a:solidFill>
                            <a:srgbClr val="676767"/>
                          </a:solidFill>
                          <a:effectLst/>
                          <a:latin typeface="tahoma" panose="020B0604030504040204" pitchFamily="34" charset="0"/>
                        </a:rPr>
                        <a:t>Crude Birth Rate/ 1000 population</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17.23​</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378714">
                <a:tc>
                  <a:txBody>
                    <a:bodyPr/>
                    <a:lstStyle/>
                    <a:p>
                      <a:pPr marL="0" marR="0" fontAlgn="t">
                        <a:spcBef>
                          <a:spcPts val="0"/>
                        </a:spcBef>
                        <a:spcAft>
                          <a:spcPts val="0"/>
                        </a:spcAft>
                      </a:pPr>
                      <a:r>
                        <a:rPr lang="en-US" sz="800">
                          <a:solidFill>
                            <a:srgbClr val="676767"/>
                          </a:solidFill>
                          <a:effectLst/>
                          <a:latin typeface="tahoma" panose="020B0604030504040204" pitchFamily="34" charset="0"/>
                        </a:rPr>
                        <a:t>Crude Death Rate/1000 population</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2.9​</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378714">
                <a:tc gridSpan="2">
                  <a:txBody>
                    <a:bodyPr/>
                    <a:lstStyle/>
                    <a:p>
                      <a:pPr marL="0" marR="0" fontAlgn="t">
                        <a:spcBef>
                          <a:spcPts val="0"/>
                        </a:spcBef>
                        <a:spcAft>
                          <a:spcPts val="0"/>
                        </a:spcAft>
                      </a:pPr>
                      <a:r>
                        <a:rPr lang="en-US" sz="800">
                          <a:solidFill>
                            <a:srgbClr val="676767"/>
                          </a:solidFill>
                          <a:effectLst/>
                          <a:latin typeface="tahoma" panose="020B0604030504040204" pitchFamily="34" charset="0"/>
                        </a:rPr>
                        <a:t>Life Expectancy at Birth (years)</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hMerge="1">
                  <a:txBody>
                    <a:bodyPr/>
                    <a:lstStyle/>
                    <a:p>
                      <a:pPr rtl="1"/>
                      <a:endParaRPr lang="ar-SA"/>
                    </a:p>
                  </a:txBody>
                  <a:tcPr/>
                </a:tc>
              </a:tr>
              <a:tr h="378714">
                <a:tc>
                  <a:txBody>
                    <a:bodyPr/>
                    <a:lstStyle/>
                    <a:p>
                      <a:pPr marL="0" marR="0" fontAlgn="t">
                        <a:spcBef>
                          <a:spcPts val="0"/>
                        </a:spcBef>
                        <a:spcAft>
                          <a:spcPts val="0"/>
                        </a:spcAft>
                      </a:pPr>
                      <a:r>
                        <a:rPr lang="en-US" sz="800">
                          <a:solidFill>
                            <a:srgbClr val="676767"/>
                          </a:solidFill>
                          <a:effectLst/>
                          <a:latin typeface="tahoma" panose="020B0604030504040204" pitchFamily="34" charset="0"/>
                        </a:rPr>
                        <a:t>Males</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73.5​</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378714">
                <a:tc>
                  <a:txBody>
                    <a:bodyPr/>
                    <a:lstStyle/>
                    <a:p>
                      <a:pPr marL="0" marR="0" fontAlgn="t">
                        <a:spcBef>
                          <a:spcPts val="0"/>
                        </a:spcBef>
                        <a:spcAft>
                          <a:spcPts val="0"/>
                        </a:spcAft>
                      </a:pPr>
                      <a:r>
                        <a:rPr lang="en-US" sz="800">
                          <a:solidFill>
                            <a:srgbClr val="676767"/>
                          </a:solidFill>
                          <a:effectLst/>
                          <a:latin typeface="tahoma" panose="020B0604030504040204" pitchFamily="34" charset="0"/>
                        </a:rPr>
                        <a:t>Females</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dirty="0">
                          <a:solidFill>
                            <a:srgbClr val="676767"/>
                          </a:solidFill>
                          <a:effectLst/>
                          <a:latin typeface="tahoma" panose="020B0604030504040204" pitchFamily="34" charset="0"/>
                        </a:rPr>
                        <a:t>76.1​</a:t>
                      </a:r>
                      <a:endParaRPr lang="ar-SA"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378714">
                <a:tc>
                  <a:txBody>
                    <a:bodyPr/>
                    <a:lstStyle/>
                    <a:p>
                      <a:pPr marL="0" marR="0" fontAlgn="t">
                        <a:spcBef>
                          <a:spcPts val="0"/>
                        </a:spcBef>
                        <a:spcAft>
                          <a:spcPts val="0"/>
                        </a:spcAft>
                      </a:pPr>
                      <a:r>
                        <a:rPr lang="en-US" sz="800">
                          <a:solidFill>
                            <a:srgbClr val="676767"/>
                          </a:solidFill>
                          <a:effectLst/>
                          <a:latin typeface="tahoma" panose="020B0604030504040204" pitchFamily="34" charset="0"/>
                        </a:rPr>
                        <a:t>Total</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dirty="0">
                          <a:solidFill>
                            <a:srgbClr val="676767"/>
                          </a:solidFill>
                          <a:effectLst/>
                          <a:latin typeface="tahoma" panose="020B0604030504040204" pitchFamily="34" charset="0"/>
                        </a:rPr>
                        <a:t>74.8​</a:t>
                      </a:r>
                      <a:endParaRPr lang="ar-SA"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378714">
                <a:tc>
                  <a:txBody>
                    <a:bodyPr/>
                    <a:lstStyle/>
                    <a:p>
                      <a:pPr marL="0" marR="0" fontAlgn="t">
                        <a:spcBef>
                          <a:spcPts val="0"/>
                        </a:spcBef>
                        <a:spcAft>
                          <a:spcPts val="0"/>
                        </a:spcAft>
                      </a:pPr>
                      <a:r>
                        <a:rPr lang="en-US" sz="800">
                          <a:solidFill>
                            <a:srgbClr val="676767"/>
                          </a:solidFill>
                          <a:effectLst/>
                          <a:latin typeface="tahoma" panose="020B0604030504040204" pitchFamily="34" charset="0"/>
                        </a:rPr>
                        <a:t>Total Fertility Rate</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2.4​</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667258">
                <a:tc>
                  <a:txBody>
                    <a:bodyPr/>
                    <a:lstStyle/>
                    <a:p>
                      <a:pPr marL="0" marR="0" fontAlgn="t">
                        <a:spcBef>
                          <a:spcPts val="0"/>
                        </a:spcBef>
                        <a:spcAft>
                          <a:spcPts val="0"/>
                        </a:spcAft>
                      </a:pPr>
                      <a:r>
                        <a:rPr lang="en-US" sz="800">
                          <a:solidFill>
                            <a:srgbClr val="676767"/>
                          </a:solidFill>
                          <a:effectLst/>
                          <a:latin typeface="tahoma" panose="020B0604030504040204" pitchFamily="34" charset="0"/>
                        </a:rPr>
                        <a:t>Neonatal Mortality Rate/1000 live birth</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2.74​</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378714">
                <a:tc>
                  <a:txBody>
                    <a:bodyPr/>
                    <a:lstStyle/>
                    <a:p>
                      <a:pPr marL="0" marR="0" fontAlgn="t">
                        <a:spcBef>
                          <a:spcPts val="0"/>
                        </a:spcBef>
                        <a:spcAft>
                          <a:spcPts val="0"/>
                        </a:spcAft>
                      </a:pPr>
                      <a:r>
                        <a:rPr lang="en-US" sz="800">
                          <a:solidFill>
                            <a:srgbClr val="676767"/>
                          </a:solidFill>
                          <a:effectLst/>
                          <a:latin typeface="tahoma" panose="020B0604030504040204" pitchFamily="34" charset="0"/>
                        </a:rPr>
                        <a:t>Infant Mortality Rate/1000 live birth</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4.82​</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667258">
                <a:tc>
                  <a:txBody>
                    <a:bodyPr/>
                    <a:lstStyle/>
                    <a:p>
                      <a:pPr marL="0" marR="0" fontAlgn="t">
                        <a:spcBef>
                          <a:spcPts val="0"/>
                        </a:spcBef>
                        <a:spcAft>
                          <a:spcPts val="0"/>
                        </a:spcAft>
                      </a:pPr>
                      <a:r>
                        <a:rPr lang="en-US" sz="800">
                          <a:solidFill>
                            <a:srgbClr val="676767"/>
                          </a:solidFill>
                          <a:effectLst/>
                          <a:latin typeface="tahoma" panose="020B0604030504040204" pitchFamily="34" charset="0"/>
                        </a:rPr>
                        <a:t>Under 5 years Mortality Rate/1000 live birth</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a:solidFill>
                            <a:srgbClr val="676767"/>
                          </a:solidFill>
                          <a:effectLst/>
                          <a:latin typeface="tahoma" panose="020B0604030504040204" pitchFamily="34" charset="0"/>
                        </a:rPr>
                        <a:t>8.05​</a:t>
                      </a:r>
                      <a:endParaRPr lang="ar-SA">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r h="667258">
                <a:tc>
                  <a:txBody>
                    <a:bodyPr/>
                    <a:lstStyle/>
                    <a:p>
                      <a:pPr marL="0" marR="0" fontAlgn="t">
                        <a:spcBef>
                          <a:spcPts val="0"/>
                        </a:spcBef>
                        <a:spcAft>
                          <a:spcPts val="0"/>
                        </a:spcAft>
                      </a:pPr>
                      <a:r>
                        <a:rPr lang="en-US" sz="800">
                          <a:solidFill>
                            <a:srgbClr val="676767"/>
                          </a:solidFill>
                          <a:effectLst/>
                          <a:latin typeface="tahoma" panose="020B0604030504040204" pitchFamily="34" charset="0"/>
                        </a:rPr>
                        <a:t>Maternal Mortality Ratio/ 100</a:t>
                      </a:r>
                      <a:r>
                        <a:rPr lang="ar-SA" sz="800">
                          <a:solidFill>
                            <a:srgbClr val="676767"/>
                          </a:solidFill>
                          <a:effectLst/>
                          <a:latin typeface="tahoma" panose="020B0604030504040204" pitchFamily="34" charset="0"/>
                        </a:rPr>
                        <a:t>٫000 </a:t>
                      </a:r>
                      <a:r>
                        <a:rPr lang="en-US" sz="800">
                          <a:solidFill>
                            <a:srgbClr val="676767"/>
                          </a:solidFill>
                          <a:effectLst/>
                          <a:latin typeface="tahoma" panose="020B0604030504040204" pitchFamily="34" charset="0"/>
                        </a:rPr>
                        <a:t>live birth</a:t>
                      </a:r>
                      <a:endParaRPr lang="en-US">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c>
                  <a:txBody>
                    <a:bodyPr/>
                    <a:lstStyle/>
                    <a:p>
                      <a:pPr marL="0" marR="0" algn="ctr" fontAlgn="t">
                        <a:spcBef>
                          <a:spcPts val="0"/>
                        </a:spcBef>
                        <a:spcAft>
                          <a:spcPts val="0"/>
                        </a:spcAft>
                      </a:pPr>
                      <a:r>
                        <a:rPr lang="ar-SA" sz="800" dirty="0">
                          <a:solidFill>
                            <a:srgbClr val="676767"/>
                          </a:solidFill>
                          <a:effectLst/>
                          <a:latin typeface="tahoma" panose="020B0604030504040204" pitchFamily="34" charset="0"/>
                        </a:rPr>
                        <a:t>12​</a:t>
                      </a:r>
                      <a:endParaRPr lang="ar-SA" dirty="0">
                        <a:effectLst/>
                      </a:endParaRPr>
                    </a:p>
                  </a:txBody>
                  <a:tcPr marL="19050" marR="19050" marT="19050" marB="19050">
                    <a:lnL w="12700" cap="flat" cmpd="sng" algn="ctr">
                      <a:solidFill>
                        <a:srgbClr val="C4C4C4"/>
                      </a:solidFill>
                      <a:prstDash val="solid"/>
                      <a:round/>
                      <a:headEnd type="none" w="med" len="med"/>
                      <a:tailEnd type="none" w="med" len="med"/>
                    </a:lnL>
                    <a:lnR w="12700" cap="flat" cmpd="sng" algn="ctr">
                      <a:solidFill>
                        <a:srgbClr val="C4C4C4"/>
                      </a:solidFill>
                      <a:prstDash val="solid"/>
                      <a:round/>
                      <a:headEnd type="none" w="med" len="med"/>
                      <a:tailEnd type="none" w="med" len="med"/>
                    </a:lnR>
                    <a:lnT w="12700" cap="flat" cmpd="sng" algn="ctr">
                      <a:solidFill>
                        <a:srgbClr val="C4C4C4"/>
                      </a:solidFill>
                      <a:prstDash val="solid"/>
                      <a:round/>
                      <a:headEnd type="none" w="med" len="med"/>
                      <a:tailEnd type="none" w="med" len="med"/>
                    </a:lnT>
                    <a:lnB w="12700" cap="flat" cmpd="sng" algn="ctr">
                      <a:solidFill>
                        <a:srgbClr val="C4C4C4"/>
                      </a:solidFill>
                      <a:prstDash val="solid"/>
                      <a:round/>
                      <a:headEnd type="none" w="med" len="med"/>
                      <a:tailEnd type="none" w="med" len="med"/>
                    </a:lnB>
                    <a:solidFill>
                      <a:srgbClr val="FFFFFF"/>
                    </a:solidFill>
                  </a:tcPr>
                </a:tc>
              </a:tr>
            </a:tbl>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6323" name="Rectangle 1"/>
          <p:cNvSpPr>
            <a:spLocks noChangeArrowheads="1"/>
          </p:cNvSpPr>
          <p:nvPr/>
        </p:nvSpPr>
        <p:spPr bwMode="auto">
          <a:xfrm>
            <a:off x="914400" y="1828800"/>
            <a:ext cx="32004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200" b="1">
                <a:solidFill>
                  <a:schemeClr val="tx1"/>
                </a:solidFill>
                <a:latin typeface="Arial" panose="020B0604020202020204" pitchFamily="34" charset="0"/>
              </a:rPr>
              <a:t>Weaknesses:</a:t>
            </a:r>
          </a:p>
        </p:txBody>
      </p:sp>
      <p:sp>
        <p:nvSpPr>
          <p:cNvPr id="7" name="Text Box 4"/>
          <p:cNvSpPr txBox="1">
            <a:spLocks noChangeArrowheads="1"/>
          </p:cNvSpPr>
          <p:nvPr/>
        </p:nvSpPr>
        <p:spPr bwMode="auto">
          <a:xfrm>
            <a:off x="990600" y="2600325"/>
            <a:ext cx="7467600"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endParaRPr lang="en-US" sz="3200" b="1">
              <a:solidFill>
                <a:schemeClr val="tx1"/>
              </a:solidFill>
              <a:latin typeface="Arial" panose="020B0604020202020204" pitchFamily="34" charset="0"/>
            </a:endParaRP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Weak Primary care</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Multi - sectoral:</a:t>
            </a:r>
          </a:p>
          <a:p>
            <a:pPr lvl="1" algn="l" rtl="0" eaLnBrk="1" hangingPunct="1">
              <a:lnSpc>
                <a:spcPct val="100000"/>
              </a:lnSpc>
              <a:spcBef>
                <a:spcPct val="0"/>
              </a:spcBef>
              <a:spcAft>
                <a:spcPct val="0"/>
              </a:spcAft>
              <a:buClr>
                <a:srgbClr val="FFFF00"/>
              </a:buClr>
              <a:buFontTx/>
              <a:buChar char="o"/>
            </a:pPr>
            <a:r>
              <a:rPr lang="en-US" sz="3200" b="1">
                <a:solidFill>
                  <a:schemeClr val="tx1"/>
                </a:solidFill>
                <a:latin typeface="Arial" panose="020B0604020202020204" pitchFamily="34" charset="0"/>
              </a:rPr>
              <a:t> Duplication of services among   	   		Providers</a:t>
            </a:r>
          </a:p>
          <a:p>
            <a:pPr lvl="1" algn="l" rtl="0" eaLnBrk="1" hangingPunct="1">
              <a:lnSpc>
                <a:spcPct val="100000"/>
              </a:lnSpc>
              <a:spcBef>
                <a:spcPct val="0"/>
              </a:spcBef>
              <a:spcAft>
                <a:spcPct val="0"/>
              </a:spcAft>
              <a:buClr>
                <a:srgbClr val="FFFF00"/>
              </a:buClr>
              <a:buFontTx/>
              <a:buChar char="o"/>
            </a:pPr>
            <a:r>
              <a:rPr lang="en-US" sz="3200" b="1">
                <a:solidFill>
                  <a:schemeClr val="tx1"/>
                </a:solidFill>
                <a:latin typeface="Arial" panose="020B0604020202020204" pitchFamily="34" charset="0"/>
              </a:rPr>
              <a:t> Difficult  to Co-ordinate</a:t>
            </a:r>
          </a:p>
          <a:p>
            <a:pPr lvl="1" algn="l" rtl="0" eaLnBrk="1" hangingPunct="1">
              <a:lnSpc>
                <a:spcPct val="100000"/>
              </a:lnSpc>
              <a:spcBef>
                <a:spcPct val="0"/>
              </a:spcBef>
              <a:spcAft>
                <a:spcPct val="0"/>
              </a:spcAft>
              <a:buClr>
                <a:srgbClr val="FFFF00"/>
              </a:buClr>
              <a:buFontTx/>
              <a:buChar char="o"/>
            </a:pPr>
            <a:r>
              <a:rPr lang="en-US" sz="3200" b="1">
                <a:solidFill>
                  <a:schemeClr val="tx1"/>
                </a:solidFill>
                <a:latin typeface="Arial" panose="020B0604020202020204" pitchFamily="34" charset="0"/>
              </a:rPr>
              <a:t> Waste of resources</a:t>
            </a:r>
          </a:p>
        </p:txBody>
      </p:sp>
      <p:sp>
        <p:nvSpPr>
          <p:cNvPr id="56325"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56326" name="Rectangle 3"/>
          <p:cNvSpPr>
            <a:spLocks noChangeArrowheads="1"/>
          </p:cNvSpPr>
          <p:nvPr/>
        </p:nvSpPr>
        <p:spPr bwMode="auto">
          <a:xfrm>
            <a:off x="304800" y="685800"/>
            <a:ext cx="88392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50000"/>
              </a:spcBef>
              <a:spcAft>
                <a:spcPct val="0"/>
              </a:spcAft>
              <a:buClrTx/>
              <a:buSzTx/>
              <a:buFontTx/>
              <a:buNone/>
            </a:pPr>
            <a:r>
              <a:rPr lang="en-US" sz="3200" b="1">
                <a:solidFill>
                  <a:srgbClr val="FF0000"/>
                </a:solidFill>
                <a:latin typeface="Garamond" panose="02020404030301010803" pitchFamily="18" charset="0"/>
              </a:rPr>
              <a:t>STRENGTHS AND WEAKNESSES OF THE </a:t>
            </a:r>
            <a:r>
              <a:rPr lang="en-US" sz="3200" b="1" u="sng">
                <a:solidFill>
                  <a:srgbClr val="FF0000"/>
                </a:solidFill>
                <a:latin typeface="Garamond" panose="02020404030301010803" pitchFamily="18" charset="0"/>
              </a:rPr>
              <a:t>CURRENT</a:t>
            </a:r>
            <a:r>
              <a:rPr lang="en-US" sz="3200" b="1">
                <a:solidFill>
                  <a:srgbClr val="FF0000"/>
                </a:solidFill>
                <a:latin typeface="Garamond" panose="02020404030301010803" pitchFamily="18" charset="0"/>
              </a:rPr>
              <a:t> HEALTH SYSTE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box(in)">
                                      <p:cBhvr>
                                        <p:cTn id="7" dur="500"/>
                                        <p:tgtEl>
                                          <p:spTgt spid="7">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4" presetClass="entr" presetSubtype="16"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box(in)">
                                      <p:cBhvr>
                                        <p:cTn id="12" dur="500"/>
                                        <p:tgtEl>
                                          <p:spTgt spid="7">
                                            <p:txEl>
                                              <p:pRg st="2" end="2"/>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4" presetClass="entr" presetSubtype="16" fill="hold" nodeType="clickEffect">
                                  <p:stCondLst>
                                    <p:cond delay="0"/>
                                  </p:stCondLst>
                                  <p:childTnLst>
                                    <p:set>
                                      <p:cBhvr>
                                        <p:cTn id="16" dur="1" fill="hold">
                                          <p:stCondLst>
                                            <p:cond delay="0"/>
                                          </p:stCondLst>
                                        </p:cTn>
                                        <p:tgtEl>
                                          <p:spTgt spid="7">
                                            <p:txEl>
                                              <p:pRg st="3" end="3"/>
                                            </p:txEl>
                                          </p:spTgt>
                                        </p:tgtEl>
                                        <p:attrNameLst>
                                          <p:attrName>style.visibility</p:attrName>
                                        </p:attrNameLst>
                                      </p:cBhvr>
                                      <p:to>
                                        <p:strVal val="visible"/>
                                      </p:to>
                                    </p:set>
                                    <p:animEffect transition="in" filter="box(in)">
                                      <p:cBhvr>
                                        <p:cTn id="17" dur="500"/>
                                        <p:tgtEl>
                                          <p:spTgt spid="7">
                                            <p:txEl>
                                              <p:pRg st="3" end="3"/>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4" presetClass="entr" presetSubtype="16" fill="hold" nodeType="clickEffect">
                                  <p:stCondLst>
                                    <p:cond delay="0"/>
                                  </p:stCondLst>
                                  <p:childTnLst>
                                    <p:set>
                                      <p:cBhvr>
                                        <p:cTn id="21" dur="1" fill="hold">
                                          <p:stCondLst>
                                            <p:cond delay="0"/>
                                          </p:stCondLst>
                                        </p:cTn>
                                        <p:tgtEl>
                                          <p:spTgt spid="7">
                                            <p:txEl>
                                              <p:pRg st="4" end="4"/>
                                            </p:txEl>
                                          </p:spTgt>
                                        </p:tgtEl>
                                        <p:attrNameLst>
                                          <p:attrName>style.visibility</p:attrName>
                                        </p:attrNameLst>
                                      </p:cBhvr>
                                      <p:to>
                                        <p:strVal val="visible"/>
                                      </p:to>
                                    </p:set>
                                    <p:animEffect transition="in" filter="box(in)">
                                      <p:cBhvr>
                                        <p:cTn id="22" dur="500"/>
                                        <p:tgtEl>
                                          <p:spTgt spid="7">
                                            <p:txEl>
                                              <p:pRg st="4" end="4"/>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4" presetClass="entr" presetSubtype="16" fill="hold"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animEffect transition="in" filter="box(in)">
                                      <p:cBhvr>
                                        <p:cTn id="27"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7347" name="Rectangle 3"/>
          <p:cNvSpPr>
            <a:spLocks noChangeArrowheads="1"/>
          </p:cNvSpPr>
          <p:nvPr/>
        </p:nvSpPr>
        <p:spPr bwMode="auto">
          <a:xfrm>
            <a:off x="762000" y="685800"/>
            <a:ext cx="67818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2800" b="1">
                <a:solidFill>
                  <a:srgbClr val="FF0000"/>
                </a:solidFill>
                <a:latin typeface="Garamond" panose="02020404030301010803" pitchFamily="18" charset="0"/>
              </a:rPr>
              <a:t>CHALLENGES FACING </a:t>
            </a:r>
          </a:p>
          <a:p>
            <a:pPr algn="l" rtl="0" eaLnBrk="1" hangingPunct="1">
              <a:lnSpc>
                <a:spcPct val="100000"/>
              </a:lnSpc>
              <a:spcBef>
                <a:spcPct val="0"/>
              </a:spcBef>
              <a:spcAft>
                <a:spcPct val="0"/>
              </a:spcAft>
              <a:buClrTx/>
              <a:buSzTx/>
              <a:buFontTx/>
              <a:buNone/>
            </a:pPr>
            <a:r>
              <a:rPr lang="en-US" sz="2800" b="1">
                <a:solidFill>
                  <a:srgbClr val="FF0000"/>
                </a:solidFill>
                <a:latin typeface="Garamond" panose="02020404030301010803" pitchFamily="18" charset="0"/>
              </a:rPr>
              <a:t>    THE CURRENT HEALTH SYSTEM</a:t>
            </a:r>
          </a:p>
        </p:txBody>
      </p:sp>
      <p:sp>
        <p:nvSpPr>
          <p:cNvPr id="8" name="Text Box 4"/>
          <p:cNvSpPr txBox="1">
            <a:spLocks noChangeArrowheads="1"/>
          </p:cNvSpPr>
          <p:nvPr/>
        </p:nvSpPr>
        <p:spPr bwMode="auto">
          <a:xfrm>
            <a:off x="947738" y="1765300"/>
            <a:ext cx="21463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Financial</a:t>
            </a:r>
          </a:p>
        </p:txBody>
      </p:sp>
      <p:sp>
        <p:nvSpPr>
          <p:cNvPr id="57349"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6" name="Rectangle 1"/>
          <p:cNvSpPr>
            <a:spLocks noChangeArrowheads="1"/>
          </p:cNvSpPr>
          <p:nvPr/>
        </p:nvSpPr>
        <p:spPr bwMode="auto">
          <a:xfrm>
            <a:off x="1295400" y="3430588"/>
            <a:ext cx="6324600" cy="30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1956:  39.549.458 SR</a:t>
            </a:r>
          </a:p>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1958:  68.480.000 SR</a:t>
            </a:r>
          </a:p>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1960: 116.395.000 SR</a:t>
            </a:r>
          </a:p>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  2009: 40.43 billion SR</a:t>
            </a:r>
          </a:p>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  2010: 61.20 billion SR</a:t>
            </a:r>
          </a:p>
          <a:p>
            <a:pPr algn="ctr" rtl="0">
              <a:lnSpc>
                <a:spcPct val="100000"/>
              </a:lnSpc>
              <a:spcBef>
                <a:spcPct val="0"/>
              </a:spcBef>
              <a:spcAft>
                <a:spcPct val="0"/>
              </a:spcAft>
              <a:buClrTx/>
              <a:buSzTx/>
              <a:buFontTx/>
              <a:buNone/>
            </a:pPr>
            <a:r>
              <a:rPr lang="en-US" sz="3200" b="1">
                <a:solidFill>
                  <a:srgbClr val="FF0000"/>
                </a:solidFill>
                <a:latin typeface="Garamond" panose="02020404030301010803" pitchFamily="18" charset="0"/>
              </a:rPr>
              <a:t>  2019: 172 billion SR </a:t>
            </a:r>
          </a:p>
        </p:txBody>
      </p:sp>
      <p:sp>
        <p:nvSpPr>
          <p:cNvPr id="7" name="Rectangle 1"/>
          <p:cNvSpPr>
            <a:spLocks noChangeArrowheads="1"/>
          </p:cNvSpPr>
          <p:nvPr/>
        </p:nvSpPr>
        <p:spPr bwMode="auto">
          <a:xfrm>
            <a:off x="990600" y="2274888"/>
            <a:ext cx="7162800"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Budget allocated to the health sector by the Ministry of Health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8371" name="Rectangle 3"/>
          <p:cNvSpPr>
            <a:spLocks noChangeArrowheads="1"/>
          </p:cNvSpPr>
          <p:nvPr/>
        </p:nvSpPr>
        <p:spPr bwMode="auto">
          <a:xfrm>
            <a:off x="762000" y="685800"/>
            <a:ext cx="67818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2800" b="1">
                <a:solidFill>
                  <a:srgbClr val="FF0000"/>
                </a:solidFill>
                <a:latin typeface="Garamond" panose="02020404030301010803" pitchFamily="18" charset="0"/>
              </a:rPr>
              <a:t>CHALLENGES FACING </a:t>
            </a:r>
          </a:p>
          <a:p>
            <a:pPr algn="l" rtl="0" eaLnBrk="1" hangingPunct="1">
              <a:lnSpc>
                <a:spcPct val="100000"/>
              </a:lnSpc>
              <a:spcBef>
                <a:spcPct val="0"/>
              </a:spcBef>
              <a:spcAft>
                <a:spcPct val="0"/>
              </a:spcAft>
              <a:buClrTx/>
              <a:buSzTx/>
              <a:buFontTx/>
              <a:buNone/>
            </a:pPr>
            <a:r>
              <a:rPr lang="en-US" sz="2800" b="1">
                <a:solidFill>
                  <a:srgbClr val="FF0000"/>
                </a:solidFill>
                <a:latin typeface="Garamond" panose="02020404030301010803" pitchFamily="18" charset="0"/>
              </a:rPr>
              <a:t>    THE CURRENT HEALTH SYSTEM</a:t>
            </a:r>
          </a:p>
        </p:txBody>
      </p:sp>
      <p:sp>
        <p:nvSpPr>
          <p:cNvPr id="8" name="Text Box 4"/>
          <p:cNvSpPr txBox="1">
            <a:spLocks noChangeArrowheads="1"/>
          </p:cNvSpPr>
          <p:nvPr/>
        </p:nvSpPr>
        <p:spPr bwMode="auto">
          <a:xfrm>
            <a:off x="947738" y="1765300"/>
            <a:ext cx="7750175" cy="501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Financial</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Data for decision-making/policy-making </a:t>
            </a:r>
            <a:r>
              <a:rPr lang="en-US" sz="3200">
                <a:solidFill>
                  <a:schemeClr val="tx1"/>
                </a:solidFill>
                <a:latin typeface="Garamond" panose="02020404030301010803" pitchFamily="18" charset="0"/>
              </a:rPr>
              <a:t>.</a:t>
            </a:r>
            <a:endParaRPr lang="en-US" sz="3200" b="1">
              <a:solidFill>
                <a:schemeClr val="tx1"/>
              </a:solidFill>
              <a:latin typeface="Arial" panose="020B0604020202020204" pitchFamily="34" charset="0"/>
            </a:endParaRP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Manpower</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Population:</a:t>
            </a:r>
          </a:p>
          <a:p>
            <a:pPr lvl="1" algn="l" rtl="0" eaLnBrk="1" hangingPunct="1">
              <a:lnSpc>
                <a:spcPct val="100000"/>
              </a:lnSpc>
              <a:spcBef>
                <a:spcPct val="0"/>
              </a:spcBef>
              <a:spcAft>
                <a:spcPct val="0"/>
              </a:spcAft>
              <a:buClr>
                <a:schemeClr val="tx2"/>
              </a:buClr>
              <a:buFont typeface="Wingdings" panose="05000000000000000000" pitchFamily="2" charset="2"/>
              <a:buChar char="Ø"/>
            </a:pPr>
            <a:r>
              <a:rPr lang="en-US" sz="3200" b="1">
                <a:solidFill>
                  <a:schemeClr val="tx1"/>
                </a:solidFill>
                <a:latin typeface="Arial" panose="020B0604020202020204" pitchFamily="34" charset="0"/>
              </a:rPr>
              <a:t> Growth</a:t>
            </a:r>
          </a:p>
          <a:p>
            <a:pPr lvl="1" algn="l" rtl="0" eaLnBrk="1" hangingPunct="1">
              <a:lnSpc>
                <a:spcPct val="100000"/>
              </a:lnSpc>
              <a:spcBef>
                <a:spcPct val="0"/>
              </a:spcBef>
              <a:spcAft>
                <a:spcPct val="0"/>
              </a:spcAft>
              <a:buClr>
                <a:schemeClr val="tx2"/>
              </a:buClr>
              <a:buFont typeface="Wingdings" panose="05000000000000000000" pitchFamily="2" charset="2"/>
              <a:buChar char="Ø"/>
            </a:pPr>
            <a:r>
              <a:rPr lang="en-US" sz="3200" b="1">
                <a:solidFill>
                  <a:schemeClr val="tx1"/>
                </a:solidFill>
                <a:latin typeface="Arial" panose="020B0604020202020204" pitchFamily="34" charset="0"/>
              </a:rPr>
              <a:t> Aging</a:t>
            </a:r>
          </a:p>
          <a:p>
            <a:pPr lvl="1" algn="l" rtl="0" eaLnBrk="1" hangingPunct="1">
              <a:lnSpc>
                <a:spcPct val="100000"/>
              </a:lnSpc>
              <a:spcBef>
                <a:spcPct val="0"/>
              </a:spcBef>
              <a:spcAft>
                <a:spcPct val="0"/>
              </a:spcAft>
              <a:buClr>
                <a:schemeClr val="tx2"/>
              </a:buClr>
              <a:buFont typeface="Wingdings" panose="05000000000000000000" pitchFamily="2" charset="2"/>
              <a:buChar char="Ø"/>
            </a:pPr>
            <a:r>
              <a:rPr lang="en-US" sz="3200" b="1">
                <a:solidFill>
                  <a:schemeClr val="tx1"/>
                </a:solidFill>
                <a:latin typeface="Arial" panose="020B0604020202020204" pitchFamily="34" charset="0"/>
              </a:rPr>
              <a:t> Demanding</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Changes in Disease patterns (NCD)</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New medical technologies and </a:t>
            </a:r>
          </a:p>
          <a:p>
            <a:pPr algn="l" rtl="0" eaLnBrk="1" hangingPunct="1">
              <a:lnSpc>
                <a:spcPct val="100000"/>
              </a:lnSpc>
              <a:spcBef>
                <a:spcPct val="0"/>
              </a:spcBef>
              <a:spcAft>
                <a:spcPct val="0"/>
              </a:spcAft>
              <a:buClr>
                <a:srgbClr val="FF0000"/>
              </a:buClr>
              <a:buSzTx/>
              <a:buFontTx/>
              <a:buNone/>
            </a:pPr>
            <a:r>
              <a:rPr lang="en-US" sz="3200" b="1">
                <a:solidFill>
                  <a:schemeClr val="tx1"/>
                </a:solidFill>
                <a:latin typeface="Arial" panose="020B0604020202020204" pitchFamily="34" charset="0"/>
              </a:rPr>
              <a:t>      new medications</a:t>
            </a:r>
          </a:p>
        </p:txBody>
      </p:sp>
      <p:sp>
        <p:nvSpPr>
          <p:cNvPr id="58373"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59395"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32774" name="Rectangle 2"/>
          <p:cNvSpPr>
            <a:spLocks noChangeArrowheads="1"/>
          </p:cNvSpPr>
          <p:nvPr/>
        </p:nvSpPr>
        <p:spPr bwMode="auto">
          <a:xfrm>
            <a:off x="1066800" y="3124200"/>
            <a:ext cx="76200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 typeface="Wingdings" panose="05000000000000000000" pitchFamily="2" charset="2"/>
              <a:buChar char="§"/>
            </a:pPr>
            <a:r>
              <a:rPr lang="en-US" sz="320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Population growth of 3.1% per annum</a:t>
            </a:r>
          </a:p>
          <a:p>
            <a:pPr algn="l" rtl="0">
              <a:lnSpc>
                <a:spcPct val="100000"/>
              </a:lnSpc>
              <a:spcBef>
                <a:spcPct val="0"/>
              </a:spcBef>
              <a:spcAft>
                <a:spcPct val="0"/>
              </a:spcAft>
              <a:buClrTx/>
              <a:buSzTx/>
              <a:buFont typeface="Wingdings" panose="05000000000000000000" pitchFamily="2" charset="2"/>
              <a:buChar char="§"/>
            </a:pPr>
            <a:r>
              <a:rPr lang="en-US" sz="320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Increased demand on health services</a:t>
            </a:r>
          </a:p>
          <a:p>
            <a:pPr algn="l" rtl="0">
              <a:lnSpc>
                <a:spcPct val="100000"/>
              </a:lnSpc>
              <a:spcBef>
                <a:spcPct val="0"/>
              </a:spcBef>
              <a:spcAft>
                <a:spcPct val="0"/>
              </a:spcAft>
              <a:buClrTx/>
              <a:buSzTx/>
              <a:buFont typeface="Wingdings" panose="05000000000000000000" pitchFamily="2" charset="2"/>
              <a:buChar char="§"/>
            </a:pPr>
            <a:r>
              <a:rPr lang="en-US" sz="320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Rise in the cost of health care</a:t>
            </a:r>
          </a:p>
        </p:txBody>
      </p:sp>
      <p:sp>
        <p:nvSpPr>
          <p:cNvPr id="8" name="Title 1"/>
          <p:cNvSpPr>
            <a:spLocks noGrp="1"/>
          </p:cNvSpPr>
          <p:nvPr>
            <p:ph type="title"/>
          </p:nvPr>
        </p:nvSpPr>
        <p:spPr>
          <a:xfrm>
            <a:off x="838200" y="522288"/>
            <a:ext cx="7543800" cy="1279525"/>
          </a:xfrm>
        </p:spPr>
        <p:txBody>
          <a:bodyPr>
            <a:normAutofit fontScale="90000"/>
          </a:bodyPr>
          <a:lstStyle/>
          <a:p>
            <a:pPr fontAlgn="auto">
              <a:spcAft>
                <a:spcPts val="0"/>
              </a:spcAft>
              <a:defRPr/>
            </a:pPr>
            <a:r>
              <a:rPr lang="en-US" dirty="0" smtClean="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t/>
            </a:r>
            <a:br>
              <a:rPr lang="en-US" dirty="0" smtClean="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br>
            <a:r>
              <a:rPr lang="en-US" dirty="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t/>
            </a:r>
            <a:br>
              <a:rPr lang="en-US" dirty="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br>
            <a:r>
              <a:rPr lang="en-US" dirty="0" smtClean="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t/>
            </a:r>
            <a:br>
              <a:rPr lang="en-US" dirty="0" smtClean="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br>
            <a:r>
              <a:rPr lang="en-US" dirty="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t/>
            </a:r>
            <a:br>
              <a:rPr lang="en-US" dirty="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br>
            <a:r>
              <a:rPr lang="en-US" dirty="0" smtClean="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rPr>
              <a:t>HIGH COST OF HAELTH CARE </a:t>
            </a:r>
            <a:endParaRPr lang="ar-SA" dirty="0" smtClean="0">
              <a:solidFill>
                <a:schemeClr val="tx1">
                  <a:lumMod val="75000"/>
                  <a:lumOff val="25000"/>
                </a:schemeClr>
              </a:solidFill>
              <a:latin typeface="Comic Sans MS" panose="030F0702030302020204" pitchFamily="66" charset="0"/>
              <a:ea typeface="Arial Unicode MS" panose="020B0604020202020204" pitchFamily="34" charset="-128"/>
              <a:cs typeface="Arial Unicode MS" panose="020B0604020202020204" pitchFamily="34" charset="-128"/>
            </a:endParaRPr>
          </a:p>
        </p:txBody>
      </p:sp>
      <p:pic>
        <p:nvPicPr>
          <p:cNvPr id="32776" name="Picture 8" descr="http://t0.gstatic.com/images?q=tbn:ANd9GcSIzngp5JuHmCr0hAKbbRPV0O5CgKx2RX-lX34d4awE1TJGNmau"/>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2133600"/>
            <a:ext cx="2543175" cy="925513"/>
          </a:xfrm>
          <a:prstGeom prst="rect">
            <a:avLst/>
          </a:prstGeom>
          <a:solidFill>
            <a:srgbClr val="FF0000"/>
          </a:solidFill>
          <a:ln w="9525">
            <a:solidFill>
              <a:srgbClr val="FF0000"/>
            </a:solid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277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2774">
                                            <p:txEl>
                                              <p:pRg st="0" end="0"/>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2774">
                                            <p:txEl>
                                              <p:pRg st="1" end="1"/>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3277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60419"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pic>
        <p:nvPicPr>
          <p:cNvPr id="33796" name="Picture 2" descr="http://library.thinkquest.org/C0120888/images/what%20to%20do%20with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3238" y="1943100"/>
            <a:ext cx="2857500"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7" name="Picture 4" descr="http://t2.gstatic.com/images?q=tbn:ANd9GcQBdZZJfNevlFWdz4AInFYdcxTfQc7ugHcHRTzz31glcrU9Yc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6300" y="1905000"/>
            <a:ext cx="26289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4"/>
          <p:cNvSpPr>
            <a:spLocks noGrp="1"/>
          </p:cNvSpPr>
          <p:nvPr>
            <p:ph type="title"/>
          </p:nvPr>
        </p:nvSpPr>
        <p:spPr>
          <a:xfrm>
            <a:off x="1219200" y="3200400"/>
            <a:ext cx="6629400" cy="1447800"/>
          </a:xfrm>
          <a:solidFill>
            <a:srgbClr val="92D050"/>
          </a:solidFill>
        </p:spPr>
        <p:txBody>
          <a:bodyPr/>
          <a:lstStyle/>
          <a:p>
            <a:pPr algn="ctr" fontAlgn="auto">
              <a:spcAft>
                <a:spcPts val="0"/>
              </a:spcAft>
              <a:defRPr/>
            </a:pPr>
            <a:r>
              <a:rPr lang="en-US" sz="3200" smtClean="0">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rPr>
              <a:t>A delivery system that  prevents </a:t>
            </a:r>
            <a:r>
              <a:rPr lang="en-US" sz="3200" u="sng" smtClean="0">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rPr>
              <a:t>abuse</a:t>
            </a:r>
            <a:r>
              <a:rPr lang="en-US" sz="3200" smtClean="0">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rPr>
              <a:t> and </a:t>
            </a:r>
            <a:r>
              <a:rPr lang="en-US" sz="3200" u="sng" smtClean="0">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rPr>
              <a:t>excessive use </a:t>
            </a:r>
            <a:endParaRPr lang="ar-SA" sz="3200" u="sng" smtClean="0">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endParaRPr>
          </a:p>
        </p:txBody>
      </p:sp>
      <p:sp>
        <p:nvSpPr>
          <p:cNvPr id="33799" name="Rectangle 10"/>
          <p:cNvSpPr>
            <a:spLocks noChangeArrowheads="1"/>
          </p:cNvSpPr>
          <p:nvPr/>
        </p:nvSpPr>
        <p:spPr bwMode="auto">
          <a:xfrm>
            <a:off x="914400" y="4648200"/>
            <a:ext cx="7239000" cy="1570038"/>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3200">
                <a:solidFill>
                  <a:schemeClr val="bg1"/>
                </a:solidFill>
                <a:latin typeface="Comic Sans MS" panose="030F0702030302020204" pitchFamily="66" charset="0"/>
              </a:rPr>
              <a:t>a </a:t>
            </a:r>
            <a:r>
              <a:rPr lang="en-US" sz="3200" b="1" u="sng">
                <a:solidFill>
                  <a:schemeClr val="bg1"/>
                </a:solidFill>
                <a:latin typeface="Comic Sans MS" panose="030F0702030302020204" pitchFamily="66" charset="0"/>
              </a:rPr>
              <a:t>managed</a:t>
            </a:r>
            <a:r>
              <a:rPr lang="en-US" sz="3200">
                <a:solidFill>
                  <a:schemeClr val="bg1"/>
                </a:solidFill>
                <a:latin typeface="Comic Sans MS" panose="030F0702030302020204" pitchFamily="66" charset="0"/>
              </a:rPr>
              <a:t> health care model, </a:t>
            </a:r>
          </a:p>
          <a:p>
            <a:pPr algn="ctr" rtl="0">
              <a:lnSpc>
                <a:spcPct val="100000"/>
              </a:lnSpc>
              <a:spcBef>
                <a:spcPct val="0"/>
              </a:spcBef>
              <a:spcAft>
                <a:spcPct val="0"/>
              </a:spcAft>
              <a:buClrTx/>
              <a:buSzTx/>
              <a:buFontTx/>
              <a:buNone/>
            </a:pPr>
            <a:r>
              <a:rPr lang="en-US" sz="3200">
                <a:solidFill>
                  <a:schemeClr val="bg1"/>
                </a:solidFill>
                <a:latin typeface="Comic Sans MS" panose="030F0702030302020204" pitchFamily="66" charset="0"/>
              </a:rPr>
              <a:t>under the</a:t>
            </a:r>
            <a:br>
              <a:rPr lang="en-US" sz="3200">
                <a:solidFill>
                  <a:schemeClr val="bg1"/>
                </a:solidFill>
                <a:latin typeface="Comic Sans MS" panose="030F0702030302020204" pitchFamily="66" charset="0"/>
              </a:rPr>
            </a:br>
            <a:r>
              <a:rPr lang="en-US" sz="3200">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rPr>
              <a:t>National Health </a:t>
            </a:r>
            <a:r>
              <a:rPr lang="en-US" sz="3200" b="1" u="sng">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rPr>
              <a:t>Insurance</a:t>
            </a:r>
            <a:r>
              <a:rPr lang="en-US" sz="3200">
                <a:solidFill>
                  <a:schemeClr val="bg1"/>
                </a:solidFill>
                <a:latin typeface="Comic Sans MS" panose="030F0702030302020204" pitchFamily="66" charset="0"/>
                <a:ea typeface="Arial Unicode MS" panose="020B0604020202020204" pitchFamily="34" charset="-128"/>
                <a:cs typeface="Arial Unicode MS" panose="020B0604020202020204" pitchFamily="34" charset="-128"/>
              </a:rPr>
              <a:t> </a:t>
            </a:r>
            <a:endParaRPr lang="ar-SA" sz="3200">
              <a:solidFill>
                <a:schemeClr val="bg1"/>
              </a:solidFill>
              <a:latin typeface="Comic Sans MS" panose="030F0702030302020204" pitchFamily="66" charset="0"/>
            </a:endParaRPr>
          </a:p>
        </p:txBody>
      </p:sp>
      <p:sp>
        <p:nvSpPr>
          <p:cNvPr id="12" name="Title 1"/>
          <p:cNvSpPr txBox="1">
            <a:spLocks/>
          </p:cNvSpPr>
          <p:nvPr/>
        </p:nvSpPr>
        <p:spPr bwMode="auto">
          <a:xfrm>
            <a:off x="914400" y="762000"/>
            <a:ext cx="7543800" cy="669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l"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l"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l"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l"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a:lstStyle>
          <a:p>
            <a:pPr>
              <a:defRPr/>
            </a:pPr>
            <a:r>
              <a:rPr lang="en-US" sz="3600" smtClean="0">
                <a:latin typeface="Comic Sans MS" pitchFamily="66" charset="0"/>
                <a:ea typeface="Arial Unicode MS" pitchFamily="34" charset="-128"/>
                <a:cs typeface="Arial Unicode MS" pitchFamily="34" charset="-128"/>
              </a:rPr>
              <a:t>HIGH COST OF HAELTH CARE </a:t>
            </a:r>
            <a:endParaRPr lang="ar-SA" sz="3600" dirty="0">
              <a:latin typeface="Comic Sans MS" pitchFamily="66" charset="0"/>
              <a:ea typeface="Arial Unicode MS" pitchFamily="34" charset="-128"/>
              <a:cs typeface="Arial Unicode MS"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379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3797"/>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7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379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15363"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15364" name="Text Box 3"/>
          <p:cNvSpPr txBox="1">
            <a:spLocks noChangeArrowheads="1"/>
          </p:cNvSpPr>
          <p:nvPr/>
        </p:nvSpPr>
        <p:spPr bwMode="auto">
          <a:xfrm>
            <a:off x="914400" y="1371600"/>
            <a:ext cx="73152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2800" b="1">
                <a:solidFill>
                  <a:srgbClr val="FF0000"/>
                </a:solidFill>
                <a:latin typeface="Arial" panose="020B0604020202020204" pitchFamily="34" charset="0"/>
              </a:rPr>
              <a:t>Why should a medical student understand the health system</a:t>
            </a:r>
          </a:p>
        </p:txBody>
      </p:sp>
      <p:sp>
        <p:nvSpPr>
          <p:cNvPr id="7" name="Text Box 4"/>
          <p:cNvSpPr txBox="1">
            <a:spLocks noChangeArrowheads="1"/>
          </p:cNvSpPr>
          <p:nvPr/>
        </p:nvSpPr>
        <p:spPr bwMode="auto">
          <a:xfrm>
            <a:off x="838200" y="2960688"/>
            <a:ext cx="8305800" cy="267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Char char="•"/>
            </a:pPr>
            <a:r>
              <a:rPr lang="en-US" sz="2800" b="1">
                <a:solidFill>
                  <a:schemeClr val="tx2"/>
                </a:solidFill>
                <a:latin typeface="Arial" panose="020B0604020202020204" pitchFamily="34" charset="0"/>
              </a:rPr>
              <a:t>You belong to it </a:t>
            </a:r>
          </a:p>
          <a:p>
            <a:pPr algn="l" rtl="0" eaLnBrk="1" hangingPunct="1">
              <a:lnSpc>
                <a:spcPct val="100000"/>
              </a:lnSpc>
              <a:spcBef>
                <a:spcPct val="0"/>
              </a:spcBef>
              <a:spcAft>
                <a:spcPct val="0"/>
              </a:spcAft>
              <a:buClrTx/>
              <a:buSzTx/>
              <a:buFontTx/>
              <a:buNone/>
            </a:pPr>
            <a:r>
              <a:rPr lang="en-US" sz="2800" b="1">
                <a:solidFill>
                  <a:schemeClr val="tx2"/>
                </a:solidFill>
                <a:latin typeface="Arial" panose="020B0604020202020204" pitchFamily="34" charset="0"/>
              </a:rPr>
              <a:t>      (you are part of the system)</a:t>
            </a:r>
          </a:p>
          <a:p>
            <a:pPr algn="l" rtl="0" eaLnBrk="1" hangingPunct="1">
              <a:lnSpc>
                <a:spcPct val="100000"/>
              </a:lnSpc>
              <a:spcBef>
                <a:spcPct val="0"/>
              </a:spcBef>
              <a:spcAft>
                <a:spcPct val="0"/>
              </a:spcAft>
              <a:buClrTx/>
              <a:buSzTx/>
              <a:buFontTx/>
              <a:buChar char="•"/>
            </a:pPr>
            <a:r>
              <a:rPr lang="en-US" sz="2800" b="1">
                <a:solidFill>
                  <a:schemeClr val="tx2"/>
                </a:solidFill>
                <a:latin typeface="Arial" panose="020B0604020202020204" pitchFamily="34" charset="0"/>
              </a:rPr>
              <a:t> To participate in the system’s </a:t>
            </a:r>
          </a:p>
          <a:p>
            <a:pPr algn="l" rtl="0" eaLnBrk="1" hangingPunct="1">
              <a:lnSpc>
                <a:spcPct val="100000"/>
              </a:lnSpc>
              <a:spcBef>
                <a:spcPct val="0"/>
              </a:spcBef>
              <a:spcAft>
                <a:spcPct val="0"/>
              </a:spcAft>
              <a:buClrTx/>
              <a:buSzTx/>
              <a:buFontTx/>
              <a:buNone/>
            </a:pPr>
            <a:r>
              <a:rPr lang="en-US" sz="2800" b="1">
                <a:solidFill>
                  <a:schemeClr val="tx2"/>
                </a:solidFill>
                <a:latin typeface="Arial" panose="020B0604020202020204" pitchFamily="34" charset="0"/>
              </a:rPr>
              <a:t>      improvement  process</a:t>
            </a:r>
          </a:p>
          <a:p>
            <a:pPr algn="l" rtl="0" eaLnBrk="1" hangingPunct="1">
              <a:lnSpc>
                <a:spcPct val="100000"/>
              </a:lnSpc>
              <a:spcBef>
                <a:spcPct val="0"/>
              </a:spcBef>
              <a:spcAft>
                <a:spcPct val="0"/>
              </a:spcAft>
              <a:buClrTx/>
              <a:buSzTx/>
              <a:buFontTx/>
              <a:buChar char="•"/>
            </a:pPr>
            <a:r>
              <a:rPr lang="en-US" sz="2800" b="1">
                <a:solidFill>
                  <a:schemeClr val="tx2"/>
                </a:solidFill>
                <a:latin typeface="Arial" panose="020B0604020202020204" pitchFamily="34" charset="0"/>
              </a:rPr>
              <a:t> To understand the medico-legal aspects of </a:t>
            </a:r>
          </a:p>
          <a:p>
            <a:pPr algn="l" rtl="0" eaLnBrk="1" hangingPunct="1">
              <a:lnSpc>
                <a:spcPct val="100000"/>
              </a:lnSpc>
              <a:spcBef>
                <a:spcPct val="0"/>
              </a:spcBef>
              <a:spcAft>
                <a:spcPct val="0"/>
              </a:spcAft>
              <a:buClrTx/>
              <a:buSzTx/>
              <a:buFontTx/>
              <a:buNone/>
            </a:pPr>
            <a:r>
              <a:rPr lang="en-US" sz="2800" b="1">
                <a:solidFill>
                  <a:schemeClr val="tx2"/>
                </a:solidFill>
                <a:latin typeface="Arial" panose="020B0604020202020204" pitchFamily="34" charset="0"/>
              </a:rPr>
              <a:t>      patient care</a:t>
            </a:r>
          </a:p>
        </p:txBody>
      </p:sp>
      <p:pic>
        <p:nvPicPr>
          <p:cNvPr id="15366" name="Picture 5" descr="mban1821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4600" y="2971800"/>
            <a:ext cx="24384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pPr fontAlgn="auto">
              <a:spcAft>
                <a:spcPts val="0"/>
              </a:spcAft>
              <a:defRPr/>
            </a:pPr>
            <a:r>
              <a:rPr lang="en-US" smtClean="0">
                <a:solidFill>
                  <a:schemeClr val="tx1">
                    <a:lumMod val="75000"/>
                    <a:lumOff val="25000"/>
                  </a:schemeClr>
                </a:solidFill>
              </a:rPr>
              <a:t>New Model Of Care</a:t>
            </a:r>
            <a:endParaRPr lang="ar-SA" smtClean="0">
              <a:solidFill>
                <a:schemeClr val="tx1">
                  <a:lumMod val="75000"/>
                  <a:lumOff val="25000"/>
                </a:schemeClr>
              </a:solidFill>
            </a:endParaRPr>
          </a:p>
        </p:txBody>
      </p:sp>
      <p:sp>
        <p:nvSpPr>
          <p:cNvPr id="62467" name="Content Placeholder 2"/>
          <p:cNvSpPr>
            <a:spLocks noGrp="1"/>
          </p:cNvSpPr>
          <p:nvPr>
            <p:ph idx="1"/>
          </p:nvPr>
        </p:nvSpPr>
        <p:spPr/>
        <p:txBody>
          <a:bodyPr/>
          <a:lstStyle/>
          <a:p>
            <a:endParaRPr lang="ar-SA" smtClean="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490" name="Object 8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8" name="think-cell Slide" r:id="rId5" imgW="360" imgH="360" progId="TCLayout.ActiveDocument.1">
                  <p:embed/>
                </p:oleObj>
              </mc:Choice>
              <mc:Fallback>
                <p:oleObj name="think-cell Slide" r:id="rId5" imgW="360" imgH="360" progId="TCLayout.ActiveDocument.1">
                  <p:embed/>
                  <p:pic>
                    <p:nvPicPr>
                      <p:cNvPr id="0" name="Object 8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a:ext uri="{FF2B5EF4-FFF2-40B4-BE49-F238E27FC236}"/>
            </a:extLst>
          </p:cNvPr>
          <p:cNvSpPr>
            <a:spLocks noGrp="1"/>
          </p:cNvSpPr>
          <p:nvPr>
            <p:ph type="title"/>
          </p:nvPr>
        </p:nvSpPr>
        <p:spPr>
          <a:xfrm>
            <a:off x="244475" y="152400"/>
            <a:ext cx="7675563" cy="996950"/>
          </a:xfrm>
        </p:spPr>
        <p:txBody>
          <a:bodyPr>
            <a:normAutofit fontScale="90000"/>
          </a:bodyPr>
          <a:lstStyle/>
          <a:p>
            <a:pPr fontAlgn="auto">
              <a:spcAft>
                <a:spcPts val="0"/>
              </a:spcAft>
              <a:defRPr/>
            </a:pPr>
            <a:r>
              <a:rPr lang="en-US" sz="2800" dirty="0">
                <a:solidFill>
                  <a:schemeClr val="tx1">
                    <a:lumMod val="75000"/>
                    <a:lumOff val="25000"/>
                  </a:schemeClr>
                </a:solidFill>
              </a:rPr>
              <a:t>Model of Care (MoC) is based on six systems of care that center around ensuring patient well-being and contributing to a healthier society </a:t>
            </a:r>
          </a:p>
        </p:txBody>
      </p:sp>
      <p:grpSp>
        <p:nvGrpSpPr>
          <p:cNvPr id="63492" name="Group 3"/>
          <p:cNvGrpSpPr>
            <a:grpSpLocks/>
          </p:cNvGrpSpPr>
          <p:nvPr/>
        </p:nvGrpSpPr>
        <p:grpSpPr bwMode="auto">
          <a:xfrm>
            <a:off x="358775" y="2057400"/>
            <a:ext cx="4357688" cy="4300538"/>
            <a:chOff x="2111964" y="1121168"/>
            <a:chExt cx="5014081" cy="4856271"/>
          </a:xfrm>
        </p:grpSpPr>
        <p:grpSp>
          <p:nvGrpSpPr>
            <p:cNvPr id="63502" name="Group 4"/>
            <p:cNvGrpSpPr>
              <a:grpSpLocks/>
            </p:cNvGrpSpPr>
            <p:nvPr/>
          </p:nvGrpSpPr>
          <p:grpSpPr bwMode="auto">
            <a:xfrm>
              <a:off x="2418649" y="1391931"/>
              <a:ext cx="4296823" cy="4388993"/>
              <a:chOff x="2707689" y="1624614"/>
              <a:chExt cx="4296823" cy="4388993"/>
            </a:xfrm>
          </p:grpSpPr>
          <p:sp>
            <p:nvSpPr>
              <p:cNvPr id="34" name="Oval 33">
                <a:extLst>
                  <a:ext uri="{FF2B5EF4-FFF2-40B4-BE49-F238E27FC236}"/>
                </a:extLst>
              </p:cNvPr>
              <p:cNvSpPr/>
              <p:nvPr/>
            </p:nvSpPr>
            <p:spPr>
              <a:xfrm>
                <a:off x="2707877" y="1624541"/>
                <a:ext cx="4296218" cy="4388391"/>
              </a:xfrm>
              <a:prstGeom prst="ellipse">
                <a:avLst/>
              </a:prstGeom>
              <a:solidFill>
                <a:srgbClr val="A7A8AA">
                  <a:lumMod val="60000"/>
                  <a:lumOff val="40000"/>
                </a:srgbClr>
              </a:solidFill>
              <a:ln w="12700" cap="flat" cmpd="sng" algn="ctr">
                <a:solidFill>
                  <a:srgbClr val="D7D4BE">
                    <a:lumMod val="50000"/>
                  </a:srgbClr>
                </a:solidFill>
                <a:prstDash val="sysDot"/>
              </a:ln>
              <a:effectLst/>
            </p:spPr>
            <p:txBody>
              <a:bodyPr anchor="ctr"/>
              <a:lstStyle/>
              <a:p>
                <a:pPr algn="ctr" defTabSz="914354" eaLnBrk="1" fontAlgn="auto" hangingPunct="1">
                  <a:spcBef>
                    <a:spcPts val="0"/>
                  </a:spcBef>
                  <a:spcAft>
                    <a:spcPts val="0"/>
                  </a:spcAft>
                  <a:defRPr/>
                </a:pPr>
                <a:endParaRPr lang="en-GB" sz="1400" kern="0" dirty="0">
                  <a:solidFill>
                    <a:srgbClr val="FFFFFF"/>
                  </a:solidFill>
                  <a:latin typeface="Calibri"/>
                  <a:cs typeface="Arial"/>
                  <a:sym typeface="Arial"/>
                </a:endParaRPr>
              </a:p>
            </p:txBody>
          </p:sp>
          <p:grpSp>
            <p:nvGrpSpPr>
              <p:cNvPr id="63532" name="Group 34"/>
              <p:cNvGrpSpPr>
                <a:grpSpLocks/>
              </p:cNvGrpSpPr>
              <p:nvPr/>
            </p:nvGrpSpPr>
            <p:grpSpPr bwMode="auto">
              <a:xfrm>
                <a:off x="3016192" y="1940880"/>
                <a:ext cx="3692061" cy="3752146"/>
                <a:chOff x="2493451" y="1537219"/>
                <a:chExt cx="4175973" cy="4124033"/>
              </a:xfrm>
            </p:grpSpPr>
            <p:sp>
              <p:nvSpPr>
                <p:cNvPr id="36" name="Oval 35">
                  <a:extLst>
                    <a:ext uri="{FF2B5EF4-FFF2-40B4-BE49-F238E27FC236}"/>
                  </a:extLst>
                </p:cNvPr>
                <p:cNvSpPr/>
                <p:nvPr/>
              </p:nvSpPr>
              <p:spPr>
                <a:xfrm>
                  <a:off x="2493886" y="1536302"/>
                  <a:ext cx="4175458" cy="4119935"/>
                </a:xfrm>
                <a:prstGeom prst="ellipse">
                  <a:avLst/>
                </a:prstGeom>
                <a:solidFill>
                  <a:srgbClr val="A7A8AA">
                    <a:lumMod val="40000"/>
                    <a:lumOff val="60000"/>
                  </a:srgbClr>
                </a:solidFill>
                <a:ln w="12700" cap="flat" cmpd="sng" algn="ctr">
                  <a:solidFill>
                    <a:srgbClr val="D7D4BE">
                      <a:lumMod val="50000"/>
                    </a:srgbClr>
                  </a:solidFill>
                  <a:prstDash val="sysDot"/>
                </a:ln>
                <a:effectLst/>
              </p:spPr>
              <p:txBody>
                <a:bodyPr anchor="ctr"/>
                <a:lstStyle/>
                <a:p>
                  <a:pPr algn="ctr" defTabSz="914354" eaLnBrk="1" fontAlgn="auto" hangingPunct="1">
                    <a:spcBef>
                      <a:spcPts val="0"/>
                    </a:spcBef>
                    <a:spcAft>
                      <a:spcPts val="0"/>
                    </a:spcAft>
                    <a:defRPr/>
                  </a:pPr>
                  <a:endParaRPr lang="en-GB" sz="1400" kern="0" dirty="0">
                    <a:solidFill>
                      <a:srgbClr val="FFFFFF"/>
                    </a:solidFill>
                    <a:latin typeface="Calibri"/>
                    <a:cs typeface="Arial"/>
                    <a:sym typeface="Arial"/>
                  </a:endParaRPr>
                </a:p>
              </p:txBody>
            </p:sp>
            <p:sp>
              <p:nvSpPr>
                <p:cNvPr id="37" name="Oval 36">
                  <a:extLst>
                    <a:ext uri="{FF2B5EF4-FFF2-40B4-BE49-F238E27FC236}"/>
                  </a:extLst>
                </p:cNvPr>
                <p:cNvSpPr/>
                <p:nvPr/>
              </p:nvSpPr>
              <p:spPr>
                <a:xfrm>
                  <a:off x="2805856" y="1845641"/>
                  <a:ext cx="3532921" cy="3485494"/>
                </a:xfrm>
                <a:prstGeom prst="ellipse">
                  <a:avLst/>
                </a:prstGeom>
                <a:solidFill>
                  <a:srgbClr val="A7A8AA">
                    <a:lumMod val="20000"/>
                    <a:lumOff val="80000"/>
                  </a:srgbClr>
                </a:solidFill>
                <a:ln w="12700" cap="flat" cmpd="sng" algn="ctr">
                  <a:solidFill>
                    <a:srgbClr val="D7D4BE">
                      <a:lumMod val="50000"/>
                    </a:srgbClr>
                  </a:solidFill>
                  <a:prstDash val="sysDot"/>
                </a:ln>
                <a:effectLst/>
              </p:spPr>
              <p:txBody>
                <a:bodyPr anchor="ctr"/>
                <a:lstStyle/>
                <a:p>
                  <a:pPr algn="ctr" defTabSz="914354" eaLnBrk="1" fontAlgn="auto" hangingPunct="1">
                    <a:spcBef>
                      <a:spcPts val="0"/>
                    </a:spcBef>
                    <a:spcAft>
                      <a:spcPts val="0"/>
                    </a:spcAft>
                    <a:defRPr/>
                  </a:pPr>
                  <a:endParaRPr lang="en-GB" sz="1400" kern="0" dirty="0">
                    <a:solidFill>
                      <a:srgbClr val="FFFFFF"/>
                    </a:solidFill>
                    <a:latin typeface="Calibri"/>
                    <a:cs typeface="Arial"/>
                    <a:sym typeface="Arial"/>
                  </a:endParaRPr>
                </a:p>
              </p:txBody>
            </p:sp>
            <p:sp>
              <p:nvSpPr>
                <p:cNvPr id="38" name="Oval 37">
                  <a:extLst>
                    <a:ext uri="{FF2B5EF4-FFF2-40B4-BE49-F238E27FC236}"/>
                  </a:extLst>
                </p:cNvPr>
                <p:cNvSpPr/>
                <p:nvPr/>
              </p:nvSpPr>
              <p:spPr>
                <a:xfrm>
                  <a:off x="3126093" y="2162863"/>
                  <a:ext cx="2890383" cy="2851050"/>
                </a:xfrm>
                <a:prstGeom prst="ellipse">
                  <a:avLst/>
                </a:prstGeom>
                <a:solidFill>
                  <a:srgbClr val="FFFFFF"/>
                </a:solidFill>
                <a:ln w="12700" cap="flat" cmpd="sng" algn="ctr">
                  <a:solidFill>
                    <a:srgbClr val="D7D4BE">
                      <a:lumMod val="50000"/>
                    </a:srgbClr>
                  </a:solidFill>
                  <a:prstDash val="sysDot"/>
                </a:ln>
                <a:effectLst/>
              </p:spPr>
              <p:txBody>
                <a:bodyPr anchor="ctr"/>
                <a:lstStyle/>
                <a:p>
                  <a:pPr algn="ctr" defTabSz="914354" eaLnBrk="1" fontAlgn="auto" hangingPunct="1">
                    <a:spcBef>
                      <a:spcPts val="0"/>
                    </a:spcBef>
                    <a:spcAft>
                      <a:spcPts val="0"/>
                    </a:spcAft>
                    <a:defRPr/>
                  </a:pPr>
                  <a:endParaRPr lang="en-GB" sz="1400" kern="0" dirty="0">
                    <a:solidFill>
                      <a:srgbClr val="FFFFFF"/>
                    </a:solidFill>
                    <a:latin typeface="Calibri"/>
                    <a:cs typeface="Arial"/>
                    <a:sym typeface="Arial"/>
                  </a:endParaRPr>
                </a:p>
              </p:txBody>
            </p:sp>
            <p:sp>
              <p:nvSpPr>
                <p:cNvPr id="39" name="Oval 38">
                  <a:extLst>
                    <a:ext uri="{FF2B5EF4-FFF2-40B4-BE49-F238E27FC236}"/>
                  </a:extLst>
                </p:cNvPr>
                <p:cNvSpPr/>
                <p:nvPr/>
              </p:nvSpPr>
              <p:spPr>
                <a:xfrm>
                  <a:off x="3448394" y="2480084"/>
                  <a:ext cx="2247847" cy="2216609"/>
                </a:xfrm>
                <a:prstGeom prst="ellipse">
                  <a:avLst/>
                </a:prstGeom>
                <a:solidFill>
                  <a:srgbClr val="FFFFFF"/>
                </a:solidFill>
                <a:ln w="12700" cap="flat" cmpd="sng" algn="ctr">
                  <a:solidFill>
                    <a:srgbClr val="D7D4BE">
                      <a:lumMod val="50000"/>
                    </a:srgbClr>
                  </a:solidFill>
                  <a:prstDash val="sysDot"/>
                </a:ln>
                <a:effectLst/>
              </p:spPr>
              <p:txBody>
                <a:bodyPr anchor="ctr"/>
                <a:lstStyle/>
                <a:p>
                  <a:pPr algn="ctr" defTabSz="914354" eaLnBrk="1" fontAlgn="auto" hangingPunct="1">
                    <a:spcBef>
                      <a:spcPts val="0"/>
                    </a:spcBef>
                    <a:spcAft>
                      <a:spcPts val="0"/>
                    </a:spcAft>
                    <a:defRPr/>
                  </a:pPr>
                  <a:endParaRPr lang="en-GB" sz="1400" kern="0" dirty="0">
                    <a:solidFill>
                      <a:srgbClr val="FFFFFF"/>
                    </a:solidFill>
                    <a:latin typeface="Calibri"/>
                    <a:cs typeface="Arial"/>
                    <a:sym typeface="Arial"/>
                  </a:endParaRPr>
                </a:p>
              </p:txBody>
            </p:sp>
            <p:sp>
              <p:nvSpPr>
                <p:cNvPr id="40" name="Oval 39">
                  <a:extLst>
                    <a:ext uri="{FF2B5EF4-FFF2-40B4-BE49-F238E27FC236}"/>
                  </a:extLst>
                </p:cNvPr>
                <p:cNvSpPr/>
                <p:nvPr/>
              </p:nvSpPr>
              <p:spPr>
                <a:xfrm>
                  <a:off x="3768629" y="2797305"/>
                  <a:ext cx="1605310" cy="1582165"/>
                </a:xfrm>
                <a:prstGeom prst="ellipse">
                  <a:avLst/>
                </a:prstGeom>
                <a:solidFill>
                  <a:srgbClr val="FFFFFF"/>
                </a:solidFill>
                <a:ln w="12700" cap="flat" cmpd="sng" algn="ctr">
                  <a:solidFill>
                    <a:srgbClr val="D7D4BE">
                      <a:lumMod val="50000"/>
                    </a:srgbClr>
                  </a:solidFill>
                  <a:prstDash val="sysDot"/>
                </a:ln>
                <a:effectLst/>
              </p:spPr>
              <p:txBody>
                <a:bodyPr anchor="ctr"/>
                <a:lstStyle/>
                <a:p>
                  <a:pPr algn="ctr" defTabSz="914354" eaLnBrk="1" fontAlgn="auto" hangingPunct="1">
                    <a:spcBef>
                      <a:spcPts val="0"/>
                    </a:spcBef>
                    <a:spcAft>
                      <a:spcPts val="0"/>
                    </a:spcAft>
                    <a:defRPr/>
                  </a:pPr>
                  <a:endParaRPr lang="en-GB" sz="1400" kern="0" dirty="0">
                    <a:solidFill>
                      <a:srgbClr val="FFFFFF"/>
                    </a:solidFill>
                    <a:latin typeface="Calibri"/>
                    <a:cs typeface="Arial"/>
                    <a:sym typeface="Arial"/>
                  </a:endParaRPr>
                </a:p>
              </p:txBody>
            </p:sp>
          </p:grpSp>
        </p:grpSp>
        <p:sp>
          <p:nvSpPr>
            <p:cNvPr id="6" name="Oval 5">
              <a:extLst>
                <a:ext uri="{FF2B5EF4-FFF2-40B4-BE49-F238E27FC236}"/>
              </a:extLst>
            </p:cNvPr>
            <p:cNvSpPr/>
            <p:nvPr/>
          </p:nvSpPr>
          <p:spPr>
            <a:xfrm rot="19715638">
              <a:off x="3483759" y="1144473"/>
              <a:ext cx="1293249" cy="3185526"/>
            </a:xfrm>
            <a:prstGeom prst="ellipse">
              <a:avLst/>
            </a:prstGeom>
            <a:solidFill>
              <a:srgbClr val="E03C31">
                <a:alpha val="34902"/>
              </a:srgbClr>
            </a:solidFill>
            <a:ln w="25400" cap="flat" cmpd="sng" algn="ctr">
              <a:noFill/>
              <a:prstDash val="solid"/>
            </a:ln>
            <a:effectLst/>
          </p:spPr>
          <p:txBody>
            <a:bodyPr anchor="ctr"/>
            <a:lstStyle/>
            <a:p>
              <a:pPr algn="ctr" defTabSz="914354" eaLnBrk="1" fontAlgn="auto" hangingPunct="1">
                <a:spcBef>
                  <a:spcPts val="0"/>
                </a:spcBef>
                <a:spcAft>
                  <a:spcPts val="0"/>
                </a:spcAft>
                <a:defRPr/>
              </a:pPr>
              <a:endParaRPr lang="en-GB" sz="1400" kern="0" dirty="0">
                <a:solidFill>
                  <a:sysClr val="windowText" lastClr="000000"/>
                </a:solidFill>
                <a:latin typeface="Calibri"/>
                <a:cs typeface="Arial"/>
                <a:sym typeface="Arial"/>
              </a:endParaRPr>
            </a:p>
          </p:txBody>
        </p:sp>
        <p:sp>
          <p:nvSpPr>
            <p:cNvPr id="7" name="Oval 6">
              <a:extLst>
                <a:ext uri="{FF2B5EF4-FFF2-40B4-BE49-F238E27FC236}"/>
              </a:extLst>
            </p:cNvPr>
            <p:cNvSpPr/>
            <p:nvPr/>
          </p:nvSpPr>
          <p:spPr>
            <a:xfrm rot="8878706">
              <a:off x="4397070" y="2730962"/>
              <a:ext cx="1293249" cy="3212417"/>
            </a:xfrm>
            <a:prstGeom prst="ellipse">
              <a:avLst/>
            </a:prstGeom>
            <a:solidFill>
              <a:srgbClr val="960051">
                <a:alpha val="34902"/>
              </a:srgbClr>
            </a:solidFill>
            <a:ln w="25400" cap="flat" cmpd="sng" algn="ctr">
              <a:noFill/>
              <a:prstDash val="solid"/>
            </a:ln>
            <a:effectLst/>
          </p:spPr>
          <p:txBody>
            <a:bodyPr anchor="ctr"/>
            <a:lstStyle/>
            <a:p>
              <a:pPr algn="ctr" defTabSz="914354" eaLnBrk="1" fontAlgn="auto" hangingPunct="1">
                <a:spcBef>
                  <a:spcPts val="0"/>
                </a:spcBef>
                <a:spcAft>
                  <a:spcPts val="0"/>
                </a:spcAft>
                <a:defRPr/>
              </a:pPr>
              <a:endParaRPr lang="en-GB" sz="1400" kern="0" dirty="0">
                <a:solidFill>
                  <a:sysClr val="windowText" lastClr="000000"/>
                </a:solidFill>
                <a:latin typeface="Calibri"/>
                <a:cs typeface="Arial"/>
                <a:sym typeface="Arial"/>
              </a:endParaRPr>
            </a:p>
          </p:txBody>
        </p:sp>
        <p:sp>
          <p:nvSpPr>
            <p:cNvPr id="63505" name="TextBox 7"/>
            <p:cNvSpPr txBox="1">
              <a:spLocks noChangeArrowheads="1"/>
            </p:cNvSpPr>
            <p:nvPr/>
          </p:nvSpPr>
          <p:spPr bwMode="auto">
            <a:xfrm rot="-1909586">
              <a:off x="4884770" y="5531510"/>
              <a:ext cx="1938272" cy="311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defTabSz="912813"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defTabSz="912813"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1400">
                  <a:solidFill>
                    <a:srgbClr val="71003D"/>
                  </a:solidFill>
                  <a:sym typeface="Arial" panose="020B0604020202020204" pitchFamily="34" charset="0"/>
                </a:rPr>
                <a:t>Safe Birth</a:t>
              </a:r>
              <a:endParaRPr lang="en-GB" sz="1400">
                <a:solidFill>
                  <a:srgbClr val="71003D"/>
                </a:solidFill>
                <a:sym typeface="Arial" panose="020B0604020202020204" pitchFamily="34" charset="0"/>
              </a:endParaRPr>
            </a:p>
          </p:txBody>
        </p:sp>
        <p:sp>
          <p:nvSpPr>
            <p:cNvPr id="63506" name="TextBox 8"/>
            <p:cNvSpPr txBox="1">
              <a:spLocks noChangeArrowheads="1"/>
            </p:cNvSpPr>
            <p:nvPr/>
          </p:nvSpPr>
          <p:spPr bwMode="auto">
            <a:xfrm rot="-1884362">
              <a:off x="2582863" y="1197652"/>
              <a:ext cx="1484713" cy="393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1400">
                  <a:solidFill>
                    <a:srgbClr val="B2241B"/>
                  </a:solidFill>
                  <a:sym typeface="Arial" panose="020B0604020202020204" pitchFamily="34" charset="0"/>
                </a:rPr>
                <a:t>Last phase</a:t>
              </a:r>
              <a:endParaRPr lang="en-GB" sz="1400">
                <a:solidFill>
                  <a:srgbClr val="B2241B"/>
                </a:solidFill>
                <a:sym typeface="Arial" panose="020B0604020202020204" pitchFamily="34" charset="0"/>
              </a:endParaRPr>
            </a:p>
          </p:txBody>
        </p:sp>
        <p:sp>
          <p:nvSpPr>
            <p:cNvPr id="63507" name="TextBox 9"/>
            <p:cNvSpPr txBox="1">
              <a:spLocks noChangeArrowheads="1"/>
            </p:cNvSpPr>
            <p:nvPr/>
          </p:nvSpPr>
          <p:spPr bwMode="auto">
            <a:xfrm rot="1894126">
              <a:off x="4848123" y="1222229"/>
              <a:ext cx="1798655" cy="311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1400">
                  <a:solidFill>
                    <a:srgbClr val="008756"/>
                  </a:solidFill>
                  <a:sym typeface="Arial" panose="020B0604020202020204" pitchFamily="34" charset="0"/>
                </a:rPr>
                <a:t>Keep Well</a:t>
              </a:r>
              <a:endParaRPr lang="en-GB" sz="1400">
                <a:solidFill>
                  <a:srgbClr val="008756"/>
                </a:solidFill>
                <a:sym typeface="Arial" panose="020B0604020202020204" pitchFamily="34" charset="0"/>
              </a:endParaRPr>
            </a:p>
          </p:txBody>
        </p:sp>
        <p:sp>
          <p:nvSpPr>
            <p:cNvPr id="11" name="Oval 10">
              <a:extLst>
                <a:ext uri="{FF2B5EF4-FFF2-40B4-BE49-F238E27FC236}"/>
              </a:extLst>
            </p:cNvPr>
            <p:cNvSpPr/>
            <p:nvPr/>
          </p:nvSpPr>
          <p:spPr>
            <a:xfrm rot="12694126">
              <a:off x="3460012" y="2732755"/>
              <a:ext cx="1291423" cy="3183734"/>
            </a:xfrm>
            <a:prstGeom prst="ellipse">
              <a:avLst/>
            </a:prstGeom>
            <a:solidFill>
              <a:srgbClr val="F0B323">
                <a:alpha val="34902"/>
              </a:srgbClr>
            </a:solidFill>
            <a:ln w="25400" cap="flat" cmpd="sng" algn="ctr">
              <a:noFill/>
              <a:prstDash val="solid"/>
            </a:ln>
            <a:effectLst/>
          </p:spPr>
          <p:txBody>
            <a:bodyPr anchor="ctr"/>
            <a:lstStyle/>
            <a:p>
              <a:pPr algn="ctr" defTabSz="914354" eaLnBrk="1" fontAlgn="auto" hangingPunct="1">
                <a:spcBef>
                  <a:spcPts val="0"/>
                </a:spcBef>
                <a:spcAft>
                  <a:spcPts val="0"/>
                </a:spcAft>
                <a:defRPr/>
              </a:pPr>
              <a:endParaRPr lang="en-GB" sz="1400" kern="0" dirty="0">
                <a:solidFill>
                  <a:sysClr val="windowText" lastClr="000000"/>
                </a:solidFill>
                <a:latin typeface="Calibri"/>
                <a:cs typeface="Arial"/>
                <a:sym typeface="Arial"/>
              </a:endParaRPr>
            </a:p>
          </p:txBody>
        </p:sp>
        <p:sp>
          <p:nvSpPr>
            <p:cNvPr id="12" name="Oval 11">
              <a:extLst>
                <a:ext uri="{FF2B5EF4-FFF2-40B4-BE49-F238E27FC236}"/>
              </a:extLst>
            </p:cNvPr>
            <p:cNvSpPr/>
            <p:nvPr/>
          </p:nvSpPr>
          <p:spPr>
            <a:xfrm rot="1857194">
              <a:off x="4395243" y="1121168"/>
              <a:ext cx="1291423" cy="3212417"/>
            </a:xfrm>
            <a:prstGeom prst="ellipse">
              <a:avLst/>
            </a:prstGeom>
            <a:solidFill>
              <a:srgbClr val="92D050">
                <a:alpha val="34902"/>
              </a:srgbClr>
            </a:solidFill>
            <a:ln w="25400" cap="flat" cmpd="sng" algn="ctr">
              <a:noFill/>
              <a:prstDash val="solid"/>
            </a:ln>
            <a:effectLst/>
          </p:spPr>
          <p:txBody>
            <a:bodyPr anchor="ctr"/>
            <a:lstStyle/>
            <a:p>
              <a:pPr algn="ctr" eaLnBrk="1" fontAlgn="auto" hangingPunct="1">
                <a:spcBef>
                  <a:spcPts val="0"/>
                </a:spcBef>
                <a:spcAft>
                  <a:spcPts val="0"/>
                </a:spcAft>
                <a:defRPr/>
              </a:pPr>
              <a:endParaRPr lang="en-GB" sz="1400" kern="0" dirty="0">
                <a:solidFill>
                  <a:srgbClr val="FFFFFF"/>
                </a:solidFill>
                <a:latin typeface="Calibri"/>
                <a:cs typeface="Arial"/>
                <a:sym typeface="Arial"/>
              </a:endParaRPr>
            </a:p>
          </p:txBody>
        </p:sp>
        <p:sp>
          <p:nvSpPr>
            <p:cNvPr id="13" name="Oval 12">
              <a:extLst>
                <a:ext uri="{FF2B5EF4-FFF2-40B4-BE49-F238E27FC236}"/>
              </a:extLst>
            </p:cNvPr>
            <p:cNvSpPr/>
            <p:nvPr/>
          </p:nvSpPr>
          <p:spPr>
            <a:xfrm rot="16200000">
              <a:off x="3058531" y="2010267"/>
              <a:ext cx="1292496" cy="3185631"/>
            </a:xfrm>
            <a:prstGeom prst="ellipse">
              <a:avLst/>
            </a:prstGeom>
            <a:solidFill>
              <a:srgbClr val="009ACE">
                <a:alpha val="34902"/>
              </a:srgbClr>
            </a:solidFill>
            <a:ln w="25400" cap="flat" cmpd="sng" algn="ctr">
              <a:noFill/>
              <a:prstDash val="solid"/>
            </a:ln>
            <a:effectLst/>
          </p:spPr>
          <p:txBody>
            <a:bodyPr anchor="ctr"/>
            <a:lstStyle/>
            <a:p>
              <a:pPr algn="ctr" defTabSz="914354" eaLnBrk="1" fontAlgn="auto" hangingPunct="1">
                <a:spcBef>
                  <a:spcPts val="0"/>
                </a:spcBef>
                <a:spcAft>
                  <a:spcPts val="0"/>
                </a:spcAft>
                <a:defRPr/>
              </a:pPr>
              <a:endParaRPr lang="en-GB" sz="1400" kern="0" dirty="0">
                <a:solidFill>
                  <a:sysClr val="windowText" lastClr="000000"/>
                </a:solidFill>
                <a:latin typeface="Calibri"/>
                <a:cs typeface="Arial"/>
                <a:sym typeface="Arial"/>
              </a:endParaRPr>
            </a:p>
          </p:txBody>
        </p:sp>
        <p:sp>
          <p:nvSpPr>
            <p:cNvPr id="14" name="Oval 13">
              <a:extLst>
                <a:ext uri="{FF2B5EF4-FFF2-40B4-BE49-F238E27FC236}"/>
              </a:extLst>
            </p:cNvPr>
            <p:cNvSpPr/>
            <p:nvPr/>
          </p:nvSpPr>
          <p:spPr>
            <a:xfrm rot="5363068">
              <a:off x="4828530" y="1997481"/>
              <a:ext cx="1292496" cy="3211203"/>
            </a:xfrm>
            <a:prstGeom prst="ellipse">
              <a:avLst/>
            </a:prstGeom>
            <a:solidFill>
              <a:srgbClr val="FFFF00">
                <a:alpha val="34902"/>
              </a:srgbClr>
            </a:solidFill>
            <a:ln w="25400" cap="flat" cmpd="sng" algn="ctr">
              <a:noFill/>
              <a:prstDash val="solid"/>
            </a:ln>
            <a:effectLst/>
          </p:spPr>
          <p:txBody>
            <a:bodyPr anchor="ctr"/>
            <a:lstStyle/>
            <a:p>
              <a:pPr algn="ctr" eaLnBrk="1" fontAlgn="auto" hangingPunct="1">
                <a:spcBef>
                  <a:spcPts val="0"/>
                </a:spcBef>
                <a:spcAft>
                  <a:spcPts val="0"/>
                </a:spcAft>
                <a:defRPr/>
              </a:pPr>
              <a:endParaRPr lang="en-GB" sz="1400" kern="0" dirty="0">
                <a:solidFill>
                  <a:srgbClr val="FFFFFF"/>
                </a:solidFill>
                <a:latin typeface="Calibri"/>
                <a:cs typeface="Arial"/>
                <a:sym typeface="Arial"/>
              </a:endParaRPr>
            </a:p>
          </p:txBody>
        </p:sp>
        <p:cxnSp>
          <p:nvCxnSpPr>
            <p:cNvPr id="63512" name="Straight Connector 14"/>
            <p:cNvCxnSpPr>
              <a:cxnSpLocks noChangeShapeType="1"/>
            </p:cNvCxnSpPr>
            <p:nvPr/>
          </p:nvCxnSpPr>
          <p:spPr bwMode="auto">
            <a:xfrm flipH="1">
              <a:off x="4039862" y="3379108"/>
              <a:ext cx="702365" cy="613383"/>
            </a:xfrm>
            <a:prstGeom prst="line">
              <a:avLst/>
            </a:prstGeom>
            <a:noFill/>
            <a:ln w="19050" algn="ctr">
              <a:solidFill>
                <a:srgbClr val="B0AB7F"/>
              </a:solidFill>
              <a:prstDash val="dash"/>
              <a:round/>
              <a:headEnd/>
              <a:tailEnd/>
            </a:ln>
            <a:extLst>
              <a:ext uri="{909E8E84-426E-40DD-AFC4-6F175D3DCCD1}">
                <a14:hiddenFill xmlns:a14="http://schemas.microsoft.com/office/drawing/2010/main">
                  <a:noFill/>
                </a14:hiddenFill>
              </a:ext>
            </a:extLst>
          </p:spPr>
        </p:cxnSp>
        <p:cxnSp>
          <p:nvCxnSpPr>
            <p:cNvPr id="63513" name="Straight Connector 15"/>
            <p:cNvCxnSpPr>
              <a:cxnSpLocks noChangeShapeType="1"/>
            </p:cNvCxnSpPr>
            <p:nvPr/>
          </p:nvCxnSpPr>
          <p:spPr bwMode="auto">
            <a:xfrm>
              <a:off x="4355483" y="3379103"/>
              <a:ext cx="792531" cy="612635"/>
            </a:xfrm>
            <a:prstGeom prst="line">
              <a:avLst/>
            </a:prstGeom>
            <a:noFill/>
            <a:ln w="19050" algn="ctr">
              <a:solidFill>
                <a:srgbClr val="B0AB7F"/>
              </a:solidFill>
              <a:prstDash val="dash"/>
              <a:round/>
              <a:headEnd/>
              <a:tailEnd/>
            </a:ln>
            <a:extLst>
              <a:ext uri="{909E8E84-426E-40DD-AFC4-6F175D3DCCD1}">
                <a14:hiddenFill xmlns:a14="http://schemas.microsoft.com/office/drawing/2010/main">
                  <a:noFill/>
                </a14:hiddenFill>
              </a:ext>
            </a:extLst>
          </p:spPr>
        </p:cxnSp>
        <p:cxnSp>
          <p:nvCxnSpPr>
            <p:cNvPr id="63514" name="Straight Connector 16"/>
            <p:cNvCxnSpPr>
              <a:cxnSpLocks noChangeShapeType="1"/>
              <a:stCxn id="30" idx="0"/>
            </p:cNvCxnSpPr>
            <p:nvPr/>
          </p:nvCxnSpPr>
          <p:spPr bwMode="auto">
            <a:xfrm flipH="1">
              <a:off x="4563773" y="2959344"/>
              <a:ext cx="1717" cy="453703"/>
            </a:xfrm>
            <a:prstGeom prst="line">
              <a:avLst/>
            </a:prstGeom>
            <a:noFill/>
            <a:ln w="19050" algn="ctr">
              <a:solidFill>
                <a:srgbClr val="B0AB7F"/>
              </a:solidFill>
              <a:prstDash val="dash"/>
              <a:round/>
              <a:headEnd/>
              <a:tailEnd/>
            </a:ln>
            <a:extLst>
              <a:ext uri="{909E8E84-426E-40DD-AFC4-6F175D3DCCD1}">
                <a14:hiddenFill xmlns:a14="http://schemas.microsoft.com/office/drawing/2010/main">
                  <a:noFill/>
                </a14:hiddenFill>
              </a:ext>
            </a:extLst>
          </p:spPr>
        </p:cxnSp>
        <p:grpSp>
          <p:nvGrpSpPr>
            <p:cNvPr id="63515" name="Group 17"/>
            <p:cNvGrpSpPr>
              <a:grpSpLocks/>
            </p:cNvGrpSpPr>
            <p:nvPr/>
          </p:nvGrpSpPr>
          <p:grpSpPr bwMode="auto">
            <a:xfrm>
              <a:off x="3158445" y="3325053"/>
              <a:ext cx="2806387" cy="1134591"/>
              <a:chOff x="3181074" y="3346349"/>
              <a:chExt cx="2806387" cy="1134592"/>
            </a:xfrm>
          </p:grpSpPr>
          <p:sp>
            <p:nvSpPr>
              <p:cNvPr id="31" name="TextBox 30">
                <a:extLst>
                  <a:ext uri="{FF2B5EF4-FFF2-40B4-BE49-F238E27FC236}"/>
                </a:extLst>
              </p:cNvPr>
              <p:cNvSpPr txBox="1"/>
              <p:nvPr/>
            </p:nvSpPr>
            <p:spPr>
              <a:xfrm>
                <a:off x="3181249" y="3363549"/>
                <a:ext cx="1366314" cy="668656"/>
              </a:xfrm>
              <a:prstGeom prst="rect">
                <a:avLst/>
              </a:prstGeom>
              <a:noFill/>
            </p:spPr>
            <p:txBody>
              <a:bodyPr>
                <a:spAutoFit/>
              </a:bodyPr>
              <a:lstStyle/>
              <a:p>
                <a:pPr algn="ctr" defTabSz="914354" eaLnBrk="1" fontAlgn="auto" hangingPunct="1">
                  <a:spcBef>
                    <a:spcPts val="0"/>
                  </a:spcBef>
                  <a:spcAft>
                    <a:spcPts val="0"/>
                  </a:spcAft>
                  <a:defRPr/>
                </a:pPr>
                <a:r>
                  <a:rPr lang="en-US" sz="1400" i="1" kern="0" dirty="0">
                    <a:solidFill>
                      <a:sysClr val="windowText" lastClr="000000"/>
                    </a:solidFill>
                    <a:latin typeface="Calibri"/>
                    <a:cs typeface="Arial"/>
                    <a:sym typeface="Arial"/>
                  </a:rPr>
                  <a:t>Physical </a:t>
                </a:r>
                <a:r>
                  <a:rPr lang="en-US" sz="1400" dirty="0">
                    <a:solidFill>
                      <a:sysClr val="windowText" lastClr="000000"/>
                    </a:solidFill>
                    <a:latin typeface="Calibri"/>
                    <a:cs typeface="Arial"/>
                    <a:sym typeface="Arial"/>
                  </a:rPr>
                  <a:t>wellbeing</a:t>
                </a:r>
                <a:endParaRPr lang="en-GB" sz="1400" i="1" kern="0" dirty="0">
                  <a:solidFill>
                    <a:sysClr val="windowText" lastClr="000000"/>
                  </a:solidFill>
                  <a:latin typeface="Calibri"/>
                  <a:cs typeface="Arial"/>
                  <a:sym typeface="Arial"/>
                </a:endParaRPr>
              </a:p>
            </p:txBody>
          </p:sp>
          <p:sp>
            <p:nvSpPr>
              <p:cNvPr id="32" name="TextBox 31">
                <a:extLst>
                  <a:ext uri="{FF2B5EF4-FFF2-40B4-BE49-F238E27FC236}"/>
                </a:extLst>
              </p:cNvPr>
              <p:cNvSpPr txBox="1"/>
              <p:nvPr/>
            </p:nvSpPr>
            <p:spPr>
              <a:xfrm>
                <a:off x="4622454" y="3345623"/>
                <a:ext cx="1364488" cy="668656"/>
              </a:xfrm>
              <a:prstGeom prst="rect">
                <a:avLst/>
              </a:prstGeom>
              <a:noFill/>
            </p:spPr>
            <p:txBody>
              <a:bodyPr>
                <a:spAutoFit/>
              </a:bodyPr>
              <a:lstStyle/>
              <a:p>
                <a:pPr algn="ctr" defTabSz="914354" eaLnBrk="1" fontAlgn="auto" hangingPunct="1">
                  <a:spcBef>
                    <a:spcPts val="0"/>
                  </a:spcBef>
                  <a:spcAft>
                    <a:spcPts val="0"/>
                  </a:spcAft>
                  <a:defRPr/>
                </a:pPr>
                <a:r>
                  <a:rPr lang="en-US" sz="1400" i="1" kern="0" dirty="0">
                    <a:solidFill>
                      <a:sysClr val="windowText" lastClr="000000"/>
                    </a:solidFill>
                    <a:latin typeface="Calibri"/>
                    <a:cs typeface="Arial"/>
                    <a:sym typeface="Arial"/>
                  </a:rPr>
                  <a:t>Mental </a:t>
                </a:r>
                <a:r>
                  <a:rPr lang="en-US" sz="1400" dirty="0">
                    <a:solidFill>
                      <a:sysClr val="windowText" lastClr="000000"/>
                    </a:solidFill>
                    <a:latin typeface="Calibri"/>
                    <a:cs typeface="Arial"/>
                    <a:sym typeface="Arial"/>
                  </a:rPr>
                  <a:t>wellbeing</a:t>
                </a:r>
                <a:endParaRPr lang="en-GB" sz="1400" i="1" kern="0" dirty="0">
                  <a:solidFill>
                    <a:sysClr val="windowText" lastClr="000000"/>
                  </a:solidFill>
                  <a:latin typeface="Calibri"/>
                  <a:cs typeface="Arial"/>
                  <a:sym typeface="Arial"/>
                </a:endParaRPr>
              </a:p>
            </p:txBody>
          </p:sp>
          <p:sp>
            <p:nvSpPr>
              <p:cNvPr id="33" name="TextBox 32">
                <a:extLst>
                  <a:ext uri="{FF2B5EF4-FFF2-40B4-BE49-F238E27FC236}"/>
                </a:extLst>
              </p:cNvPr>
              <p:cNvSpPr txBox="1"/>
              <p:nvPr/>
            </p:nvSpPr>
            <p:spPr>
              <a:xfrm>
                <a:off x="3928337" y="3811710"/>
                <a:ext cx="1430247" cy="668656"/>
              </a:xfrm>
              <a:prstGeom prst="rect">
                <a:avLst/>
              </a:prstGeom>
              <a:noFill/>
            </p:spPr>
            <p:txBody>
              <a:bodyPr>
                <a:spAutoFit/>
              </a:bodyPr>
              <a:lstStyle/>
              <a:p>
                <a:pPr algn="ctr" defTabSz="914354" eaLnBrk="1" fontAlgn="auto" hangingPunct="1">
                  <a:spcBef>
                    <a:spcPts val="0"/>
                  </a:spcBef>
                  <a:spcAft>
                    <a:spcPts val="0"/>
                  </a:spcAft>
                  <a:defRPr/>
                </a:pPr>
                <a:r>
                  <a:rPr lang="en-US" sz="1400" i="1" kern="0" dirty="0">
                    <a:solidFill>
                      <a:sysClr val="windowText" lastClr="000000"/>
                    </a:solidFill>
                    <a:latin typeface="Calibri"/>
                    <a:cs typeface="Arial"/>
                    <a:sym typeface="Arial"/>
                  </a:rPr>
                  <a:t>Social </a:t>
                </a:r>
                <a:r>
                  <a:rPr lang="en-US" sz="1400" dirty="0">
                    <a:solidFill>
                      <a:sysClr val="windowText" lastClr="000000"/>
                    </a:solidFill>
                    <a:latin typeface="Calibri"/>
                    <a:cs typeface="Arial"/>
                    <a:sym typeface="Arial"/>
                  </a:rPr>
                  <a:t>wellbeing</a:t>
                </a:r>
                <a:endParaRPr lang="en-GB" sz="1400" i="1" kern="0" dirty="0">
                  <a:solidFill>
                    <a:sysClr val="windowText" lastClr="000000"/>
                  </a:solidFill>
                  <a:latin typeface="Calibri"/>
                  <a:cs typeface="Arial"/>
                  <a:sym typeface="Arial"/>
                </a:endParaRPr>
              </a:p>
            </p:txBody>
          </p:sp>
        </p:grpSp>
        <p:pic>
          <p:nvPicPr>
            <p:cNvPr id="63516" name="Picture 1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385142" y="3326064"/>
              <a:ext cx="429248" cy="44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3517" name="Group 19"/>
            <p:cNvGrpSpPr>
              <a:grpSpLocks/>
            </p:cNvGrpSpPr>
            <p:nvPr/>
          </p:nvGrpSpPr>
          <p:grpSpPr bwMode="auto">
            <a:xfrm>
              <a:off x="3652181" y="1529843"/>
              <a:ext cx="1858392" cy="3405179"/>
              <a:chOff x="3949035" y="1778147"/>
              <a:chExt cx="1858392" cy="3405179"/>
            </a:xfrm>
          </p:grpSpPr>
          <p:grpSp>
            <p:nvGrpSpPr>
              <p:cNvPr id="63521" name="Group 23"/>
              <p:cNvGrpSpPr>
                <a:grpSpLocks/>
              </p:cNvGrpSpPr>
              <p:nvPr/>
            </p:nvGrpSpPr>
            <p:grpSpPr bwMode="auto">
              <a:xfrm>
                <a:off x="4052570" y="2070016"/>
                <a:ext cx="1603436" cy="3113310"/>
                <a:chOff x="3665670" y="1679154"/>
                <a:chExt cx="1813596" cy="3421880"/>
              </a:xfrm>
            </p:grpSpPr>
            <p:sp>
              <p:nvSpPr>
                <p:cNvPr id="26" name="Rectangle 25">
                  <a:extLst>
                    <a:ext uri="{FF2B5EF4-FFF2-40B4-BE49-F238E27FC236}"/>
                  </a:extLst>
                </p:cNvPr>
                <p:cNvSpPr/>
                <p:nvPr/>
              </p:nvSpPr>
              <p:spPr>
                <a:xfrm>
                  <a:off x="3673193" y="2006434"/>
                  <a:ext cx="1795387" cy="735456"/>
                </a:xfrm>
                <a:prstGeom prst="rect">
                  <a:avLst/>
                </a:prstGeom>
                <a:noFill/>
                <a:ln w="3175" cap="flat" cmpd="sng" algn="ctr">
                  <a:noFill/>
                  <a:prstDash val="solid"/>
                </a:ln>
                <a:effectLst/>
              </p:spPr>
              <p:txBody>
                <a:bodyPr spcFirstLastPara="1" anchor="ctr">
                  <a:prstTxWarp prst="textArchUp">
                    <a:avLst/>
                  </a:prstTxWarp>
                </a:bodyPr>
                <a:lstStyle/>
                <a:p>
                  <a:pPr algn="ctr" defTabSz="914354" eaLnBrk="1" fontAlgn="auto" hangingPunct="1">
                    <a:spcBef>
                      <a:spcPts val="0"/>
                    </a:spcBef>
                    <a:spcAft>
                      <a:spcPts val="0"/>
                    </a:spcAft>
                    <a:defRPr/>
                  </a:pPr>
                  <a:r>
                    <a:rPr lang="en-US" sz="1400" kern="0" dirty="0">
                      <a:solidFill>
                        <a:sysClr val="windowText" lastClr="000000"/>
                      </a:solidFill>
                      <a:latin typeface="Calibri"/>
                      <a:cs typeface="Arial"/>
                      <a:sym typeface="Arial"/>
                    </a:rPr>
                    <a:t>Primary  Care</a:t>
                  </a:r>
                  <a:endParaRPr lang="en-GB" sz="1400" kern="0" dirty="0">
                    <a:solidFill>
                      <a:sysClr val="windowText" lastClr="000000"/>
                    </a:solidFill>
                    <a:latin typeface="Calibri"/>
                    <a:cs typeface="Arial"/>
                    <a:sym typeface="Arial"/>
                  </a:endParaRPr>
                </a:p>
              </p:txBody>
            </p:sp>
            <p:sp>
              <p:nvSpPr>
                <p:cNvPr id="27" name="Rectangle 26">
                  <a:extLst>
                    <a:ext uri="{FF2B5EF4-FFF2-40B4-BE49-F238E27FC236}"/>
                  </a:extLst>
                </p:cNvPr>
                <p:cNvSpPr/>
                <p:nvPr/>
              </p:nvSpPr>
              <p:spPr>
                <a:xfrm>
                  <a:off x="3683878" y="2611956"/>
                  <a:ext cx="1795388" cy="1531208"/>
                </a:xfrm>
                <a:prstGeom prst="rect">
                  <a:avLst/>
                </a:prstGeom>
                <a:noFill/>
                <a:ln w="3175" cap="flat" cmpd="sng" algn="ctr">
                  <a:noFill/>
                  <a:prstDash val="solid"/>
                </a:ln>
                <a:effectLst/>
              </p:spPr>
              <p:txBody>
                <a:bodyPr spcFirstLastPara="1" anchor="ctr">
                  <a:prstTxWarp prst="textArchUp">
                    <a:avLst/>
                  </a:prstTxWarp>
                </a:bodyPr>
                <a:lstStyle/>
                <a:p>
                  <a:pPr algn="ctr" defTabSz="914354" eaLnBrk="1" fontAlgn="auto" hangingPunct="1">
                    <a:spcBef>
                      <a:spcPts val="0"/>
                    </a:spcBef>
                    <a:spcAft>
                      <a:spcPts val="0"/>
                    </a:spcAft>
                    <a:defRPr/>
                  </a:pPr>
                  <a:r>
                    <a:rPr lang="en-US" sz="1400" kern="0" dirty="0">
                      <a:solidFill>
                        <a:sysClr val="windowText" lastClr="000000"/>
                      </a:solidFill>
                      <a:latin typeface="Calibri"/>
                      <a:cs typeface="Arial"/>
                      <a:sym typeface="Arial"/>
                    </a:rPr>
                    <a:t>Healthy Communities</a:t>
                  </a:r>
                  <a:endParaRPr lang="en-GB" sz="1400" kern="0" dirty="0">
                    <a:solidFill>
                      <a:sysClr val="windowText" lastClr="000000"/>
                    </a:solidFill>
                    <a:latin typeface="Calibri"/>
                    <a:cs typeface="Arial"/>
                    <a:sym typeface="Arial"/>
                  </a:endParaRPr>
                </a:p>
              </p:txBody>
            </p:sp>
            <p:sp>
              <p:nvSpPr>
                <p:cNvPr id="28" name="Rectangle 27">
                  <a:extLst>
                    <a:ext uri="{FF2B5EF4-FFF2-40B4-BE49-F238E27FC236}"/>
                  </a:extLst>
                </p:cNvPr>
                <p:cNvSpPr/>
                <p:nvPr/>
              </p:nvSpPr>
              <p:spPr>
                <a:xfrm>
                  <a:off x="3665670" y="2328444"/>
                  <a:ext cx="1795389" cy="991248"/>
                </a:xfrm>
                <a:prstGeom prst="rect">
                  <a:avLst/>
                </a:prstGeom>
                <a:noFill/>
                <a:ln w="3175" cap="flat" cmpd="sng" algn="ctr">
                  <a:noFill/>
                  <a:prstDash val="solid"/>
                </a:ln>
                <a:effectLst/>
              </p:spPr>
              <p:txBody>
                <a:bodyPr spcFirstLastPara="1" anchor="ctr">
                  <a:prstTxWarp prst="textArchUp">
                    <a:avLst/>
                  </a:prstTxWarp>
                </a:bodyPr>
                <a:lstStyle/>
                <a:p>
                  <a:pPr algn="ctr" defTabSz="914354" eaLnBrk="1" fontAlgn="auto" hangingPunct="1">
                    <a:spcBef>
                      <a:spcPts val="0"/>
                    </a:spcBef>
                    <a:spcAft>
                      <a:spcPts val="0"/>
                    </a:spcAft>
                    <a:defRPr/>
                  </a:pPr>
                  <a:r>
                    <a:rPr lang="en-US" sz="1400" kern="0" dirty="0">
                      <a:solidFill>
                        <a:sysClr val="windowText" lastClr="000000"/>
                      </a:solidFill>
                      <a:latin typeface="Calibri"/>
                      <a:cs typeface="Arial"/>
                      <a:sym typeface="Arial"/>
                    </a:rPr>
                    <a:t>Virtual Care</a:t>
                  </a:r>
                  <a:endParaRPr lang="en-GB" sz="1400" kern="0" dirty="0">
                    <a:solidFill>
                      <a:sysClr val="windowText" lastClr="000000"/>
                    </a:solidFill>
                    <a:latin typeface="Calibri"/>
                    <a:cs typeface="Arial"/>
                    <a:sym typeface="Arial"/>
                  </a:endParaRPr>
                </a:p>
              </p:txBody>
            </p:sp>
            <p:sp>
              <p:nvSpPr>
                <p:cNvPr id="29" name="Rectangle 28">
                  <a:extLst>
                    <a:ext uri="{FF2B5EF4-FFF2-40B4-BE49-F238E27FC236}"/>
                  </a:extLst>
                </p:cNvPr>
                <p:cNvSpPr/>
                <p:nvPr/>
              </p:nvSpPr>
              <p:spPr>
                <a:xfrm>
                  <a:off x="3683878" y="1679154"/>
                  <a:ext cx="1795388" cy="763377"/>
                </a:xfrm>
                <a:prstGeom prst="rect">
                  <a:avLst/>
                </a:prstGeom>
                <a:noFill/>
                <a:ln w="3175" cap="flat" cmpd="sng" algn="ctr">
                  <a:noFill/>
                  <a:prstDash val="solid"/>
                </a:ln>
                <a:effectLst/>
              </p:spPr>
              <p:txBody>
                <a:bodyPr spcFirstLastPara="1" anchor="ctr">
                  <a:prstTxWarp prst="textArchUp">
                    <a:avLst/>
                  </a:prstTxWarp>
                </a:bodyPr>
                <a:lstStyle/>
                <a:p>
                  <a:pPr algn="ctr" defTabSz="914354" eaLnBrk="1" fontAlgn="auto" hangingPunct="1">
                    <a:spcBef>
                      <a:spcPts val="0"/>
                    </a:spcBef>
                    <a:spcAft>
                      <a:spcPts val="0"/>
                    </a:spcAft>
                    <a:defRPr/>
                  </a:pPr>
                  <a:r>
                    <a:rPr lang="en-GB" sz="1400" kern="0" dirty="0">
                      <a:solidFill>
                        <a:sysClr val="windowText" lastClr="000000"/>
                      </a:solidFill>
                      <a:latin typeface="Calibri"/>
                      <a:cs typeface="Arial"/>
                      <a:sym typeface="Arial"/>
                    </a:rPr>
                    <a:t>General </a:t>
                  </a:r>
                  <a:r>
                    <a:rPr lang="en-US" sz="1400" kern="0" dirty="0">
                      <a:solidFill>
                        <a:sysClr val="windowText" lastClr="000000"/>
                      </a:solidFill>
                      <a:latin typeface="Calibri"/>
                      <a:cs typeface="Arial"/>
                      <a:sym typeface="Arial"/>
                    </a:rPr>
                    <a:t>Hospital Care</a:t>
                  </a:r>
                  <a:endParaRPr lang="en-GB" sz="1400" kern="0" dirty="0">
                    <a:solidFill>
                      <a:sysClr val="windowText" lastClr="000000"/>
                    </a:solidFill>
                    <a:latin typeface="Calibri"/>
                    <a:cs typeface="Arial"/>
                    <a:sym typeface="Arial"/>
                  </a:endParaRPr>
                </a:p>
              </p:txBody>
            </p:sp>
            <p:sp>
              <p:nvSpPr>
                <p:cNvPr id="30" name="Rectangle 29">
                  <a:extLst>
                    <a:ext uri="{FF2B5EF4-FFF2-40B4-BE49-F238E27FC236}"/>
                  </a:extLst>
                </p:cNvPr>
                <p:cNvSpPr/>
                <p:nvPr/>
              </p:nvSpPr>
              <p:spPr>
                <a:xfrm>
                  <a:off x="3683878" y="2929537"/>
                  <a:ext cx="1795388" cy="2171497"/>
                </a:xfrm>
                <a:prstGeom prst="rect">
                  <a:avLst/>
                </a:prstGeom>
                <a:noFill/>
                <a:ln w="3175" cap="flat" cmpd="sng" algn="ctr">
                  <a:noFill/>
                  <a:prstDash val="solid"/>
                </a:ln>
                <a:effectLst/>
              </p:spPr>
              <p:txBody>
                <a:bodyPr spcFirstLastPara="1" anchor="ctr">
                  <a:prstTxWarp prst="textArchUp">
                    <a:avLst/>
                  </a:prstTxWarp>
                </a:bodyPr>
                <a:lstStyle/>
                <a:p>
                  <a:pPr algn="ctr" defTabSz="914354" eaLnBrk="1" fontAlgn="auto" hangingPunct="1">
                    <a:spcBef>
                      <a:spcPts val="0"/>
                    </a:spcBef>
                    <a:spcAft>
                      <a:spcPts val="0"/>
                    </a:spcAft>
                    <a:defRPr/>
                  </a:pPr>
                  <a:r>
                    <a:rPr lang="en-US" sz="1400" kern="0" dirty="0">
                      <a:solidFill>
                        <a:sysClr val="windowText" lastClr="000000"/>
                      </a:solidFill>
                      <a:latin typeface="Calibri"/>
                      <a:cs typeface="Arial"/>
                      <a:sym typeface="Arial"/>
                    </a:rPr>
                    <a:t>Activated Person</a:t>
                  </a:r>
                  <a:endParaRPr lang="en-GB" sz="1400" kern="0" dirty="0">
                    <a:solidFill>
                      <a:sysClr val="windowText" lastClr="000000"/>
                    </a:solidFill>
                    <a:latin typeface="Calibri"/>
                    <a:cs typeface="Arial"/>
                    <a:sym typeface="Arial"/>
                  </a:endParaRPr>
                </a:p>
              </p:txBody>
            </p:sp>
          </p:grpSp>
          <p:sp>
            <p:nvSpPr>
              <p:cNvPr id="25" name="Rectangle 24">
                <a:extLst>
                  <a:ext uri="{FF2B5EF4-FFF2-40B4-BE49-F238E27FC236}"/>
                </a:extLst>
              </p:cNvPr>
              <p:cNvSpPr/>
              <p:nvPr/>
            </p:nvSpPr>
            <p:spPr>
              <a:xfrm>
                <a:off x="3949035" y="1778147"/>
                <a:ext cx="1858392" cy="534261"/>
              </a:xfrm>
              <a:prstGeom prst="rect">
                <a:avLst/>
              </a:prstGeom>
              <a:noFill/>
              <a:ln w="3175" cap="flat" cmpd="sng" algn="ctr">
                <a:noFill/>
                <a:prstDash val="solid"/>
              </a:ln>
              <a:effectLst/>
            </p:spPr>
            <p:txBody>
              <a:bodyPr spcFirstLastPara="1" anchor="ctr">
                <a:prstTxWarp prst="textArchUp">
                  <a:avLst>
                    <a:gd name="adj" fmla="val 10979268"/>
                  </a:avLst>
                </a:prstTxWarp>
              </a:bodyPr>
              <a:lstStyle/>
              <a:p>
                <a:pPr algn="ctr" defTabSz="914354" eaLnBrk="1" fontAlgn="auto" hangingPunct="1">
                  <a:spcBef>
                    <a:spcPts val="0"/>
                  </a:spcBef>
                  <a:spcAft>
                    <a:spcPts val="0"/>
                  </a:spcAft>
                  <a:defRPr/>
                </a:pPr>
                <a:r>
                  <a:rPr lang="en-US" sz="1400" kern="0" dirty="0">
                    <a:solidFill>
                      <a:sysClr val="windowText" lastClr="000000"/>
                    </a:solidFill>
                    <a:latin typeface="Calibri"/>
                    <a:cs typeface="Arial"/>
                    <a:sym typeface="Arial"/>
                  </a:rPr>
                  <a:t>Specialized Hospital Care</a:t>
                </a:r>
                <a:endParaRPr lang="en-GB" sz="1400" kern="0" dirty="0">
                  <a:solidFill>
                    <a:sysClr val="windowText" lastClr="000000"/>
                  </a:solidFill>
                  <a:latin typeface="Calibri"/>
                  <a:cs typeface="Arial"/>
                  <a:sym typeface="Arial"/>
                </a:endParaRPr>
              </a:p>
            </p:txBody>
          </p:sp>
        </p:grpSp>
        <p:sp>
          <p:nvSpPr>
            <p:cNvPr id="63518" name="TextBox 20"/>
            <p:cNvSpPr txBox="1">
              <a:spLocks noChangeArrowheads="1"/>
            </p:cNvSpPr>
            <p:nvPr/>
          </p:nvSpPr>
          <p:spPr bwMode="auto">
            <a:xfrm rot="1982770">
              <a:off x="2405349" y="5584418"/>
              <a:ext cx="1871974" cy="393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defTabSz="912813"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defTabSz="912813"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1400">
                  <a:solidFill>
                    <a:srgbClr val="C18C0D"/>
                  </a:solidFill>
                  <a:sym typeface="Arial" panose="020B0604020202020204" pitchFamily="34" charset="0"/>
                </a:rPr>
                <a:t>Urgent Care</a:t>
              </a:r>
              <a:endParaRPr lang="en-GB" sz="1400">
                <a:solidFill>
                  <a:srgbClr val="C18C0D"/>
                </a:solidFill>
                <a:sym typeface="Arial" panose="020B0604020202020204" pitchFamily="34" charset="0"/>
              </a:endParaRPr>
            </a:p>
          </p:txBody>
        </p:sp>
        <p:sp>
          <p:nvSpPr>
            <p:cNvPr id="63519" name="TextBox 21"/>
            <p:cNvSpPr txBox="1">
              <a:spLocks noChangeArrowheads="1"/>
            </p:cNvSpPr>
            <p:nvPr/>
          </p:nvSpPr>
          <p:spPr bwMode="auto">
            <a:xfrm rot="-5400000">
              <a:off x="1454870" y="3477711"/>
              <a:ext cx="1703443" cy="38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1400">
                  <a:solidFill>
                    <a:srgbClr val="00749B"/>
                  </a:solidFill>
                  <a:sym typeface="Arial" panose="020B0604020202020204" pitchFamily="34" charset="0"/>
                </a:rPr>
                <a:t>Chronic Care</a:t>
              </a:r>
              <a:endParaRPr lang="en-GB" sz="1400">
                <a:solidFill>
                  <a:srgbClr val="00749B"/>
                </a:solidFill>
                <a:sym typeface="Arial" panose="020B0604020202020204" pitchFamily="34" charset="0"/>
              </a:endParaRPr>
            </a:p>
          </p:txBody>
        </p:sp>
        <p:sp>
          <p:nvSpPr>
            <p:cNvPr id="63520" name="TextBox 22"/>
            <p:cNvSpPr txBox="1">
              <a:spLocks noChangeArrowheads="1"/>
            </p:cNvSpPr>
            <p:nvPr/>
          </p:nvSpPr>
          <p:spPr bwMode="auto">
            <a:xfrm rot="5400000">
              <a:off x="6075756" y="3393819"/>
              <a:ext cx="1715862" cy="38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defTabSz="912813"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defTabSz="912813"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defTabSz="912813"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defTabSz="91281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eaLnBrk="1" hangingPunct="1">
                <a:lnSpc>
                  <a:spcPct val="100000"/>
                </a:lnSpc>
                <a:spcBef>
                  <a:spcPct val="0"/>
                </a:spcBef>
                <a:spcAft>
                  <a:spcPct val="0"/>
                </a:spcAft>
                <a:buClrTx/>
                <a:buSzTx/>
                <a:buFontTx/>
                <a:buNone/>
              </a:pPr>
              <a:r>
                <a:rPr lang="en-US" sz="1400">
                  <a:solidFill>
                    <a:srgbClr val="9CA700"/>
                  </a:solidFill>
                  <a:sym typeface="Arial" panose="020B0604020202020204" pitchFamily="34" charset="0"/>
                </a:rPr>
                <a:t>Planned Care</a:t>
              </a:r>
              <a:endParaRPr lang="en-GB" sz="1400">
                <a:solidFill>
                  <a:srgbClr val="9CA700"/>
                </a:solidFill>
                <a:sym typeface="Arial" panose="020B0604020202020204" pitchFamily="34" charset="0"/>
              </a:endParaRPr>
            </a:p>
          </p:txBody>
        </p:sp>
      </p:grpSp>
      <p:grpSp>
        <p:nvGrpSpPr>
          <p:cNvPr id="63493" name="Group 86"/>
          <p:cNvGrpSpPr>
            <a:grpSpLocks/>
          </p:cNvGrpSpPr>
          <p:nvPr/>
        </p:nvGrpSpPr>
        <p:grpSpPr bwMode="auto">
          <a:xfrm>
            <a:off x="5194300" y="2057400"/>
            <a:ext cx="3746500" cy="1474788"/>
            <a:chOff x="5148064" y="4942722"/>
            <a:chExt cx="3745983" cy="1474610"/>
          </a:xfrm>
        </p:grpSpPr>
        <p:sp>
          <p:nvSpPr>
            <p:cNvPr id="80" name="Arrow: Chevron 79">
              <a:extLst>
                <a:ext uri="{FF2B5EF4-FFF2-40B4-BE49-F238E27FC236}"/>
              </a:extLst>
            </p:cNvPr>
            <p:cNvSpPr/>
            <p:nvPr/>
          </p:nvSpPr>
          <p:spPr>
            <a:xfrm>
              <a:off x="6371858" y="4972881"/>
              <a:ext cx="2522189" cy="1398418"/>
            </a:xfrm>
            <a:prstGeom prst="chevron">
              <a:avLst>
                <a:gd name="adj" fmla="val 32655"/>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nSpc>
                  <a:spcPct val="90000"/>
                </a:lnSpc>
                <a:defRPr/>
              </a:pPr>
              <a:r>
                <a:rPr lang="en-US" b="1" dirty="0">
                  <a:solidFill>
                    <a:schemeClr val="bg2"/>
                  </a:solidFill>
                  <a:latin typeface="Arial" pitchFamily="34" charset="0"/>
                  <a:cs typeface="Arial" pitchFamily="34" charset="0"/>
                </a:rPr>
                <a:t>Six Systems of Care</a:t>
              </a:r>
            </a:p>
            <a:p>
              <a:pPr>
                <a:lnSpc>
                  <a:spcPct val="90000"/>
                </a:lnSpc>
                <a:defRPr/>
              </a:pPr>
              <a:r>
                <a:rPr lang="en-US" sz="1400" dirty="0">
                  <a:solidFill>
                    <a:schemeClr val="tx1"/>
                  </a:solidFill>
                  <a:latin typeface="Arial" pitchFamily="34" charset="0"/>
                  <a:cs typeface="Arial" pitchFamily="34" charset="0"/>
                </a:rPr>
                <a:t>Draws the patient journey through clinical pathways</a:t>
              </a:r>
            </a:p>
          </p:txBody>
        </p:sp>
        <p:pic>
          <p:nvPicPr>
            <p:cNvPr id="63501" name="Picture 78"/>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48064" y="4942722"/>
              <a:ext cx="1522050" cy="147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 name="Shape 40">
            <a:extLst>
              <a:ext uri="{FF2B5EF4-FFF2-40B4-BE49-F238E27FC236}"/>
            </a:extLst>
          </p:cNvPr>
          <p:cNvSpPr/>
          <p:nvPr/>
        </p:nvSpPr>
        <p:spPr>
          <a:xfrm rot="10026110" flipH="1" flipV="1">
            <a:off x="4076700" y="3103563"/>
            <a:ext cx="1100138" cy="874712"/>
          </a:xfrm>
          <a:prstGeom prst="swooshArrow">
            <a:avLst>
              <a:gd name="adj1" fmla="val 16310"/>
              <a:gd name="adj2" fmla="val 32707"/>
            </a:avLst>
          </a:prstGeom>
          <a:solidFill>
            <a:srgbClr val="EFEEEC"/>
          </a:solidFill>
          <a:ln>
            <a:noFill/>
          </a:ln>
          <a:effectLst>
            <a:outerShdw blurRad="50800" dist="38100" dir="2700015" rotWithShape="0">
              <a:schemeClr val="tx1">
                <a:alpha val="4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en-US" dirty="0"/>
          </a:p>
        </p:txBody>
      </p:sp>
      <p:sp>
        <p:nvSpPr>
          <p:cNvPr id="44" name="Shape 43">
            <a:extLst>
              <a:ext uri="{FF2B5EF4-FFF2-40B4-BE49-F238E27FC236}"/>
            </a:extLst>
          </p:cNvPr>
          <p:cNvSpPr/>
          <p:nvPr/>
        </p:nvSpPr>
        <p:spPr>
          <a:xfrm rot="11573890" flipH="1">
            <a:off x="4076700" y="4475163"/>
            <a:ext cx="1100138" cy="874712"/>
          </a:xfrm>
          <a:prstGeom prst="swooshArrow">
            <a:avLst>
              <a:gd name="adj1" fmla="val 16310"/>
              <a:gd name="adj2" fmla="val 32707"/>
            </a:avLst>
          </a:prstGeom>
          <a:solidFill>
            <a:srgbClr val="EFEEEC"/>
          </a:solidFill>
          <a:ln>
            <a:noFill/>
          </a:ln>
          <a:effectLst>
            <a:outerShdw blurRad="50800" dist="38100" dir="2700015" rotWithShape="0">
              <a:schemeClr val="tx1">
                <a:alpha val="4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en-US" dirty="0"/>
          </a:p>
        </p:txBody>
      </p:sp>
      <p:grpSp>
        <p:nvGrpSpPr>
          <p:cNvPr id="63496" name="Group 85"/>
          <p:cNvGrpSpPr>
            <a:grpSpLocks/>
          </p:cNvGrpSpPr>
          <p:nvPr/>
        </p:nvGrpSpPr>
        <p:grpSpPr bwMode="auto">
          <a:xfrm>
            <a:off x="5143500" y="4876800"/>
            <a:ext cx="3697288" cy="1414463"/>
            <a:chOff x="5197544" y="1886527"/>
            <a:chExt cx="3696503" cy="1414592"/>
          </a:xfrm>
        </p:grpSpPr>
        <p:sp>
          <p:nvSpPr>
            <p:cNvPr id="42" name="Arrow: Chevron 41">
              <a:extLst>
                <a:ext uri="{FF2B5EF4-FFF2-40B4-BE49-F238E27FC236}"/>
              </a:extLst>
            </p:cNvPr>
            <p:cNvSpPr/>
            <p:nvPr/>
          </p:nvSpPr>
          <p:spPr>
            <a:xfrm>
              <a:off x="6365696" y="1902403"/>
              <a:ext cx="2528351" cy="1398716"/>
            </a:xfrm>
            <a:prstGeom prst="chevron">
              <a:avLst>
                <a:gd name="adj" fmla="val 31987"/>
              </a:avLst>
            </a:prstGeom>
            <a:solidFill>
              <a:schemeClr val="accent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nSpc>
                  <a:spcPct val="90000"/>
                </a:lnSpc>
                <a:defRPr/>
              </a:pPr>
              <a:r>
                <a:rPr lang="en-US" b="1" dirty="0">
                  <a:solidFill>
                    <a:schemeClr val="bg2"/>
                  </a:solidFill>
                  <a:latin typeface="Arial" pitchFamily="34" charset="0"/>
                  <a:cs typeface="Arial" pitchFamily="34" charset="0"/>
                </a:rPr>
                <a:t>Six Layers of Service</a:t>
              </a:r>
            </a:p>
            <a:p>
              <a:pPr>
                <a:lnSpc>
                  <a:spcPct val="90000"/>
                </a:lnSpc>
                <a:defRPr/>
              </a:pPr>
              <a:r>
                <a:rPr lang="en-US" sz="1400" dirty="0">
                  <a:solidFill>
                    <a:schemeClr val="tx1"/>
                  </a:solidFill>
                  <a:latin typeface="Arial" pitchFamily="34" charset="0"/>
                  <a:cs typeface="Arial" pitchFamily="34" charset="0"/>
                </a:rPr>
                <a:t>Identify patients services at every level of service</a:t>
              </a:r>
              <a:endParaRPr lang="en-US" sz="1600" dirty="0">
                <a:solidFill>
                  <a:schemeClr val="tx1"/>
                </a:solidFill>
                <a:latin typeface="Arial" pitchFamily="34" charset="0"/>
                <a:cs typeface="Arial" pitchFamily="34" charset="0"/>
              </a:endParaRPr>
            </a:p>
          </p:txBody>
        </p:sp>
        <p:pic>
          <p:nvPicPr>
            <p:cNvPr id="63499" name="Picture 8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197544" y="1886527"/>
              <a:ext cx="1358961" cy="1414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3497" name="TextBox 84"/>
          <p:cNvSpPr txBox="1">
            <a:spLocks noChangeArrowheads="1"/>
          </p:cNvSpPr>
          <p:nvPr/>
        </p:nvSpPr>
        <p:spPr bwMode="auto">
          <a:xfrm>
            <a:off x="244475" y="1628775"/>
            <a:ext cx="6840538" cy="249238"/>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r>
              <a:rPr lang="en-US" sz="1800" b="1">
                <a:solidFill>
                  <a:schemeClr val="tx1"/>
                </a:solidFill>
                <a:latin typeface="Arial" panose="020B0604020202020204" pitchFamily="34" charset="0"/>
              </a:rPr>
              <a:t>Model of Care design</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538"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77" name="think-cell Slide" r:id="rId4" imgW="360" imgH="360" progId="TCLayout.ActiveDocument.1">
                  <p:embed/>
                </p:oleObj>
              </mc:Choice>
              <mc:Fallback>
                <p:oleObj name="think-cell Slide" r:id="rId4" imgW="360" imgH="360" progId="TCLayout.ActiveDocument.1">
                  <p:embed/>
                  <p:pic>
                    <p:nvPicPr>
                      <p:cNvPr id="0"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a:ext uri="{FF2B5EF4-FFF2-40B4-BE49-F238E27FC236}"/>
            </a:extLst>
          </p:cNvPr>
          <p:cNvSpPr>
            <a:spLocks noGrp="1"/>
          </p:cNvSpPr>
          <p:nvPr>
            <p:ph type="title"/>
          </p:nvPr>
        </p:nvSpPr>
        <p:spPr>
          <a:xfrm>
            <a:off x="244475" y="152400"/>
            <a:ext cx="7748588" cy="996950"/>
          </a:xfrm>
        </p:spPr>
        <p:txBody>
          <a:bodyPr>
            <a:normAutofit fontScale="90000"/>
          </a:bodyPr>
          <a:lstStyle/>
          <a:p>
            <a:pPr fontAlgn="auto">
              <a:spcAft>
                <a:spcPts val="0"/>
              </a:spcAft>
              <a:defRPr/>
            </a:pPr>
            <a:r>
              <a:rPr lang="en-US" sz="2800" dirty="0">
                <a:solidFill>
                  <a:schemeClr val="tx1">
                    <a:lumMod val="75000"/>
                    <a:lumOff val="25000"/>
                  </a:schemeClr>
                </a:solidFill>
              </a:rPr>
              <a:t>MoC will be delivered through the 42 interventions spread across Systems of Care, which will be rolled out across all the clusters</a:t>
            </a:r>
          </a:p>
        </p:txBody>
      </p:sp>
      <p:graphicFrame>
        <p:nvGraphicFramePr>
          <p:cNvPr id="126" name="Table 125">
            <a:extLst>
              <a:ext uri="{FF2B5EF4-FFF2-40B4-BE49-F238E27FC236}"/>
            </a:extLst>
          </p:cNvPr>
          <p:cNvGraphicFramePr>
            <a:graphicFrameLocks noGrp="1"/>
          </p:cNvGraphicFramePr>
          <p:nvPr/>
        </p:nvGraphicFramePr>
        <p:xfrm>
          <a:off x="244475" y="3867150"/>
          <a:ext cx="8612188" cy="2706688"/>
        </p:xfrm>
        <a:graphic>
          <a:graphicData uri="http://schemas.openxmlformats.org/drawingml/2006/table">
            <a:tbl>
              <a:tblPr>
                <a:tableStyleId>{2D5ABB26-0587-4C30-8999-92F81FD0307C}</a:tableStyleId>
              </a:tblPr>
              <a:tblGrid>
                <a:gridCol w="1453661">
                  <a:extLst>
                    <a:ext uri="{9D8B030D-6E8A-4147-A177-3AD203B41FA5}"/>
                  </a:extLst>
                </a:gridCol>
                <a:gridCol w="1417069">
                  <a:extLst>
                    <a:ext uri="{9D8B030D-6E8A-4147-A177-3AD203B41FA5}"/>
                  </a:extLst>
                </a:gridCol>
                <a:gridCol w="1435366">
                  <a:extLst>
                    <a:ext uri="{9D8B030D-6E8A-4147-A177-3AD203B41FA5}"/>
                  </a:extLst>
                </a:gridCol>
                <a:gridCol w="1435363">
                  <a:extLst>
                    <a:ext uri="{9D8B030D-6E8A-4147-A177-3AD203B41FA5}"/>
                  </a:extLst>
                </a:gridCol>
                <a:gridCol w="1435366">
                  <a:extLst>
                    <a:ext uri="{9D8B030D-6E8A-4147-A177-3AD203B41FA5}"/>
                  </a:extLst>
                </a:gridCol>
                <a:gridCol w="1435363">
                  <a:extLst>
                    <a:ext uri="{9D8B030D-6E8A-4147-A177-3AD203B41FA5}"/>
                  </a:extLst>
                </a:gridCol>
              </a:tblGrid>
              <a:tr h="260403">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Keep Well</a:t>
                      </a:r>
                      <a:endParaRPr kumimoji="0" lang="en-GB" altLang="en-US" sz="1000" b="1" i="0" u="none" strike="noStrike" cap="none" normalizeH="0" baseline="0" dirty="0">
                        <a:ln>
                          <a:noFill/>
                        </a:ln>
                        <a:solidFill>
                          <a:srgbClr val="008755"/>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Planned Care</a:t>
                      </a:r>
                      <a:endParaRPr kumimoji="0" lang="en-GB" altLang="en-US" sz="1000" b="1" i="0" u="none" strike="noStrike" cap="none" normalizeH="0" baseline="0" dirty="0">
                        <a:ln>
                          <a:noFill/>
                        </a:ln>
                        <a:solidFill>
                          <a:srgbClr val="9CA700"/>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Safe Birth</a:t>
                      </a:r>
                      <a:endParaRPr kumimoji="0" lang="en-GB" altLang="en-US" sz="1000" b="1" i="0" u="none" strike="noStrike" cap="none" normalizeH="0" baseline="0" dirty="0">
                        <a:ln>
                          <a:noFill/>
                        </a:ln>
                        <a:solidFill>
                          <a:srgbClr val="960051"/>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Urgent Care</a:t>
                      </a:r>
                      <a:endParaRPr kumimoji="0" lang="en-GB" altLang="en-US" sz="1000" b="1" i="0" u="none" strike="noStrike" cap="none" normalizeH="0" baseline="0" dirty="0">
                        <a:ln>
                          <a:noFill/>
                        </a:ln>
                        <a:solidFill>
                          <a:schemeClr val="accent5"/>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Chronic Care</a:t>
                      </a:r>
                      <a:endParaRPr kumimoji="0" lang="en-GB" altLang="en-US" sz="1000" b="1" i="0" u="none" strike="noStrike" cap="none" normalizeH="0" baseline="0" dirty="0">
                        <a:ln>
                          <a:noFill/>
                        </a:ln>
                        <a:solidFill>
                          <a:srgbClr val="009ACE"/>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Last Phase</a:t>
                      </a:r>
                      <a:endParaRPr kumimoji="0" lang="en-GB" altLang="en-US" sz="1000" b="1" i="0" u="none" strike="noStrike" cap="none" normalizeH="0" baseline="0" dirty="0">
                        <a:ln>
                          <a:noFill/>
                        </a:ln>
                        <a:solidFill>
                          <a:srgbClr val="E03C31"/>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ealth Coach Program</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One-Stop Clinic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Premarital Screening</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dirty="0">
                          <a:ln>
                            <a:noFill/>
                          </a:ln>
                          <a:effectLst/>
                          <a:sym typeface="Arial" charset="0"/>
                        </a:rPr>
                        <a:t>Resource Control </a:t>
                      </a:r>
                      <a:br>
                        <a:rPr kumimoji="0" lang="en-US" altLang="en-US" sz="800" u="none" strike="noStrike" cap="none" normalizeH="0" baseline="0" dirty="0">
                          <a:ln>
                            <a:noFill/>
                          </a:ln>
                          <a:effectLst/>
                          <a:sym typeface="Arial" charset="0"/>
                        </a:rPr>
                      </a:br>
                      <a:r>
                        <a:rPr kumimoji="0" lang="en-US" altLang="en-US" sz="800" u="none" strike="noStrike" cap="none" normalizeH="0" baseline="0" dirty="0">
                          <a:ln>
                            <a:noFill/>
                          </a:ln>
                          <a:effectLst/>
                          <a:sym typeface="Arial" charset="0"/>
                        </a:rPr>
                        <a:t>Center</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Chronic Disease Screening</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atient and Family Support</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Community-Based Wellness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athway Optimisation</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Preconception Care Services</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Urgent Care Clinics</a:t>
                      </a:r>
                      <a:endParaRPr kumimoji="0" lang="en-US"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Case Coordination </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ospice Care Service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Workplace Wellness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Length of Stay Reduction Initiatives</a:t>
                      </a:r>
                      <a:endParaRPr kumimoji="0" lang="en-US"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dirty="0">
                          <a:ln>
                            <a:noFill/>
                          </a:ln>
                          <a:effectLst/>
                          <a:sym typeface="Arial" charset="0"/>
                        </a:rPr>
                        <a:t>Maternity Care </a:t>
                      </a:r>
                      <a:br>
                        <a:rPr kumimoji="0" lang="en-US" altLang="en-US" sz="800" u="none" strike="noStrike" cap="none" normalizeH="0" baseline="0" dirty="0">
                          <a:ln>
                            <a:noFill/>
                          </a:ln>
                          <a:effectLst/>
                          <a:sym typeface="Arial" charset="0"/>
                        </a:rPr>
                      </a:br>
                      <a:r>
                        <a:rPr kumimoji="0" lang="en-US" altLang="en-US" sz="800" u="none" strike="noStrike" cap="none" normalizeH="0" baseline="0" dirty="0">
                          <a:ln>
                            <a:noFill/>
                          </a:ln>
                          <a:effectLst/>
                          <a:sym typeface="Arial" charset="0"/>
                        </a:rPr>
                        <a:t>Services</a:t>
                      </a: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Population-Based Critical Care Centers</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Continuing Care </a:t>
                      </a:r>
                      <a:br>
                        <a:rPr kumimoji="0" lang="en-GB" altLang="en-US" sz="800" u="none" strike="noStrike" cap="none" normalizeH="0" baseline="0" dirty="0">
                          <a:ln>
                            <a:noFill/>
                          </a:ln>
                          <a:effectLst/>
                          <a:sym typeface="Arial" charset="0"/>
                        </a:rPr>
                      </a:br>
                      <a:r>
                        <a:rPr kumimoji="0" lang="en-GB" altLang="en-US" sz="800" u="none" strike="noStrike" cap="none" normalizeH="0" baseline="0" dirty="0">
                          <a:ln>
                            <a:noFill/>
                          </a:ln>
                          <a:effectLst/>
                          <a:sym typeface="Arial" charset="0"/>
                        </a:rPr>
                        <a:t>Service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Multidisciplinary Team Development</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School Wellness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Step-Down and Post-Discharge Service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National Birth Registry</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35219">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ealthy Food Promotion</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ostnatal Care Services</a:t>
                      </a: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r" defTabSz="455613" rtl="1"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ealth Edutainment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dirty="0">
                          <a:ln>
                            <a:noFill/>
                          </a:ln>
                          <a:effectLst/>
                          <a:sym typeface="Arial" charset="0"/>
                        </a:rPr>
                        <a:t>Neonatal Care Services</a:t>
                      </a: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romoting the Saudi CDC</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dirty="0">
                          <a:ln>
                            <a:noFill/>
                          </a:ln>
                          <a:effectLst/>
                          <a:sym typeface="Arial" charset="0"/>
                        </a:rPr>
                        <a:t>Well Baby Clinics</a:t>
                      </a: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bl>
          </a:graphicData>
        </a:graphic>
      </p:graphicFrame>
      <p:grpSp>
        <p:nvGrpSpPr>
          <p:cNvPr id="65589" name="Group 153"/>
          <p:cNvGrpSpPr>
            <a:grpSpLocks noChangeAspect="1"/>
          </p:cNvGrpSpPr>
          <p:nvPr/>
        </p:nvGrpSpPr>
        <p:grpSpPr bwMode="auto">
          <a:xfrm>
            <a:off x="250825" y="4154488"/>
            <a:ext cx="252413" cy="250825"/>
            <a:chOff x="4962800" y="3032119"/>
            <a:chExt cx="612775" cy="612775"/>
          </a:xfrm>
        </p:grpSpPr>
        <p:sp>
          <p:nvSpPr>
            <p:cNvPr id="128" name="Oval 127">
              <a:extLst>
                <a:ext uri="{FF2B5EF4-FFF2-40B4-BE49-F238E27FC236}"/>
              </a:extLst>
            </p:cNvPr>
            <p:cNvSpPr/>
            <p:nvPr/>
          </p:nvSpPr>
          <p:spPr bwMode="ltGray">
            <a:xfrm>
              <a:off x="4962800" y="3032119"/>
              <a:ext cx="612775" cy="612775"/>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29" name="Freeform 41">
              <a:extLst>
                <a:ext uri="{FF2B5EF4-FFF2-40B4-BE49-F238E27FC236}"/>
              </a:extLst>
            </p:cNvPr>
            <p:cNvSpPr>
              <a:spLocks noEditPoints="1"/>
            </p:cNvSpPr>
            <p:nvPr/>
          </p:nvSpPr>
          <p:spPr bwMode="auto">
            <a:xfrm>
              <a:off x="5059149" y="3214399"/>
              <a:ext cx="431639" cy="232699"/>
            </a:xfrm>
            <a:custGeom>
              <a:avLst/>
              <a:gdLst>
                <a:gd name="T0" fmla="*/ 108870 w 929"/>
                <a:gd name="T1" fmla="*/ 1382 h 507"/>
                <a:gd name="T2" fmla="*/ 123171 w 929"/>
                <a:gd name="T3" fmla="*/ 18433 h 507"/>
                <a:gd name="T4" fmla="*/ 121787 w 929"/>
                <a:gd name="T5" fmla="*/ 218889 h 507"/>
                <a:gd name="T6" fmla="*/ 104257 w 929"/>
                <a:gd name="T7" fmla="*/ 233174 h 507"/>
                <a:gd name="T8" fmla="*/ 68275 w 929"/>
                <a:gd name="T9" fmla="*/ 231331 h 507"/>
                <a:gd name="T10" fmla="*/ 53974 w 929"/>
                <a:gd name="T11" fmla="*/ 214281 h 507"/>
                <a:gd name="T12" fmla="*/ 55819 w 929"/>
                <a:gd name="T13" fmla="*/ 14285 h 507"/>
                <a:gd name="T14" fmla="*/ 72888 w 929"/>
                <a:gd name="T15" fmla="*/ 461 h 507"/>
                <a:gd name="T16" fmla="*/ 296626 w 929"/>
                <a:gd name="T17" fmla="*/ 137324 h 507"/>
                <a:gd name="T18" fmla="*/ 395347 w 929"/>
                <a:gd name="T19" fmla="*/ 33640 h 507"/>
                <a:gd name="T20" fmla="*/ 383814 w 929"/>
                <a:gd name="T21" fmla="*/ 38709 h 507"/>
                <a:gd name="T22" fmla="*/ 378740 w 929"/>
                <a:gd name="T23" fmla="*/ 182484 h 507"/>
                <a:gd name="T24" fmla="*/ 383814 w 929"/>
                <a:gd name="T25" fmla="*/ 194005 h 507"/>
                <a:gd name="T26" fmla="*/ 411493 w 929"/>
                <a:gd name="T27" fmla="*/ 199074 h 507"/>
                <a:gd name="T28" fmla="*/ 423949 w 929"/>
                <a:gd name="T29" fmla="*/ 194005 h 507"/>
                <a:gd name="T30" fmla="*/ 428562 w 929"/>
                <a:gd name="T31" fmla="*/ 50690 h 507"/>
                <a:gd name="T32" fmla="*/ 423949 w 929"/>
                <a:gd name="T33" fmla="*/ 38709 h 507"/>
                <a:gd name="T34" fmla="*/ 411493 w 929"/>
                <a:gd name="T35" fmla="*/ 33640 h 507"/>
                <a:gd name="T36" fmla="*/ 410109 w 929"/>
                <a:gd name="T37" fmla="*/ 182023 h 507"/>
                <a:gd name="T38" fmla="*/ 408725 w 929"/>
                <a:gd name="T39" fmla="*/ 42856 h 507"/>
                <a:gd name="T40" fmla="*/ 417029 w 929"/>
                <a:gd name="T41" fmla="*/ 48386 h 507"/>
                <a:gd name="T42" fmla="*/ 419797 w 929"/>
                <a:gd name="T43" fmla="*/ 176033 h 507"/>
                <a:gd name="T44" fmla="*/ 415645 w 929"/>
                <a:gd name="T45" fmla="*/ 186632 h 507"/>
                <a:gd name="T46" fmla="*/ 403651 w 929"/>
                <a:gd name="T47" fmla="*/ 190779 h 507"/>
                <a:gd name="T48" fmla="*/ 323843 w 929"/>
                <a:gd name="T49" fmla="*/ 461 h 507"/>
                <a:gd name="T50" fmla="*/ 306775 w 929"/>
                <a:gd name="T51" fmla="*/ 14285 h 507"/>
                <a:gd name="T52" fmla="*/ 304929 w 929"/>
                <a:gd name="T53" fmla="*/ 214281 h 507"/>
                <a:gd name="T54" fmla="*/ 319692 w 929"/>
                <a:gd name="T55" fmla="*/ 231331 h 507"/>
                <a:gd name="T56" fmla="*/ 356135 w 929"/>
                <a:gd name="T57" fmla="*/ 233174 h 507"/>
                <a:gd name="T58" fmla="*/ 373204 w 929"/>
                <a:gd name="T59" fmla="*/ 218889 h 507"/>
                <a:gd name="T60" fmla="*/ 374588 w 929"/>
                <a:gd name="T61" fmla="*/ 18433 h 507"/>
                <a:gd name="T62" fmla="*/ 360749 w 929"/>
                <a:gd name="T63" fmla="*/ 1382 h 507"/>
                <a:gd name="T64" fmla="*/ 339989 w 929"/>
                <a:gd name="T65" fmla="*/ 221193 h 507"/>
                <a:gd name="T66" fmla="*/ 348754 w 929"/>
                <a:gd name="T67" fmla="*/ 20737 h 507"/>
                <a:gd name="T68" fmla="*/ 350600 w 929"/>
                <a:gd name="T69" fmla="*/ 14285 h 507"/>
                <a:gd name="T70" fmla="*/ 361671 w 929"/>
                <a:gd name="T71" fmla="*/ 26267 h 507"/>
                <a:gd name="T72" fmla="*/ 362594 w 929"/>
                <a:gd name="T73" fmla="*/ 204603 h 507"/>
                <a:gd name="T74" fmla="*/ 350138 w 929"/>
                <a:gd name="T75" fmla="*/ 219810 h 507"/>
                <a:gd name="T76" fmla="*/ 16607 w 929"/>
                <a:gd name="T77" fmla="*/ 33640 h 507"/>
                <a:gd name="T78" fmla="*/ 42441 w 929"/>
                <a:gd name="T79" fmla="*/ 36865 h 507"/>
                <a:gd name="T80" fmla="*/ 49361 w 929"/>
                <a:gd name="T81" fmla="*/ 50690 h 507"/>
                <a:gd name="T82" fmla="*/ 46593 w 929"/>
                <a:gd name="T83" fmla="*/ 192161 h 507"/>
                <a:gd name="T84" fmla="*/ 32753 w 929"/>
                <a:gd name="T85" fmla="*/ 199074 h 507"/>
                <a:gd name="T86" fmla="*/ 7381 w 929"/>
                <a:gd name="T87" fmla="*/ 196309 h 507"/>
                <a:gd name="T88" fmla="*/ 0 w 929"/>
                <a:gd name="T89" fmla="*/ 182484 h 507"/>
                <a:gd name="T90" fmla="*/ 2768 w 929"/>
                <a:gd name="T91" fmla="*/ 41474 h 507"/>
                <a:gd name="T92" fmla="*/ 16607 w 929"/>
                <a:gd name="T93" fmla="*/ 33640 h 507"/>
                <a:gd name="T94" fmla="*/ 20298 w 929"/>
                <a:gd name="T95" fmla="*/ 185249 h 507"/>
                <a:gd name="T96" fmla="*/ 18453 w 929"/>
                <a:gd name="T97" fmla="*/ 45621 h 507"/>
                <a:gd name="T98" fmla="*/ 12917 w 929"/>
                <a:gd name="T99" fmla="*/ 47003 h 507"/>
                <a:gd name="T100" fmla="*/ 8304 w 929"/>
                <a:gd name="T101" fmla="*/ 58063 h 507"/>
                <a:gd name="T102" fmla="*/ 11072 w 929"/>
                <a:gd name="T103" fmla="*/ 184327 h 507"/>
                <a:gd name="T104" fmla="*/ 23527 w 929"/>
                <a:gd name="T105" fmla="*/ 190779 h 507"/>
                <a:gd name="T106" fmla="*/ 84421 w 929"/>
                <a:gd name="T107" fmla="*/ 217967 h 507"/>
                <a:gd name="T108" fmla="*/ 79346 w 929"/>
                <a:gd name="T109" fmla="*/ 20737 h 507"/>
                <a:gd name="T110" fmla="*/ 75194 w 929"/>
                <a:gd name="T111" fmla="*/ 15668 h 507"/>
                <a:gd name="T112" fmla="*/ 65507 w 929"/>
                <a:gd name="T113" fmla="*/ 29492 h 507"/>
                <a:gd name="T114" fmla="*/ 67352 w 929"/>
                <a:gd name="T115" fmla="*/ 208751 h 507"/>
                <a:gd name="T116" fmla="*/ 82575 w 929"/>
                <a:gd name="T117" fmla="*/ 220732 h 50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29" h="507">
                  <a:moveTo>
                    <a:pt x="167" y="0"/>
                  </a:moveTo>
                  <a:lnTo>
                    <a:pt x="217" y="0"/>
                  </a:lnTo>
                  <a:lnTo>
                    <a:pt x="226" y="1"/>
                  </a:lnTo>
                  <a:lnTo>
                    <a:pt x="236" y="3"/>
                  </a:lnTo>
                  <a:lnTo>
                    <a:pt x="246" y="8"/>
                  </a:lnTo>
                  <a:lnTo>
                    <a:pt x="253" y="14"/>
                  </a:lnTo>
                  <a:lnTo>
                    <a:pt x="259" y="22"/>
                  </a:lnTo>
                  <a:lnTo>
                    <a:pt x="264" y="31"/>
                  </a:lnTo>
                  <a:lnTo>
                    <a:pt x="267" y="40"/>
                  </a:lnTo>
                  <a:lnTo>
                    <a:pt x="268" y="51"/>
                  </a:lnTo>
                  <a:lnTo>
                    <a:pt x="268" y="455"/>
                  </a:lnTo>
                  <a:lnTo>
                    <a:pt x="267" y="465"/>
                  </a:lnTo>
                  <a:lnTo>
                    <a:pt x="264" y="475"/>
                  </a:lnTo>
                  <a:lnTo>
                    <a:pt x="259" y="484"/>
                  </a:lnTo>
                  <a:lnTo>
                    <a:pt x="253" y="491"/>
                  </a:lnTo>
                  <a:lnTo>
                    <a:pt x="246" y="497"/>
                  </a:lnTo>
                  <a:lnTo>
                    <a:pt x="236" y="502"/>
                  </a:lnTo>
                  <a:lnTo>
                    <a:pt x="226" y="506"/>
                  </a:lnTo>
                  <a:lnTo>
                    <a:pt x="217" y="507"/>
                  </a:lnTo>
                  <a:lnTo>
                    <a:pt x="167" y="507"/>
                  </a:lnTo>
                  <a:lnTo>
                    <a:pt x="158" y="506"/>
                  </a:lnTo>
                  <a:lnTo>
                    <a:pt x="148" y="502"/>
                  </a:lnTo>
                  <a:lnTo>
                    <a:pt x="139" y="497"/>
                  </a:lnTo>
                  <a:lnTo>
                    <a:pt x="131" y="491"/>
                  </a:lnTo>
                  <a:lnTo>
                    <a:pt x="125" y="484"/>
                  </a:lnTo>
                  <a:lnTo>
                    <a:pt x="121" y="475"/>
                  </a:lnTo>
                  <a:lnTo>
                    <a:pt x="117" y="465"/>
                  </a:lnTo>
                  <a:lnTo>
                    <a:pt x="116" y="455"/>
                  </a:lnTo>
                  <a:lnTo>
                    <a:pt x="116" y="51"/>
                  </a:lnTo>
                  <a:lnTo>
                    <a:pt x="117" y="40"/>
                  </a:lnTo>
                  <a:lnTo>
                    <a:pt x="121" y="31"/>
                  </a:lnTo>
                  <a:lnTo>
                    <a:pt x="125" y="22"/>
                  </a:lnTo>
                  <a:lnTo>
                    <a:pt x="131" y="14"/>
                  </a:lnTo>
                  <a:lnTo>
                    <a:pt x="139" y="8"/>
                  </a:lnTo>
                  <a:lnTo>
                    <a:pt x="148" y="3"/>
                  </a:lnTo>
                  <a:lnTo>
                    <a:pt x="158" y="1"/>
                  </a:lnTo>
                  <a:lnTo>
                    <a:pt x="167" y="0"/>
                  </a:lnTo>
                  <a:close/>
                  <a:moveTo>
                    <a:pt x="289" y="204"/>
                  </a:moveTo>
                  <a:lnTo>
                    <a:pt x="643" y="204"/>
                  </a:lnTo>
                  <a:lnTo>
                    <a:pt x="643" y="298"/>
                  </a:lnTo>
                  <a:lnTo>
                    <a:pt x="289" y="298"/>
                  </a:lnTo>
                  <a:lnTo>
                    <a:pt x="289" y="204"/>
                  </a:lnTo>
                  <a:close/>
                  <a:moveTo>
                    <a:pt x="892" y="73"/>
                  </a:moveTo>
                  <a:lnTo>
                    <a:pt x="857" y="73"/>
                  </a:lnTo>
                  <a:lnTo>
                    <a:pt x="850" y="74"/>
                  </a:lnTo>
                  <a:lnTo>
                    <a:pt x="844" y="76"/>
                  </a:lnTo>
                  <a:lnTo>
                    <a:pt x="838" y="80"/>
                  </a:lnTo>
                  <a:lnTo>
                    <a:pt x="832" y="84"/>
                  </a:lnTo>
                  <a:lnTo>
                    <a:pt x="827" y="90"/>
                  </a:lnTo>
                  <a:lnTo>
                    <a:pt x="825" y="96"/>
                  </a:lnTo>
                  <a:lnTo>
                    <a:pt x="822" y="103"/>
                  </a:lnTo>
                  <a:lnTo>
                    <a:pt x="821" y="110"/>
                  </a:lnTo>
                  <a:lnTo>
                    <a:pt x="821" y="396"/>
                  </a:lnTo>
                  <a:lnTo>
                    <a:pt x="822" y="403"/>
                  </a:lnTo>
                  <a:lnTo>
                    <a:pt x="825" y="411"/>
                  </a:lnTo>
                  <a:lnTo>
                    <a:pt x="827" y="417"/>
                  </a:lnTo>
                  <a:lnTo>
                    <a:pt x="832" y="421"/>
                  </a:lnTo>
                  <a:lnTo>
                    <a:pt x="838" y="426"/>
                  </a:lnTo>
                  <a:lnTo>
                    <a:pt x="844" y="430"/>
                  </a:lnTo>
                  <a:lnTo>
                    <a:pt x="850" y="431"/>
                  </a:lnTo>
                  <a:lnTo>
                    <a:pt x="857" y="432"/>
                  </a:lnTo>
                  <a:lnTo>
                    <a:pt x="892" y="432"/>
                  </a:lnTo>
                  <a:lnTo>
                    <a:pt x="899" y="431"/>
                  </a:lnTo>
                  <a:lnTo>
                    <a:pt x="907" y="430"/>
                  </a:lnTo>
                  <a:lnTo>
                    <a:pt x="913" y="426"/>
                  </a:lnTo>
                  <a:lnTo>
                    <a:pt x="919" y="421"/>
                  </a:lnTo>
                  <a:lnTo>
                    <a:pt x="922" y="417"/>
                  </a:lnTo>
                  <a:lnTo>
                    <a:pt x="926" y="411"/>
                  </a:lnTo>
                  <a:lnTo>
                    <a:pt x="928" y="403"/>
                  </a:lnTo>
                  <a:lnTo>
                    <a:pt x="929" y="396"/>
                  </a:lnTo>
                  <a:lnTo>
                    <a:pt x="929" y="110"/>
                  </a:lnTo>
                  <a:lnTo>
                    <a:pt x="928" y="103"/>
                  </a:lnTo>
                  <a:lnTo>
                    <a:pt x="926" y="96"/>
                  </a:lnTo>
                  <a:lnTo>
                    <a:pt x="922" y="90"/>
                  </a:lnTo>
                  <a:lnTo>
                    <a:pt x="919" y="84"/>
                  </a:lnTo>
                  <a:lnTo>
                    <a:pt x="913" y="80"/>
                  </a:lnTo>
                  <a:lnTo>
                    <a:pt x="907" y="76"/>
                  </a:lnTo>
                  <a:lnTo>
                    <a:pt x="899" y="74"/>
                  </a:lnTo>
                  <a:lnTo>
                    <a:pt x="892" y="73"/>
                  </a:lnTo>
                  <a:close/>
                  <a:moveTo>
                    <a:pt x="875" y="414"/>
                  </a:moveTo>
                  <a:lnTo>
                    <a:pt x="875" y="414"/>
                  </a:lnTo>
                  <a:lnTo>
                    <a:pt x="881" y="409"/>
                  </a:lnTo>
                  <a:lnTo>
                    <a:pt x="885" y="402"/>
                  </a:lnTo>
                  <a:lnTo>
                    <a:pt x="889" y="395"/>
                  </a:lnTo>
                  <a:lnTo>
                    <a:pt x="889" y="388"/>
                  </a:lnTo>
                  <a:lnTo>
                    <a:pt x="889" y="106"/>
                  </a:lnTo>
                  <a:lnTo>
                    <a:pt x="889" y="99"/>
                  </a:lnTo>
                  <a:lnTo>
                    <a:pt x="886" y="93"/>
                  </a:lnTo>
                  <a:lnTo>
                    <a:pt x="892" y="96"/>
                  </a:lnTo>
                  <a:lnTo>
                    <a:pt x="896" y="98"/>
                  </a:lnTo>
                  <a:lnTo>
                    <a:pt x="901" y="102"/>
                  </a:lnTo>
                  <a:lnTo>
                    <a:pt x="904" y="105"/>
                  </a:lnTo>
                  <a:lnTo>
                    <a:pt x="907" y="110"/>
                  </a:lnTo>
                  <a:lnTo>
                    <a:pt x="909" y="115"/>
                  </a:lnTo>
                  <a:lnTo>
                    <a:pt x="910" y="120"/>
                  </a:lnTo>
                  <a:lnTo>
                    <a:pt x="910" y="126"/>
                  </a:lnTo>
                  <a:lnTo>
                    <a:pt x="910" y="382"/>
                  </a:lnTo>
                  <a:lnTo>
                    <a:pt x="910" y="388"/>
                  </a:lnTo>
                  <a:lnTo>
                    <a:pt x="908" y="394"/>
                  </a:lnTo>
                  <a:lnTo>
                    <a:pt x="905" y="400"/>
                  </a:lnTo>
                  <a:lnTo>
                    <a:pt x="901" y="405"/>
                  </a:lnTo>
                  <a:lnTo>
                    <a:pt x="896" y="408"/>
                  </a:lnTo>
                  <a:lnTo>
                    <a:pt x="891" y="412"/>
                  </a:lnTo>
                  <a:lnTo>
                    <a:pt x="885" y="413"/>
                  </a:lnTo>
                  <a:lnTo>
                    <a:pt x="878" y="414"/>
                  </a:lnTo>
                  <a:lnTo>
                    <a:pt x="875" y="414"/>
                  </a:lnTo>
                  <a:close/>
                  <a:moveTo>
                    <a:pt x="761" y="0"/>
                  </a:moveTo>
                  <a:lnTo>
                    <a:pt x="712" y="0"/>
                  </a:lnTo>
                  <a:lnTo>
                    <a:pt x="702" y="1"/>
                  </a:lnTo>
                  <a:lnTo>
                    <a:pt x="693" y="3"/>
                  </a:lnTo>
                  <a:lnTo>
                    <a:pt x="683" y="8"/>
                  </a:lnTo>
                  <a:lnTo>
                    <a:pt x="676" y="14"/>
                  </a:lnTo>
                  <a:lnTo>
                    <a:pt x="670" y="22"/>
                  </a:lnTo>
                  <a:lnTo>
                    <a:pt x="665" y="31"/>
                  </a:lnTo>
                  <a:lnTo>
                    <a:pt x="661" y="40"/>
                  </a:lnTo>
                  <a:lnTo>
                    <a:pt x="660" y="51"/>
                  </a:lnTo>
                  <a:lnTo>
                    <a:pt x="660" y="455"/>
                  </a:lnTo>
                  <a:lnTo>
                    <a:pt x="661" y="465"/>
                  </a:lnTo>
                  <a:lnTo>
                    <a:pt x="665" y="475"/>
                  </a:lnTo>
                  <a:lnTo>
                    <a:pt x="670" y="484"/>
                  </a:lnTo>
                  <a:lnTo>
                    <a:pt x="676" y="491"/>
                  </a:lnTo>
                  <a:lnTo>
                    <a:pt x="683" y="497"/>
                  </a:lnTo>
                  <a:lnTo>
                    <a:pt x="693" y="502"/>
                  </a:lnTo>
                  <a:lnTo>
                    <a:pt x="702" y="506"/>
                  </a:lnTo>
                  <a:lnTo>
                    <a:pt x="712" y="507"/>
                  </a:lnTo>
                  <a:lnTo>
                    <a:pt x="761" y="507"/>
                  </a:lnTo>
                  <a:lnTo>
                    <a:pt x="772" y="506"/>
                  </a:lnTo>
                  <a:lnTo>
                    <a:pt x="782" y="502"/>
                  </a:lnTo>
                  <a:lnTo>
                    <a:pt x="790" y="497"/>
                  </a:lnTo>
                  <a:lnTo>
                    <a:pt x="797" y="491"/>
                  </a:lnTo>
                  <a:lnTo>
                    <a:pt x="804" y="484"/>
                  </a:lnTo>
                  <a:lnTo>
                    <a:pt x="809" y="475"/>
                  </a:lnTo>
                  <a:lnTo>
                    <a:pt x="812" y="465"/>
                  </a:lnTo>
                  <a:lnTo>
                    <a:pt x="813" y="455"/>
                  </a:lnTo>
                  <a:lnTo>
                    <a:pt x="813" y="51"/>
                  </a:lnTo>
                  <a:lnTo>
                    <a:pt x="812" y="40"/>
                  </a:lnTo>
                  <a:lnTo>
                    <a:pt x="809" y="31"/>
                  </a:lnTo>
                  <a:lnTo>
                    <a:pt x="804" y="22"/>
                  </a:lnTo>
                  <a:lnTo>
                    <a:pt x="797" y="14"/>
                  </a:lnTo>
                  <a:lnTo>
                    <a:pt x="790" y="8"/>
                  </a:lnTo>
                  <a:lnTo>
                    <a:pt x="782" y="3"/>
                  </a:lnTo>
                  <a:lnTo>
                    <a:pt x="772" y="1"/>
                  </a:lnTo>
                  <a:lnTo>
                    <a:pt x="761" y="0"/>
                  </a:lnTo>
                  <a:close/>
                  <a:moveTo>
                    <a:pt x="737" y="480"/>
                  </a:moveTo>
                  <a:lnTo>
                    <a:pt x="737" y="480"/>
                  </a:lnTo>
                  <a:lnTo>
                    <a:pt x="746" y="473"/>
                  </a:lnTo>
                  <a:lnTo>
                    <a:pt x="752" y="465"/>
                  </a:lnTo>
                  <a:lnTo>
                    <a:pt x="755" y="454"/>
                  </a:lnTo>
                  <a:lnTo>
                    <a:pt x="756" y="443"/>
                  </a:lnTo>
                  <a:lnTo>
                    <a:pt x="756" y="45"/>
                  </a:lnTo>
                  <a:lnTo>
                    <a:pt x="755" y="37"/>
                  </a:lnTo>
                  <a:lnTo>
                    <a:pt x="753" y="28"/>
                  </a:lnTo>
                  <a:lnTo>
                    <a:pt x="760" y="31"/>
                  </a:lnTo>
                  <a:lnTo>
                    <a:pt x="767" y="34"/>
                  </a:lnTo>
                  <a:lnTo>
                    <a:pt x="772" y="39"/>
                  </a:lnTo>
                  <a:lnTo>
                    <a:pt x="777" y="44"/>
                  </a:lnTo>
                  <a:lnTo>
                    <a:pt x="782" y="51"/>
                  </a:lnTo>
                  <a:lnTo>
                    <a:pt x="784" y="57"/>
                  </a:lnTo>
                  <a:lnTo>
                    <a:pt x="786" y="64"/>
                  </a:lnTo>
                  <a:lnTo>
                    <a:pt x="786" y="73"/>
                  </a:lnTo>
                  <a:lnTo>
                    <a:pt x="786" y="435"/>
                  </a:lnTo>
                  <a:lnTo>
                    <a:pt x="786" y="444"/>
                  </a:lnTo>
                  <a:lnTo>
                    <a:pt x="783" y="453"/>
                  </a:lnTo>
                  <a:lnTo>
                    <a:pt x="779" y="460"/>
                  </a:lnTo>
                  <a:lnTo>
                    <a:pt x="773" y="467"/>
                  </a:lnTo>
                  <a:lnTo>
                    <a:pt x="766" y="473"/>
                  </a:lnTo>
                  <a:lnTo>
                    <a:pt x="759" y="477"/>
                  </a:lnTo>
                  <a:lnTo>
                    <a:pt x="750" y="479"/>
                  </a:lnTo>
                  <a:lnTo>
                    <a:pt x="741" y="480"/>
                  </a:lnTo>
                  <a:lnTo>
                    <a:pt x="737" y="480"/>
                  </a:lnTo>
                  <a:close/>
                  <a:moveTo>
                    <a:pt x="36" y="73"/>
                  </a:moveTo>
                  <a:lnTo>
                    <a:pt x="71" y="73"/>
                  </a:lnTo>
                  <a:lnTo>
                    <a:pt x="79" y="74"/>
                  </a:lnTo>
                  <a:lnTo>
                    <a:pt x="86" y="76"/>
                  </a:lnTo>
                  <a:lnTo>
                    <a:pt x="92" y="80"/>
                  </a:lnTo>
                  <a:lnTo>
                    <a:pt x="97" y="84"/>
                  </a:lnTo>
                  <a:lnTo>
                    <a:pt x="101" y="90"/>
                  </a:lnTo>
                  <a:lnTo>
                    <a:pt x="105" y="96"/>
                  </a:lnTo>
                  <a:lnTo>
                    <a:pt x="107" y="103"/>
                  </a:lnTo>
                  <a:lnTo>
                    <a:pt x="107" y="110"/>
                  </a:lnTo>
                  <a:lnTo>
                    <a:pt x="107" y="396"/>
                  </a:lnTo>
                  <a:lnTo>
                    <a:pt x="107" y="403"/>
                  </a:lnTo>
                  <a:lnTo>
                    <a:pt x="105" y="411"/>
                  </a:lnTo>
                  <a:lnTo>
                    <a:pt x="101" y="417"/>
                  </a:lnTo>
                  <a:lnTo>
                    <a:pt x="97" y="421"/>
                  </a:lnTo>
                  <a:lnTo>
                    <a:pt x="92" y="426"/>
                  </a:lnTo>
                  <a:lnTo>
                    <a:pt x="86" y="430"/>
                  </a:lnTo>
                  <a:lnTo>
                    <a:pt x="79" y="431"/>
                  </a:lnTo>
                  <a:lnTo>
                    <a:pt x="71" y="432"/>
                  </a:lnTo>
                  <a:lnTo>
                    <a:pt x="36" y="432"/>
                  </a:lnTo>
                  <a:lnTo>
                    <a:pt x="29" y="431"/>
                  </a:lnTo>
                  <a:lnTo>
                    <a:pt x="22" y="430"/>
                  </a:lnTo>
                  <a:lnTo>
                    <a:pt x="16" y="426"/>
                  </a:lnTo>
                  <a:lnTo>
                    <a:pt x="11" y="421"/>
                  </a:lnTo>
                  <a:lnTo>
                    <a:pt x="6" y="417"/>
                  </a:lnTo>
                  <a:lnTo>
                    <a:pt x="3" y="411"/>
                  </a:lnTo>
                  <a:lnTo>
                    <a:pt x="0" y="403"/>
                  </a:lnTo>
                  <a:lnTo>
                    <a:pt x="0" y="396"/>
                  </a:lnTo>
                  <a:lnTo>
                    <a:pt x="0" y="110"/>
                  </a:lnTo>
                  <a:lnTo>
                    <a:pt x="0" y="103"/>
                  </a:lnTo>
                  <a:lnTo>
                    <a:pt x="3" y="96"/>
                  </a:lnTo>
                  <a:lnTo>
                    <a:pt x="6" y="90"/>
                  </a:lnTo>
                  <a:lnTo>
                    <a:pt x="11" y="84"/>
                  </a:lnTo>
                  <a:lnTo>
                    <a:pt x="16" y="80"/>
                  </a:lnTo>
                  <a:lnTo>
                    <a:pt x="22" y="76"/>
                  </a:lnTo>
                  <a:lnTo>
                    <a:pt x="29" y="74"/>
                  </a:lnTo>
                  <a:lnTo>
                    <a:pt x="36" y="73"/>
                  </a:lnTo>
                  <a:close/>
                  <a:moveTo>
                    <a:pt x="53" y="414"/>
                  </a:moveTo>
                  <a:lnTo>
                    <a:pt x="53" y="414"/>
                  </a:lnTo>
                  <a:lnTo>
                    <a:pt x="47" y="409"/>
                  </a:lnTo>
                  <a:lnTo>
                    <a:pt x="44" y="402"/>
                  </a:lnTo>
                  <a:lnTo>
                    <a:pt x="41" y="395"/>
                  </a:lnTo>
                  <a:lnTo>
                    <a:pt x="40" y="388"/>
                  </a:lnTo>
                  <a:lnTo>
                    <a:pt x="40" y="106"/>
                  </a:lnTo>
                  <a:lnTo>
                    <a:pt x="40" y="99"/>
                  </a:lnTo>
                  <a:lnTo>
                    <a:pt x="42" y="93"/>
                  </a:lnTo>
                  <a:lnTo>
                    <a:pt x="38" y="96"/>
                  </a:lnTo>
                  <a:lnTo>
                    <a:pt x="33" y="98"/>
                  </a:lnTo>
                  <a:lnTo>
                    <a:pt x="28" y="102"/>
                  </a:lnTo>
                  <a:lnTo>
                    <a:pt x="26" y="105"/>
                  </a:lnTo>
                  <a:lnTo>
                    <a:pt x="22" y="110"/>
                  </a:lnTo>
                  <a:lnTo>
                    <a:pt x="20" y="115"/>
                  </a:lnTo>
                  <a:lnTo>
                    <a:pt x="18" y="120"/>
                  </a:lnTo>
                  <a:lnTo>
                    <a:pt x="18" y="126"/>
                  </a:lnTo>
                  <a:lnTo>
                    <a:pt x="18" y="382"/>
                  </a:lnTo>
                  <a:lnTo>
                    <a:pt x="18" y="388"/>
                  </a:lnTo>
                  <a:lnTo>
                    <a:pt x="21" y="394"/>
                  </a:lnTo>
                  <a:lnTo>
                    <a:pt x="24" y="400"/>
                  </a:lnTo>
                  <a:lnTo>
                    <a:pt x="28" y="405"/>
                  </a:lnTo>
                  <a:lnTo>
                    <a:pt x="33" y="408"/>
                  </a:lnTo>
                  <a:lnTo>
                    <a:pt x="39" y="412"/>
                  </a:lnTo>
                  <a:lnTo>
                    <a:pt x="45" y="413"/>
                  </a:lnTo>
                  <a:lnTo>
                    <a:pt x="51" y="414"/>
                  </a:lnTo>
                  <a:lnTo>
                    <a:pt x="53" y="414"/>
                  </a:lnTo>
                  <a:close/>
                  <a:moveTo>
                    <a:pt x="191" y="480"/>
                  </a:moveTo>
                  <a:lnTo>
                    <a:pt x="191" y="480"/>
                  </a:lnTo>
                  <a:lnTo>
                    <a:pt x="183" y="473"/>
                  </a:lnTo>
                  <a:lnTo>
                    <a:pt x="177" y="465"/>
                  </a:lnTo>
                  <a:lnTo>
                    <a:pt x="173" y="454"/>
                  </a:lnTo>
                  <a:lnTo>
                    <a:pt x="172" y="443"/>
                  </a:lnTo>
                  <a:lnTo>
                    <a:pt x="172" y="45"/>
                  </a:lnTo>
                  <a:lnTo>
                    <a:pt x="173" y="37"/>
                  </a:lnTo>
                  <a:lnTo>
                    <a:pt x="176" y="28"/>
                  </a:lnTo>
                  <a:lnTo>
                    <a:pt x="169" y="31"/>
                  </a:lnTo>
                  <a:lnTo>
                    <a:pt x="163" y="34"/>
                  </a:lnTo>
                  <a:lnTo>
                    <a:pt x="157" y="39"/>
                  </a:lnTo>
                  <a:lnTo>
                    <a:pt x="152" y="44"/>
                  </a:lnTo>
                  <a:lnTo>
                    <a:pt x="147" y="51"/>
                  </a:lnTo>
                  <a:lnTo>
                    <a:pt x="145" y="57"/>
                  </a:lnTo>
                  <a:lnTo>
                    <a:pt x="142" y="64"/>
                  </a:lnTo>
                  <a:lnTo>
                    <a:pt x="142" y="73"/>
                  </a:lnTo>
                  <a:lnTo>
                    <a:pt x="142" y="435"/>
                  </a:lnTo>
                  <a:lnTo>
                    <a:pt x="143" y="444"/>
                  </a:lnTo>
                  <a:lnTo>
                    <a:pt x="146" y="453"/>
                  </a:lnTo>
                  <a:lnTo>
                    <a:pt x="149" y="460"/>
                  </a:lnTo>
                  <a:lnTo>
                    <a:pt x="155" y="467"/>
                  </a:lnTo>
                  <a:lnTo>
                    <a:pt x="163" y="473"/>
                  </a:lnTo>
                  <a:lnTo>
                    <a:pt x="170" y="477"/>
                  </a:lnTo>
                  <a:lnTo>
                    <a:pt x="179" y="479"/>
                  </a:lnTo>
                  <a:lnTo>
                    <a:pt x="188" y="480"/>
                  </a:lnTo>
                  <a:lnTo>
                    <a:pt x="191" y="4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590" name="Group 156"/>
          <p:cNvGrpSpPr>
            <a:grpSpLocks noChangeAspect="1"/>
          </p:cNvGrpSpPr>
          <p:nvPr/>
        </p:nvGrpSpPr>
        <p:grpSpPr bwMode="auto">
          <a:xfrm>
            <a:off x="250825" y="4857750"/>
            <a:ext cx="252413" cy="250825"/>
            <a:chOff x="1320817" y="3032119"/>
            <a:chExt cx="612775" cy="612775"/>
          </a:xfrm>
        </p:grpSpPr>
        <p:sp>
          <p:nvSpPr>
            <p:cNvPr id="131" name="Oval 130">
              <a:extLst>
                <a:ext uri="{FF2B5EF4-FFF2-40B4-BE49-F238E27FC236}"/>
              </a:extLst>
            </p:cNvPr>
            <p:cNvSpPr/>
            <p:nvPr/>
          </p:nvSpPr>
          <p:spPr bwMode="ltGray">
            <a:xfrm>
              <a:off x="1320817" y="3032119"/>
              <a:ext cx="612775" cy="612775"/>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32" name="Freeform 7">
              <a:extLst>
                <a:ext uri="{FF2B5EF4-FFF2-40B4-BE49-F238E27FC236}"/>
              </a:extLst>
            </p:cNvPr>
            <p:cNvSpPr>
              <a:spLocks noEditPoints="1"/>
            </p:cNvSpPr>
            <p:nvPr/>
          </p:nvSpPr>
          <p:spPr bwMode="auto">
            <a:xfrm>
              <a:off x="1401751" y="3078659"/>
              <a:ext cx="489447" cy="515818"/>
            </a:xfrm>
            <a:custGeom>
              <a:avLst/>
              <a:gdLst>
                <a:gd name="T0" fmla="*/ 454351 w 2758"/>
                <a:gd name="T1" fmla="*/ 310591 h 2898"/>
                <a:gd name="T2" fmla="*/ 436603 w 2758"/>
                <a:gd name="T3" fmla="*/ 385488 h 2898"/>
                <a:gd name="T4" fmla="*/ 422404 w 2758"/>
                <a:gd name="T5" fmla="*/ 384068 h 2898"/>
                <a:gd name="T6" fmla="*/ 294973 w 2758"/>
                <a:gd name="T7" fmla="*/ 91935 h 2898"/>
                <a:gd name="T8" fmla="*/ 264801 w 2758"/>
                <a:gd name="T9" fmla="*/ 100809 h 2898"/>
                <a:gd name="T10" fmla="*/ 253088 w 2758"/>
                <a:gd name="T11" fmla="*/ 459675 h 2898"/>
                <a:gd name="T12" fmla="*/ 248118 w 2758"/>
                <a:gd name="T13" fmla="*/ 387263 h 2898"/>
                <a:gd name="T14" fmla="*/ 237469 w 2758"/>
                <a:gd name="T15" fmla="*/ 140565 h 2898"/>
                <a:gd name="T16" fmla="*/ 194874 w 2758"/>
                <a:gd name="T17" fmla="*/ 125301 h 2898"/>
                <a:gd name="T18" fmla="*/ 173931 w 2758"/>
                <a:gd name="T19" fmla="*/ 102939 h 2898"/>
                <a:gd name="T20" fmla="*/ 172511 w 2758"/>
                <a:gd name="T21" fmla="*/ 0 h 2898"/>
                <a:gd name="T22" fmla="*/ 170027 w 2758"/>
                <a:gd name="T23" fmla="*/ 98679 h 2898"/>
                <a:gd name="T24" fmla="*/ 164347 w 2758"/>
                <a:gd name="T25" fmla="*/ 106843 h 2898"/>
                <a:gd name="T26" fmla="*/ 139500 w 2758"/>
                <a:gd name="T27" fmla="*/ 135240 h 2898"/>
                <a:gd name="T28" fmla="*/ 121042 w 2758"/>
                <a:gd name="T29" fmla="*/ 137370 h 2898"/>
                <a:gd name="T30" fmla="*/ 95130 w 2758"/>
                <a:gd name="T31" fmla="*/ 139855 h 2898"/>
                <a:gd name="T32" fmla="*/ 84836 w 2758"/>
                <a:gd name="T33" fmla="*/ 370225 h 2898"/>
                <a:gd name="T34" fmla="*/ 83416 w 2758"/>
                <a:gd name="T35" fmla="*/ 363480 h 2898"/>
                <a:gd name="T36" fmla="*/ 9584 w 2758"/>
                <a:gd name="T37" fmla="*/ 408206 h 2898"/>
                <a:gd name="T38" fmla="*/ 55019 w 2758"/>
                <a:gd name="T39" fmla="*/ 454705 h 2898"/>
                <a:gd name="T40" fmla="*/ 110393 w 2758"/>
                <a:gd name="T41" fmla="*/ 489137 h 2898"/>
                <a:gd name="T42" fmla="*/ 173931 w 2758"/>
                <a:gd name="T43" fmla="*/ 509725 h 2898"/>
                <a:gd name="T44" fmla="*/ 237114 w 2758"/>
                <a:gd name="T45" fmla="*/ 514339 h 2898"/>
                <a:gd name="T46" fmla="*/ 326210 w 2758"/>
                <a:gd name="T47" fmla="*/ 495171 h 2898"/>
                <a:gd name="T48" fmla="*/ 402171 w 2758"/>
                <a:gd name="T49" fmla="*/ 449026 h 2898"/>
                <a:gd name="T50" fmla="*/ 458965 w 2758"/>
                <a:gd name="T51" fmla="*/ 381583 h 2898"/>
                <a:gd name="T52" fmla="*/ 488782 w 2758"/>
                <a:gd name="T53" fmla="*/ 309526 h 2898"/>
                <a:gd name="T54" fmla="*/ 180320 w 2758"/>
                <a:gd name="T55" fmla="*/ 115717 h 2898"/>
                <a:gd name="T56" fmla="*/ 172511 w 2758"/>
                <a:gd name="T57" fmla="*/ 109683 h 2898"/>
                <a:gd name="T58" fmla="*/ 118912 w 2758"/>
                <a:gd name="T59" fmla="*/ 341473 h 2898"/>
                <a:gd name="T60" fmla="*/ 142340 w 2758"/>
                <a:gd name="T61" fmla="*/ 283969 h 2898"/>
                <a:gd name="T62" fmla="*/ 142340 w 2758"/>
                <a:gd name="T63" fmla="*/ 220076 h 2898"/>
                <a:gd name="T64" fmla="*/ 153343 w 2758"/>
                <a:gd name="T65" fmla="*/ 123527 h 2898"/>
                <a:gd name="T66" fmla="*/ 167187 w 2758"/>
                <a:gd name="T67" fmla="*/ 130626 h 2898"/>
                <a:gd name="T68" fmla="*/ 144469 w 2758"/>
                <a:gd name="T69" fmla="*/ 133111 h 2898"/>
                <a:gd name="T70" fmla="*/ 158668 w 2758"/>
                <a:gd name="T71" fmla="*/ 422404 h 2898"/>
                <a:gd name="T72" fmla="*/ 182095 w 2758"/>
                <a:gd name="T73" fmla="*/ 364900 h 2898"/>
                <a:gd name="T74" fmla="*/ 182095 w 2758"/>
                <a:gd name="T75" fmla="*/ 301007 h 2898"/>
                <a:gd name="T76" fmla="*/ 158668 w 2758"/>
                <a:gd name="T77" fmla="*/ 243503 h 2898"/>
                <a:gd name="T78" fmla="*/ 182095 w 2758"/>
                <a:gd name="T79" fmla="*/ 203038 h 2898"/>
                <a:gd name="T80" fmla="*/ 198424 w 2758"/>
                <a:gd name="T81" fmla="*/ 341473 h 2898"/>
                <a:gd name="T82" fmla="*/ 222206 w 2758"/>
                <a:gd name="T83" fmla="*/ 283969 h 2898"/>
                <a:gd name="T84" fmla="*/ 222206 w 2758"/>
                <a:gd name="T85" fmla="*/ 220076 h 2898"/>
                <a:gd name="T86" fmla="*/ 282904 w 2758"/>
                <a:gd name="T87" fmla="*/ 405366 h 2898"/>
                <a:gd name="T88" fmla="*/ 306332 w 2758"/>
                <a:gd name="T89" fmla="*/ 364900 h 2898"/>
                <a:gd name="T90" fmla="*/ 282904 w 2758"/>
                <a:gd name="T91" fmla="*/ 260542 h 2898"/>
                <a:gd name="T92" fmla="*/ 306332 w 2758"/>
                <a:gd name="T93" fmla="*/ 203038 h 2898"/>
                <a:gd name="T94" fmla="*/ 306332 w 2758"/>
                <a:gd name="T95" fmla="*/ 138790 h 2898"/>
                <a:gd name="T96" fmla="*/ 322660 w 2758"/>
                <a:gd name="T97" fmla="*/ 405366 h 2898"/>
                <a:gd name="T98" fmla="*/ 346088 w 2758"/>
                <a:gd name="T99" fmla="*/ 364900 h 2898"/>
                <a:gd name="T100" fmla="*/ 322660 w 2758"/>
                <a:gd name="T101" fmla="*/ 260542 h 2898"/>
                <a:gd name="T102" fmla="*/ 346088 w 2758"/>
                <a:gd name="T103" fmla="*/ 203038 h 2898"/>
                <a:gd name="T104" fmla="*/ 346088 w 2758"/>
                <a:gd name="T105" fmla="*/ 138790 h 2898"/>
                <a:gd name="T106" fmla="*/ 362416 w 2758"/>
                <a:gd name="T107" fmla="*/ 364900 h 2898"/>
                <a:gd name="T108" fmla="*/ 386198 w 2758"/>
                <a:gd name="T109" fmla="*/ 324435 h 2898"/>
                <a:gd name="T110" fmla="*/ 362416 w 2758"/>
                <a:gd name="T111" fmla="*/ 220076 h 2898"/>
                <a:gd name="T112" fmla="*/ 386198 w 2758"/>
                <a:gd name="T113" fmla="*/ 162572 h 28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58" h="2898">
                  <a:moveTo>
                    <a:pt x="2758" y="1692"/>
                  </a:moveTo>
                  <a:lnTo>
                    <a:pt x="2758" y="1692"/>
                  </a:lnTo>
                  <a:lnTo>
                    <a:pt x="2562" y="1692"/>
                  </a:lnTo>
                  <a:lnTo>
                    <a:pt x="2564" y="1730"/>
                  </a:lnTo>
                  <a:lnTo>
                    <a:pt x="2564" y="1738"/>
                  </a:lnTo>
                  <a:lnTo>
                    <a:pt x="2562" y="1744"/>
                  </a:lnTo>
                  <a:lnTo>
                    <a:pt x="2560" y="1750"/>
                  </a:lnTo>
                  <a:lnTo>
                    <a:pt x="2556" y="1754"/>
                  </a:lnTo>
                  <a:lnTo>
                    <a:pt x="2468" y="1754"/>
                  </a:lnTo>
                  <a:lnTo>
                    <a:pt x="2464" y="1856"/>
                  </a:lnTo>
                  <a:lnTo>
                    <a:pt x="2464" y="1960"/>
                  </a:lnTo>
                  <a:lnTo>
                    <a:pt x="2464" y="2066"/>
                  </a:lnTo>
                  <a:lnTo>
                    <a:pt x="2460" y="2172"/>
                  </a:lnTo>
                  <a:lnTo>
                    <a:pt x="2452" y="2170"/>
                  </a:lnTo>
                  <a:lnTo>
                    <a:pt x="2442" y="2170"/>
                  </a:lnTo>
                  <a:lnTo>
                    <a:pt x="2418" y="2170"/>
                  </a:lnTo>
                  <a:lnTo>
                    <a:pt x="2406" y="2172"/>
                  </a:lnTo>
                  <a:lnTo>
                    <a:pt x="2396" y="2170"/>
                  </a:lnTo>
                  <a:lnTo>
                    <a:pt x="2388" y="2168"/>
                  </a:lnTo>
                  <a:lnTo>
                    <a:pt x="2380" y="2164"/>
                  </a:lnTo>
                  <a:lnTo>
                    <a:pt x="2380" y="572"/>
                  </a:lnTo>
                  <a:lnTo>
                    <a:pt x="1670" y="572"/>
                  </a:lnTo>
                  <a:lnTo>
                    <a:pt x="1668" y="540"/>
                  </a:lnTo>
                  <a:lnTo>
                    <a:pt x="1666" y="526"/>
                  </a:lnTo>
                  <a:lnTo>
                    <a:pt x="1662" y="518"/>
                  </a:lnTo>
                  <a:lnTo>
                    <a:pt x="1496" y="518"/>
                  </a:lnTo>
                  <a:lnTo>
                    <a:pt x="1494" y="522"/>
                  </a:lnTo>
                  <a:lnTo>
                    <a:pt x="1494" y="528"/>
                  </a:lnTo>
                  <a:lnTo>
                    <a:pt x="1494" y="546"/>
                  </a:lnTo>
                  <a:lnTo>
                    <a:pt x="1494" y="562"/>
                  </a:lnTo>
                  <a:lnTo>
                    <a:pt x="1492" y="568"/>
                  </a:lnTo>
                  <a:lnTo>
                    <a:pt x="1488" y="572"/>
                  </a:lnTo>
                  <a:lnTo>
                    <a:pt x="1422" y="572"/>
                  </a:lnTo>
                  <a:lnTo>
                    <a:pt x="1422" y="2520"/>
                  </a:lnTo>
                  <a:lnTo>
                    <a:pt x="1424" y="2556"/>
                  </a:lnTo>
                  <a:lnTo>
                    <a:pt x="1426" y="2590"/>
                  </a:lnTo>
                  <a:lnTo>
                    <a:pt x="1426" y="2604"/>
                  </a:lnTo>
                  <a:lnTo>
                    <a:pt x="1422" y="2618"/>
                  </a:lnTo>
                  <a:lnTo>
                    <a:pt x="1418" y="2628"/>
                  </a:lnTo>
                  <a:lnTo>
                    <a:pt x="1414" y="2632"/>
                  </a:lnTo>
                  <a:lnTo>
                    <a:pt x="1408" y="2636"/>
                  </a:lnTo>
                  <a:lnTo>
                    <a:pt x="1402" y="2410"/>
                  </a:lnTo>
                  <a:lnTo>
                    <a:pt x="1398" y="2182"/>
                  </a:lnTo>
                  <a:lnTo>
                    <a:pt x="1398" y="1950"/>
                  </a:lnTo>
                  <a:lnTo>
                    <a:pt x="1398" y="1718"/>
                  </a:lnTo>
                  <a:lnTo>
                    <a:pt x="1402" y="1252"/>
                  </a:lnTo>
                  <a:lnTo>
                    <a:pt x="1402" y="1018"/>
                  </a:lnTo>
                  <a:lnTo>
                    <a:pt x="1400" y="788"/>
                  </a:lnTo>
                  <a:lnTo>
                    <a:pt x="1368" y="790"/>
                  </a:lnTo>
                  <a:lnTo>
                    <a:pt x="1338" y="792"/>
                  </a:lnTo>
                  <a:lnTo>
                    <a:pt x="1308" y="792"/>
                  </a:lnTo>
                  <a:lnTo>
                    <a:pt x="1280" y="790"/>
                  </a:lnTo>
                  <a:lnTo>
                    <a:pt x="1224" y="784"/>
                  </a:lnTo>
                  <a:lnTo>
                    <a:pt x="1168" y="774"/>
                  </a:lnTo>
                  <a:lnTo>
                    <a:pt x="1146" y="752"/>
                  </a:lnTo>
                  <a:lnTo>
                    <a:pt x="1122" y="730"/>
                  </a:lnTo>
                  <a:lnTo>
                    <a:pt x="1098" y="706"/>
                  </a:lnTo>
                  <a:lnTo>
                    <a:pt x="1086" y="694"/>
                  </a:lnTo>
                  <a:lnTo>
                    <a:pt x="1074" y="680"/>
                  </a:lnTo>
                  <a:lnTo>
                    <a:pt x="1052" y="660"/>
                  </a:lnTo>
                  <a:lnTo>
                    <a:pt x="1024" y="634"/>
                  </a:lnTo>
                  <a:lnTo>
                    <a:pt x="998" y="606"/>
                  </a:lnTo>
                  <a:lnTo>
                    <a:pt x="988" y="592"/>
                  </a:lnTo>
                  <a:lnTo>
                    <a:pt x="980" y="580"/>
                  </a:lnTo>
                  <a:lnTo>
                    <a:pt x="976" y="552"/>
                  </a:lnTo>
                  <a:lnTo>
                    <a:pt x="974" y="500"/>
                  </a:lnTo>
                  <a:lnTo>
                    <a:pt x="968" y="340"/>
                  </a:lnTo>
                  <a:lnTo>
                    <a:pt x="966" y="248"/>
                  </a:lnTo>
                  <a:lnTo>
                    <a:pt x="966" y="156"/>
                  </a:lnTo>
                  <a:lnTo>
                    <a:pt x="968" y="70"/>
                  </a:lnTo>
                  <a:lnTo>
                    <a:pt x="972" y="0"/>
                  </a:lnTo>
                  <a:lnTo>
                    <a:pt x="966" y="68"/>
                  </a:lnTo>
                  <a:lnTo>
                    <a:pt x="962" y="136"/>
                  </a:lnTo>
                  <a:lnTo>
                    <a:pt x="958" y="204"/>
                  </a:lnTo>
                  <a:lnTo>
                    <a:pt x="958" y="272"/>
                  </a:lnTo>
                  <a:lnTo>
                    <a:pt x="958" y="414"/>
                  </a:lnTo>
                  <a:lnTo>
                    <a:pt x="958" y="556"/>
                  </a:lnTo>
                  <a:lnTo>
                    <a:pt x="944" y="562"/>
                  </a:lnTo>
                  <a:lnTo>
                    <a:pt x="940" y="566"/>
                  </a:lnTo>
                  <a:lnTo>
                    <a:pt x="936" y="570"/>
                  </a:lnTo>
                  <a:lnTo>
                    <a:pt x="934" y="576"/>
                  </a:lnTo>
                  <a:lnTo>
                    <a:pt x="934" y="580"/>
                  </a:lnTo>
                  <a:lnTo>
                    <a:pt x="936" y="596"/>
                  </a:lnTo>
                  <a:lnTo>
                    <a:pt x="926" y="602"/>
                  </a:lnTo>
                  <a:lnTo>
                    <a:pt x="914" y="612"/>
                  </a:lnTo>
                  <a:lnTo>
                    <a:pt x="894" y="634"/>
                  </a:lnTo>
                  <a:lnTo>
                    <a:pt x="872" y="662"/>
                  </a:lnTo>
                  <a:lnTo>
                    <a:pt x="852" y="690"/>
                  </a:lnTo>
                  <a:lnTo>
                    <a:pt x="830" y="718"/>
                  </a:lnTo>
                  <a:lnTo>
                    <a:pt x="808" y="744"/>
                  </a:lnTo>
                  <a:lnTo>
                    <a:pt x="798" y="754"/>
                  </a:lnTo>
                  <a:lnTo>
                    <a:pt x="786" y="762"/>
                  </a:lnTo>
                  <a:lnTo>
                    <a:pt x="774" y="770"/>
                  </a:lnTo>
                  <a:lnTo>
                    <a:pt x="762" y="774"/>
                  </a:lnTo>
                  <a:lnTo>
                    <a:pt x="752" y="776"/>
                  </a:lnTo>
                  <a:lnTo>
                    <a:pt x="740" y="776"/>
                  </a:lnTo>
                  <a:lnTo>
                    <a:pt x="720" y="776"/>
                  </a:lnTo>
                  <a:lnTo>
                    <a:pt x="700" y="774"/>
                  </a:lnTo>
                  <a:lnTo>
                    <a:pt x="682" y="774"/>
                  </a:lnTo>
                  <a:lnTo>
                    <a:pt x="668" y="788"/>
                  </a:lnTo>
                  <a:lnTo>
                    <a:pt x="650" y="792"/>
                  </a:lnTo>
                  <a:lnTo>
                    <a:pt x="634" y="794"/>
                  </a:lnTo>
                  <a:lnTo>
                    <a:pt x="616" y="794"/>
                  </a:lnTo>
                  <a:lnTo>
                    <a:pt x="596" y="792"/>
                  </a:lnTo>
                  <a:lnTo>
                    <a:pt x="558" y="788"/>
                  </a:lnTo>
                  <a:lnTo>
                    <a:pt x="536" y="788"/>
                  </a:lnTo>
                  <a:lnTo>
                    <a:pt x="516" y="788"/>
                  </a:lnTo>
                  <a:lnTo>
                    <a:pt x="512" y="1114"/>
                  </a:lnTo>
                  <a:lnTo>
                    <a:pt x="512" y="1440"/>
                  </a:lnTo>
                  <a:lnTo>
                    <a:pt x="512" y="1766"/>
                  </a:lnTo>
                  <a:lnTo>
                    <a:pt x="508" y="2086"/>
                  </a:lnTo>
                  <a:lnTo>
                    <a:pt x="478" y="2086"/>
                  </a:lnTo>
                  <a:lnTo>
                    <a:pt x="476" y="2086"/>
                  </a:lnTo>
                  <a:lnTo>
                    <a:pt x="474" y="2084"/>
                  </a:lnTo>
                  <a:lnTo>
                    <a:pt x="474" y="2080"/>
                  </a:lnTo>
                  <a:lnTo>
                    <a:pt x="474" y="2064"/>
                  </a:lnTo>
                  <a:lnTo>
                    <a:pt x="474" y="2058"/>
                  </a:lnTo>
                  <a:lnTo>
                    <a:pt x="474" y="2050"/>
                  </a:lnTo>
                  <a:lnTo>
                    <a:pt x="470" y="2048"/>
                  </a:lnTo>
                  <a:lnTo>
                    <a:pt x="464" y="2048"/>
                  </a:lnTo>
                  <a:lnTo>
                    <a:pt x="0" y="2048"/>
                  </a:lnTo>
                  <a:lnTo>
                    <a:pt x="0" y="2226"/>
                  </a:lnTo>
                  <a:lnTo>
                    <a:pt x="26" y="2262"/>
                  </a:lnTo>
                  <a:lnTo>
                    <a:pt x="54" y="2300"/>
                  </a:lnTo>
                  <a:lnTo>
                    <a:pt x="82" y="2336"/>
                  </a:lnTo>
                  <a:lnTo>
                    <a:pt x="112" y="2370"/>
                  </a:lnTo>
                  <a:lnTo>
                    <a:pt x="142" y="2406"/>
                  </a:lnTo>
                  <a:lnTo>
                    <a:pt x="174" y="2438"/>
                  </a:lnTo>
                  <a:lnTo>
                    <a:pt x="206" y="2470"/>
                  </a:lnTo>
                  <a:lnTo>
                    <a:pt x="240" y="2502"/>
                  </a:lnTo>
                  <a:lnTo>
                    <a:pt x="274" y="2532"/>
                  </a:lnTo>
                  <a:lnTo>
                    <a:pt x="310" y="2562"/>
                  </a:lnTo>
                  <a:lnTo>
                    <a:pt x="346" y="2590"/>
                  </a:lnTo>
                  <a:lnTo>
                    <a:pt x="384" y="2616"/>
                  </a:lnTo>
                  <a:lnTo>
                    <a:pt x="422" y="2644"/>
                  </a:lnTo>
                  <a:lnTo>
                    <a:pt x="460" y="2668"/>
                  </a:lnTo>
                  <a:lnTo>
                    <a:pt x="500" y="2692"/>
                  </a:lnTo>
                  <a:lnTo>
                    <a:pt x="540" y="2714"/>
                  </a:lnTo>
                  <a:lnTo>
                    <a:pt x="580" y="2736"/>
                  </a:lnTo>
                  <a:lnTo>
                    <a:pt x="622" y="2756"/>
                  </a:lnTo>
                  <a:lnTo>
                    <a:pt x="664" y="2776"/>
                  </a:lnTo>
                  <a:lnTo>
                    <a:pt x="708" y="2792"/>
                  </a:lnTo>
                  <a:lnTo>
                    <a:pt x="752" y="2810"/>
                  </a:lnTo>
                  <a:lnTo>
                    <a:pt x="796" y="2824"/>
                  </a:lnTo>
                  <a:lnTo>
                    <a:pt x="840" y="2838"/>
                  </a:lnTo>
                  <a:lnTo>
                    <a:pt x="886" y="2850"/>
                  </a:lnTo>
                  <a:lnTo>
                    <a:pt x="932" y="2862"/>
                  </a:lnTo>
                  <a:lnTo>
                    <a:pt x="980" y="2872"/>
                  </a:lnTo>
                  <a:lnTo>
                    <a:pt x="1026" y="2880"/>
                  </a:lnTo>
                  <a:lnTo>
                    <a:pt x="1074" y="2886"/>
                  </a:lnTo>
                  <a:lnTo>
                    <a:pt x="1122" y="2892"/>
                  </a:lnTo>
                  <a:lnTo>
                    <a:pt x="1170" y="2896"/>
                  </a:lnTo>
                  <a:lnTo>
                    <a:pt x="1220" y="2898"/>
                  </a:lnTo>
                  <a:lnTo>
                    <a:pt x="1268" y="2898"/>
                  </a:lnTo>
                  <a:lnTo>
                    <a:pt x="1336" y="2898"/>
                  </a:lnTo>
                  <a:lnTo>
                    <a:pt x="1402" y="2894"/>
                  </a:lnTo>
                  <a:lnTo>
                    <a:pt x="1466" y="2886"/>
                  </a:lnTo>
                  <a:lnTo>
                    <a:pt x="1532" y="2876"/>
                  </a:lnTo>
                  <a:lnTo>
                    <a:pt x="1594" y="2864"/>
                  </a:lnTo>
                  <a:lnTo>
                    <a:pt x="1658" y="2850"/>
                  </a:lnTo>
                  <a:lnTo>
                    <a:pt x="1718" y="2832"/>
                  </a:lnTo>
                  <a:lnTo>
                    <a:pt x="1780" y="2812"/>
                  </a:lnTo>
                  <a:lnTo>
                    <a:pt x="1838" y="2790"/>
                  </a:lnTo>
                  <a:lnTo>
                    <a:pt x="1896" y="2764"/>
                  </a:lnTo>
                  <a:lnTo>
                    <a:pt x="1954" y="2738"/>
                  </a:lnTo>
                  <a:lnTo>
                    <a:pt x="2010" y="2708"/>
                  </a:lnTo>
                  <a:lnTo>
                    <a:pt x="2064" y="2676"/>
                  </a:lnTo>
                  <a:lnTo>
                    <a:pt x="2116" y="2644"/>
                  </a:lnTo>
                  <a:lnTo>
                    <a:pt x="2168" y="2608"/>
                  </a:lnTo>
                  <a:lnTo>
                    <a:pt x="2218" y="2570"/>
                  </a:lnTo>
                  <a:lnTo>
                    <a:pt x="2266" y="2530"/>
                  </a:lnTo>
                  <a:lnTo>
                    <a:pt x="2312" y="2490"/>
                  </a:lnTo>
                  <a:lnTo>
                    <a:pt x="2356" y="2446"/>
                  </a:lnTo>
                  <a:lnTo>
                    <a:pt x="2400" y="2400"/>
                  </a:lnTo>
                  <a:lnTo>
                    <a:pt x="2440" y="2354"/>
                  </a:lnTo>
                  <a:lnTo>
                    <a:pt x="2480" y="2306"/>
                  </a:lnTo>
                  <a:lnTo>
                    <a:pt x="2516" y="2256"/>
                  </a:lnTo>
                  <a:lnTo>
                    <a:pt x="2552" y="2204"/>
                  </a:lnTo>
                  <a:lnTo>
                    <a:pt x="2586" y="2150"/>
                  </a:lnTo>
                  <a:lnTo>
                    <a:pt x="2616" y="2096"/>
                  </a:lnTo>
                  <a:lnTo>
                    <a:pt x="2646" y="2040"/>
                  </a:lnTo>
                  <a:lnTo>
                    <a:pt x="2672" y="1984"/>
                  </a:lnTo>
                  <a:lnTo>
                    <a:pt x="2696" y="1926"/>
                  </a:lnTo>
                  <a:lnTo>
                    <a:pt x="2718" y="1866"/>
                  </a:lnTo>
                  <a:lnTo>
                    <a:pt x="2738" y="1804"/>
                  </a:lnTo>
                  <a:lnTo>
                    <a:pt x="2754" y="1744"/>
                  </a:lnTo>
                  <a:lnTo>
                    <a:pt x="2754" y="1730"/>
                  </a:lnTo>
                  <a:lnTo>
                    <a:pt x="2756" y="1716"/>
                  </a:lnTo>
                  <a:lnTo>
                    <a:pt x="2758" y="1692"/>
                  </a:lnTo>
                  <a:close/>
                  <a:moveTo>
                    <a:pt x="972" y="618"/>
                  </a:moveTo>
                  <a:lnTo>
                    <a:pt x="972" y="618"/>
                  </a:lnTo>
                  <a:lnTo>
                    <a:pt x="994" y="634"/>
                  </a:lnTo>
                  <a:lnTo>
                    <a:pt x="1016" y="652"/>
                  </a:lnTo>
                  <a:lnTo>
                    <a:pt x="1060" y="694"/>
                  </a:lnTo>
                  <a:lnTo>
                    <a:pt x="1100" y="734"/>
                  </a:lnTo>
                  <a:lnTo>
                    <a:pt x="1132" y="774"/>
                  </a:lnTo>
                  <a:lnTo>
                    <a:pt x="972" y="774"/>
                  </a:lnTo>
                  <a:lnTo>
                    <a:pt x="972" y="618"/>
                  </a:lnTo>
                  <a:close/>
                  <a:moveTo>
                    <a:pt x="802" y="2284"/>
                  </a:moveTo>
                  <a:lnTo>
                    <a:pt x="670" y="2284"/>
                  </a:lnTo>
                  <a:lnTo>
                    <a:pt x="670" y="2152"/>
                  </a:lnTo>
                  <a:lnTo>
                    <a:pt x="802" y="2152"/>
                  </a:lnTo>
                  <a:lnTo>
                    <a:pt x="802" y="2284"/>
                  </a:lnTo>
                  <a:close/>
                  <a:moveTo>
                    <a:pt x="802" y="2056"/>
                  </a:moveTo>
                  <a:lnTo>
                    <a:pt x="670" y="2056"/>
                  </a:lnTo>
                  <a:lnTo>
                    <a:pt x="670" y="1924"/>
                  </a:lnTo>
                  <a:lnTo>
                    <a:pt x="802" y="1924"/>
                  </a:lnTo>
                  <a:lnTo>
                    <a:pt x="802" y="2056"/>
                  </a:lnTo>
                  <a:close/>
                  <a:moveTo>
                    <a:pt x="802" y="1828"/>
                  </a:moveTo>
                  <a:lnTo>
                    <a:pt x="670" y="1828"/>
                  </a:lnTo>
                  <a:lnTo>
                    <a:pt x="670" y="1696"/>
                  </a:lnTo>
                  <a:lnTo>
                    <a:pt x="802" y="1696"/>
                  </a:lnTo>
                  <a:lnTo>
                    <a:pt x="802" y="1828"/>
                  </a:lnTo>
                  <a:close/>
                  <a:moveTo>
                    <a:pt x="802" y="1600"/>
                  </a:moveTo>
                  <a:lnTo>
                    <a:pt x="670" y="1600"/>
                  </a:lnTo>
                  <a:lnTo>
                    <a:pt x="670" y="1468"/>
                  </a:lnTo>
                  <a:lnTo>
                    <a:pt x="802" y="1468"/>
                  </a:lnTo>
                  <a:lnTo>
                    <a:pt x="802" y="1600"/>
                  </a:lnTo>
                  <a:close/>
                  <a:moveTo>
                    <a:pt x="802" y="1372"/>
                  </a:moveTo>
                  <a:lnTo>
                    <a:pt x="670" y="1372"/>
                  </a:lnTo>
                  <a:lnTo>
                    <a:pt x="670" y="1240"/>
                  </a:lnTo>
                  <a:lnTo>
                    <a:pt x="802" y="1240"/>
                  </a:lnTo>
                  <a:lnTo>
                    <a:pt x="802" y="1372"/>
                  </a:lnTo>
                  <a:close/>
                  <a:moveTo>
                    <a:pt x="802" y="1144"/>
                  </a:moveTo>
                  <a:lnTo>
                    <a:pt x="670" y="1144"/>
                  </a:lnTo>
                  <a:lnTo>
                    <a:pt x="670" y="1012"/>
                  </a:lnTo>
                  <a:lnTo>
                    <a:pt x="802" y="1012"/>
                  </a:lnTo>
                  <a:lnTo>
                    <a:pt x="802" y="1144"/>
                  </a:lnTo>
                  <a:close/>
                  <a:moveTo>
                    <a:pt x="864" y="696"/>
                  </a:moveTo>
                  <a:lnTo>
                    <a:pt x="864" y="696"/>
                  </a:lnTo>
                  <a:lnTo>
                    <a:pt x="884" y="678"/>
                  </a:lnTo>
                  <a:lnTo>
                    <a:pt x="902" y="658"/>
                  </a:lnTo>
                  <a:lnTo>
                    <a:pt x="936" y="618"/>
                  </a:lnTo>
                  <a:lnTo>
                    <a:pt x="940" y="636"/>
                  </a:lnTo>
                  <a:lnTo>
                    <a:pt x="942" y="656"/>
                  </a:lnTo>
                  <a:lnTo>
                    <a:pt x="942" y="696"/>
                  </a:lnTo>
                  <a:lnTo>
                    <a:pt x="942" y="736"/>
                  </a:lnTo>
                  <a:lnTo>
                    <a:pt x="942" y="756"/>
                  </a:lnTo>
                  <a:lnTo>
                    <a:pt x="944" y="774"/>
                  </a:lnTo>
                  <a:lnTo>
                    <a:pt x="806" y="774"/>
                  </a:lnTo>
                  <a:lnTo>
                    <a:pt x="806" y="766"/>
                  </a:lnTo>
                  <a:lnTo>
                    <a:pt x="808" y="758"/>
                  </a:lnTo>
                  <a:lnTo>
                    <a:pt x="814" y="750"/>
                  </a:lnTo>
                  <a:lnTo>
                    <a:pt x="824" y="740"/>
                  </a:lnTo>
                  <a:lnTo>
                    <a:pt x="844" y="718"/>
                  </a:lnTo>
                  <a:lnTo>
                    <a:pt x="854" y="708"/>
                  </a:lnTo>
                  <a:lnTo>
                    <a:pt x="864" y="696"/>
                  </a:lnTo>
                  <a:close/>
                  <a:moveTo>
                    <a:pt x="1026" y="2670"/>
                  </a:moveTo>
                  <a:lnTo>
                    <a:pt x="894" y="2670"/>
                  </a:lnTo>
                  <a:lnTo>
                    <a:pt x="894" y="2380"/>
                  </a:lnTo>
                  <a:lnTo>
                    <a:pt x="1026" y="2380"/>
                  </a:lnTo>
                  <a:lnTo>
                    <a:pt x="1026" y="2670"/>
                  </a:lnTo>
                  <a:close/>
                  <a:moveTo>
                    <a:pt x="1026" y="2284"/>
                  </a:moveTo>
                  <a:lnTo>
                    <a:pt x="894" y="2284"/>
                  </a:lnTo>
                  <a:lnTo>
                    <a:pt x="894" y="2152"/>
                  </a:lnTo>
                  <a:lnTo>
                    <a:pt x="1026" y="2152"/>
                  </a:lnTo>
                  <a:lnTo>
                    <a:pt x="1026" y="2284"/>
                  </a:lnTo>
                  <a:close/>
                  <a:moveTo>
                    <a:pt x="1026" y="2056"/>
                  </a:moveTo>
                  <a:lnTo>
                    <a:pt x="894" y="2056"/>
                  </a:lnTo>
                  <a:lnTo>
                    <a:pt x="894" y="1924"/>
                  </a:lnTo>
                  <a:lnTo>
                    <a:pt x="1026" y="1924"/>
                  </a:lnTo>
                  <a:lnTo>
                    <a:pt x="1026" y="2056"/>
                  </a:lnTo>
                  <a:close/>
                  <a:moveTo>
                    <a:pt x="1026" y="1828"/>
                  </a:moveTo>
                  <a:lnTo>
                    <a:pt x="894" y="1828"/>
                  </a:lnTo>
                  <a:lnTo>
                    <a:pt x="894" y="1696"/>
                  </a:lnTo>
                  <a:lnTo>
                    <a:pt x="1026" y="1696"/>
                  </a:lnTo>
                  <a:lnTo>
                    <a:pt x="1026" y="1828"/>
                  </a:lnTo>
                  <a:close/>
                  <a:moveTo>
                    <a:pt x="1026" y="1600"/>
                  </a:moveTo>
                  <a:lnTo>
                    <a:pt x="894" y="1600"/>
                  </a:lnTo>
                  <a:lnTo>
                    <a:pt x="894" y="1468"/>
                  </a:lnTo>
                  <a:lnTo>
                    <a:pt x="1026" y="1468"/>
                  </a:lnTo>
                  <a:lnTo>
                    <a:pt x="1026" y="1600"/>
                  </a:lnTo>
                  <a:close/>
                  <a:moveTo>
                    <a:pt x="1026" y="1372"/>
                  </a:moveTo>
                  <a:lnTo>
                    <a:pt x="894" y="1372"/>
                  </a:lnTo>
                  <a:lnTo>
                    <a:pt x="894" y="1240"/>
                  </a:lnTo>
                  <a:lnTo>
                    <a:pt x="1026" y="1240"/>
                  </a:lnTo>
                  <a:lnTo>
                    <a:pt x="1026" y="1372"/>
                  </a:lnTo>
                  <a:close/>
                  <a:moveTo>
                    <a:pt x="1026" y="1144"/>
                  </a:moveTo>
                  <a:lnTo>
                    <a:pt x="894" y="1144"/>
                  </a:lnTo>
                  <a:lnTo>
                    <a:pt x="894" y="1012"/>
                  </a:lnTo>
                  <a:lnTo>
                    <a:pt x="1026" y="1012"/>
                  </a:lnTo>
                  <a:lnTo>
                    <a:pt x="1026" y="1144"/>
                  </a:lnTo>
                  <a:close/>
                  <a:moveTo>
                    <a:pt x="1252" y="2284"/>
                  </a:moveTo>
                  <a:lnTo>
                    <a:pt x="1118" y="2284"/>
                  </a:lnTo>
                  <a:lnTo>
                    <a:pt x="1118" y="2152"/>
                  </a:lnTo>
                  <a:lnTo>
                    <a:pt x="1252" y="2152"/>
                  </a:lnTo>
                  <a:lnTo>
                    <a:pt x="1252" y="2284"/>
                  </a:lnTo>
                  <a:close/>
                  <a:moveTo>
                    <a:pt x="1252" y="2056"/>
                  </a:moveTo>
                  <a:lnTo>
                    <a:pt x="1118" y="2056"/>
                  </a:lnTo>
                  <a:lnTo>
                    <a:pt x="1118" y="1924"/>
                  </a:lnTo>
                  <a:lnTo>
                    <a:pt x="1252" y="1924"/>
                  </a:lnTo>
                  <a:lnTo>
                    <a:pt x="1252" y="2056"/>
                  </a:lnTo>
                  <a:close/>
                  <a:moveTo>
                    <a:pt x="1252" y="1828"/>
                  </a:moveTo>
                  <a:lnTo>
                    <a:pt x="1118" y="1828"/>
                  </a:lnTo>
                  <a:lnTo>
                    <a:pt x="1118" y="1696"/>
                  </a:lnTo>
                  <a:lnTo>
                    <a:pt x="1252" y="1696"/>
                  </a:lnTo>
                  <a:lnTo>
                    <a:pt x="1252" y="1828"/>
                  </a:lnTo>
                  <a:close/>
                  <a:moveTo>
                    <a:pt x="1252" y="1600"/>
                  </a:moveTo>
                  <a:lnTo>
                    <a:pt x="1118" y="1600"/>
                  </a:lnTo>
                  <a:lnTo>
                    <a:pt x="1118" y="1468"/>
                  </a:lnTo>
                  <a:lnTo>
                    <a:pt x="1252" y="1468"/>
                  </a:lnTo>
                  <a:lnTo>
                    <a:pt x="1252" y="1600"/>
                  </a:lnTo>
                  <a:close/>
                  <a:moveTo>
                    <a:pt x="1252" y="1372"/>
                  </a:moveTo>
                  <a:lnTo>
                    <a:pt x="1118" y="1372"/>
                  </a:lnTo>
                  <a:lnTo>
                    <a:pt x="1118" y="1240"/>
                  </a:lnTo>
                  <a:lnTo>
                    <a:pt x="1252" y="1240"/>
                  </a:lnTo>
                  <a:lnTo>
                    <a:pt x="1252" y="1372"/>
                  </a:lnTo>
                  <a:close/>
                  <a:moveTo>
                    <a:pt x="1252" y="1144"/>
                  </a:moveTo>
                  <a:lnTo>
                    <a:pt x="1118" y="1144"/>
                  </a:lnTo>
                  <a:lnTo>
                    <a:pt x="1118" y="1012"/>
                  </a:lnTo>
                  <a:lnTo>
                    <a:pt x="1252" y="1012"/>
                  </a:lnTo>
                  <a:lnTo>
                    <a:pt x="1252" y="1144"/>
                  </a:lnTo>
                  <a:close/>
                  <a:moveTo>
                    <a:pt x="1726" y="2284"/>
                  </a:moveTo>
                  <a:lnTo>
                    <a:pt x="1594" y="2284"/>
                  </a:lnTo>
                  <a:lnTo>
                    <a:pt x="1594" y="2152"/>
                  </a:lnTo>
                  <a:lnTo>
                    <a:pt x="1726" y="2152"/>
                  </a:lnTo>
                  <a:lnTo>
                    <a:pt x="1726" y="2284"/>
                  </a:lnTo>
                  <a:close/>
                  <a:moveTo>
                    <a:pt x="1726" y="2056"/>
                  </a:moveTo>
                  <a:lnTo>
                    <a:pt x="1594" y="2056"/>
                  </a:lnTo>
                  <a:lnTo>
                    <a:pt x="1594" y="1924"/>
                  </a:lnTo>
                  <a:lnTo>
                    <a:pt x="1726" y="1924"/>
                  </a:lnTo>
                  <a:lnTo>
                    <a:pt x="1726" y="2056"/>
                  </a:lnTo>
                  <a:close/>
                  <a:moveTo>
                    <a:pt x="1726" y="1828"/>
                  </a:moveTo>
                  <a:lnTo>
                    <a:pt x="1594" y="1828"/>
                  </a:lnTo>
                  <a:lnTo>
                    <a:pt x="1594" y="1696"/>
                  </a:lnTo>
                  <a:lnTo>
                    <a:pt x="1726" y="1696"/>
                  </a:lnTo>
                  <a:lnTo>
                    <a:pt x="1726" y="1828"/>
                  </a:lnTo>
                  <a:close/>
                  <a:moveTo>
                    <a:pt x="1726" y="1600"/>
                  </a:moveTo>
                  <a:lnTo>
                    <a:pt x="1594" y="1600"/>
                  </a:lnTo>
                  <a:lnTo>
                    <a:pt x="1594" y="1468"/>
                  </a:lnTo>
                  <a:lnTo>
                    <a:pt x="1726" y="1468"/>
                  </a:lnTo>
                  <a:lnTo>
                    <a:pt x="1726" y="1600"/>
                  </a:lnTo>
                  <a:close/>
                  <a:moveTo>
                    <a:pt x="1726" y="1372"/>
                  </a:moveTo>
                  <a:lnTo>
                    <a:pt x="1594" y="1372"/>
                  </a:lnTo>
                  <a:lnTo>
                    <a:pt x="1594" y="1240"/>
                  </a:lnTo>
                  <a:lnTo>
                    <a:pt x="1726" y="1240"/>
                  </a:lnTo>
                  <a:lnTo>
                    <a:pt x="1726" y="1372"/>
                  </a:lnTo>
                  <a:close/>
                  <a:moveTo>
                    <a:pt x="1726" y="1144"/>
                  </a:moveTo>
                  <a:lnTo>
                    <a:pt x="1594" y="1144"/>
                  </a:lnTo>
                  <a:lnTo>
                    <a:pt x="1594" y="1012"/>
                  </a:lnTo>
                  <a:lnTo>
                    <a:pt x="1726" y="1012"/>
                  </a:lnTo>
                  <a:lnTo>
                    <a:pt x="1726" y="1144"/>
                  </a:lnTo>
                  <a:close/>
                  <a:moveTo>
                    <a:pt x="1726" y="916"/>
                  </a:moveTo>
                  <a:lnTo>
                    <a:pt x="1594" y="916"/>
                  </a:lnTo>
                  <a:lnTo>
                    <a:pt x="1594" y="782"/>
                  </a:lnTo>
                  <a:lnTo>
                    <a:pt x="1726" y="782"/>
                  </a:lnTo>
                  <a:lnTo>
                    <a:pt x="1726" y="916"/>
                  </a:lnTo>
                  <a:close/>
                  <a:moveTo>
                    <a:pt x="1950" y="2670"/>
                  </a:moveTo>
                  <a:lnTo>
                    <a:pt x="1818" y="2670"/>
                  </a:lnTo>
                  <a:lnTo>
                    <a:pt x="1818" y="2380"/>
                  </a:lnTo>
                  <a:lnTo>
                    <a:pt x="1950" y="2380"/>
                  </a:lnTo>
                  <a:lnTo>
                    <a:pt x="1950" y="2670"/>
                  </a:lnTo>
                  <a:close/>
                  <a:moveTo>
                    <a:pt x="1950" y="2284"/>
                  </a:moveTo>
                  <a:lnTo>
                    <a:pt x="1818" y="2284"/>
                  </a:lnTo>
                  <a:lnTo>
                    <a:pt x="1818" y="2152"/>
                  </a:lnTo>
                  <a:lnTo>
                    <a:pt x="1950" y="2152"/>
                  </a:lnTo>
                  <a:lnTo>
                    <a:pt x="1950" y="2284"/>
                  </a:lnTo>
                  <a:close/>
                  <a:moveTo>
                    <a:pt x="1950" y="2056"/>
                  </a:moveTo>
                  <a:lnTo>
                    <a:pt x="1818" y="2056"/>
                  </a:lnTo>
                  <a:lnTo>
                    <a:pt x="1818" y="1924"/>
                  </a:lnTo>
                  <a:lnTo>
                    <a:pt x="1950" y="1924"/>
                  </a:lnTo>
                  <a:lnTo>
                    <a:pt x="1950" y="2056"/>
                  </a:lnTo>
                  <a:close/>
                  <a:moveTo>
                    <a:pt x="1950" y="1828"/>
                  </a:moveTo>
                  <a:lnTo>
                    <a:pt x="1818" y="1828"/>
                  </a:lnTo>
                  <a:lnTo>
                    <a:pt x="1818" y="1696"/>
                  </a:lnTo>
                  <a:lnTo>
                    <a:pt x="1950" y="1696"/>
                  </a:lnTo>
                  <a:lnTo>
                    <a:pt x="1950" y="1828"/>
                  </a:lnTo>
                  <a:close/>
                  <a:moveTo>
                    <a:pt x="1950" y="1600"/>
                  </a:moveTo>
                  <a:lnTo>
                    <a:pt x="1818" y="1600"/>
                  </a:lnTo>
                  <a:lnTo>
                    <a:pt x="1818" y="1468"/>
                  </a:lnTo>
                  <a:lnTo>
                    <a:pt x="1950" y="1468"/>
                  </a:lnTo>
                  <a:lnTo>
                    <a:pt x="1950" y="1600"/>
                  </a:lnTo>
                  <a:close/>
                  <a:moveTo>
                    <a:pt x="1950" y="1372"/>
                  </a:moveTo>
                  <a:lnTo>
                    <a:pt x="1818" y="1372"/>
                  </a:lnTo>
                  <a:lnTo>
                    <a:pt x="1818" y="1240"/>
                  </a:lnTo>
                  <a:lnTo>
                    <a:pt x="1950" y="1240"/>
                  </a:lnTo>
                  <a:lnTo>
                    <a:pt x="1950" y="1372"/>
                  </a:lnTo>
                  <a:close/>
                  <a:moveTo>
                    <a:pt x="1950" y="1144"/>
                  </a:moveTo>
                  <a:lnTo>
                    <a:pt x="1818" y="1144"/>
                  </a:lnTo>
                  <a:lnTo>
                    <a:pt x="1818" y="1012"/>
                  </a:lnTo>
                  <a:lnTo>
                    <a:pt x="1950" y="1012"/>
                  </a:lnTo>
                  <a:lnTo>
                    <a:pt x="1950" y="1144"/>
                  </a:lnTo>
                  <a:close/>
                  <a:moveTo>
                    <a:pt x="1950" y="916"/>
                  </a:moveTo>
                  <a:lnTo>
                    <a:pt x="1818" y="916"/>
                  </a:lnTo>
                  <a:lnTo>
                    <a:pt x="1818" y="782"/>
                  </a:lnTo>
                  <a:lnTo>
                    <a:pt x="1950" y="782"/>
                  </a:lnTo>
                  <a:lnTo>
                    <a:pt x="1950" y="916"/>
                  </a:lnTo>
                  <a:close/>
                  <a:moveTo>
                    <a:pt x="2176" y="2284"/>
                  </a:moveTo>
                  <a:lnTo>
                    <a:pt x="2042" y="2284"/>
                  </a:lnTo>
                  <a:lnTo>
                    <a:pt x="2042" y="2152"/>
                  </a:lnTo>
                  <a:lnTo>
                    <a:pt x="2176" y="2152"/>
                  </a:lnTo>
                  <a:lnTo>
                    <a:pt x="2176" y="2284"/>
                  </a:lnTo>
                  <a:close/>
                  <a:moveTo>
                    <a:pt x="2176" y="2056"/>
                  </a:moveTo>
                  <a:lnTo>
                    <a:pt x="2042" y="2056"/>
                  </a:lnTo>
                  <a:lnTo>
                    <a:pt x="2042" y="1924"/>
                  </a:lnTo>
                  <a:lnTo>
                    <a:pt x="2176" y="1924"/>
                  </a:lnTo>
                  <a:lnTo>
                    <a:pt x="2176" y="2056"/>
                  </a:lnTo>
                  <a:close/>
                  <a:moveTo>
                    <a:pt x="2176" y="1828"/>
                  </a:moveTo>
                  <a:lnTo>
                    <a:pt x="2042" y="1828"/>
                  </a:lnTo>
                  <a:lnTo>
                    <a:pt x="2042" y="1696"/>
                  </a:lnTo>
                  <a:lnTo>
                    <a:pt x="2176" y="1696"/>
                  </a:lnTo>
                  <a:lnTo>
                    <a:pt x="2176" y="1828"/>
                  </a:lnTo>
                  <a:close/>
                  <a:moveTo>
                    <a:pt x="2176" y="1600"/>
                  </a:moveTo>
                  <a:lnTo>
                    <a:pt x="2042" y="1600"/>
                  </a:lnTo>
                  <a:lnTo>
                    <a:pt x="2042" y="1468"/>
                  </a:lnTo>
                  <a:lnTo>
                    <a:pt x="2176" y="1468"/>
                  </a:lnTo>
                  <a:lnTo>
                    <a:pt x="2176" y="1600"/>
                  </a:lnTo>
                  <a:close/>
                  <a:moveTo>
                    <a:pt x="2176" y="1372"/>
                  </a:moveTo>
                  <a:lnTo>
                    <a:pt x="2042" y="1372"/>
                  </a:lnTo>
                  <a:lnTo>
                    <a:pt x="2042" y="1240"/>
                  </a:lnTo>
                  <a:lnTo>
                    <a:pt x="2176" y="1240"/>
                  </a:lnTo>
                  <a:lnTo>
                    <a:pt x="2176" y="1372"/>
                  </a:lnTo>
                  <a:close/>
                  <a:moveTo>
                    <a:pt x="2176" y="1144"/>
                  </a:moveTo>
                  <a:lnTo>
                    <a:pt x="2042" y="1144"/>
                  </a:lnTo>
                  <a:lnTo>
                    <a:pt x="2042" y="1012"/>
                  </a:lnTo>
                  <a:lnTo>
                    <a:pt x="2176" y="1012"/>
                  </a:lnTo>
                  <a:lnTo>
                    <a:pt x="2176" y="1144"/>
                  </a:lnTo>
                  <a:close/>
                  <a:moveTo>
                    <a:pt x="2176" y="916"/>
                  </a:moveTo>
                  <a:lnTo>
                    <a:pt x="2042" y="916"/>
                  </a:lnTo>
                  <a:lnTo>
                    <a:pt x="2042" y="782"/>
                  </a:lnTo>
                  <a:lnTo>
                    <a:pt x="2176" y="782"/>
                  </a:lnTo>
                  <a:lnTo>
                    <a:pt x="2176" y="9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591" name="Group 159"/>
          <p:cNvGrpSpPr>
            <a:grpSpLocks noChangeAspect="1"/>
          </p:cNvGrpSpPr>
          <p:nvPr/>
        </p:nvGrpSpPr>
        <p:grpSpPr bwMode="auto">
          <a:xfrm>
            <a:off x="250825" y="4502150"/>
            <a:ext cx="252413" cy="252413"/>
            <a:chOff x="6177911" y="4588293"/>
            <a:chExt cx="523988" cy="523988"/>
          </a:xfrm>
        </p:grpSpPr>
        <p:sp>
          <p:nvSpPr>
            <p:cNvPr id="134" name="Oval 133">
              <a:extLst>
                <a:ext uri="{FF2B5EF4-FFF2-40B4-BE49-F238E27FC236}"/>
              </a:extLst>
            </p:cNvPr>
            <p:cNvSpPr/>
            <p:nvPr/>
          </p:nvSpPr>
          <p:spPr bwMode="ltGray">
            <a:xfrm>
              <a:off x="6177911" y="4588293"/>
              <a:ext cx="523988" cy="523988"/>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35" name="Freeform 3030">
              <a:extLst>
                <a:ext uri="{FF2B5EF4-FFF2-40B4-BE49-F238E27FC236}"/>
              </a:extLst>
            </p:cNvPr>
            <p:cNvSpPr>
              <a:spLocks noEditPoints="1"/>
            </p:cNvSpPr>
            <p:nvPr/>
          </p:nvSpPr>
          <p:spPr bwMode="auto">
            <a:xfrm>
              <a:off x="6233936" y="4660794"/>
              <a:ext cx="418529" cy="385576"/>
            </a:xfrm>
            <a:custGeom>
              <a:avLst/>
              <a:gdLst>
                <a:gd name="T0" fmla="*/ 429 w 858"/>
                <a:gd name="T1" fmla="*/ 52 h 743"/>
                <a:gd name="T2" fmla="*/ 209 w 858"/>
                <a:gd name="T3" fmla="*/ 121 h 743"/>
                <a:gd name="T4" fmla="*/ 235 w 858"/>
                <a:gd name="T5" fmla="*/ 195 h 743"/>
                <a:gd name="T6" fmla="*/ 429 w 858"/>
                <a:gd name="T7" fmla="*/ 434 h 743"/>
                <a:gd name="T8" fmla="*/ 623 w 858"/>
                <a:gd name="T9" fmla="*/ 195 h 743"/>
                <a:gd name="T10" fmla="*/ 648 w 858"/>
                <a:gd name="T11" fmla="*/ 121 h 743"/>
                <a:gd name="T12" fmla="*/ 748 w 858"/>
                <a:gd name="T13" fmla="*/ 254 h 743"/>
                <a:gd name="T14" fmla="*/ 761 w 858"/>
                <a:gd name="T15" fmla="*/ 160 h 743"/>
                <a:gd name="T16" fmla="*/ 717 w 858"/>
                <a:gd name="T17" fmla="*/ 330 h 743"/>
                <a:gd name="T18" fmla="*/ 748 w 858"/>
                <a:gd name="T19" fmla="*/ 254 h 743"/>
                <a:gd name="T20" fmla="*/ 769 w 858"/>
                <a:gd name="T21" fmla="*/ 254 h 743"/>
                <a:gd name="T22" fmla="*/ 770 w 858"/>
                <a:gd name="T23" fmla="*/ 349 h 743"/>
                <a:gd name="T24" fmla="*/ 770 w 858"/>
                <a:gd name="T25" fmla="*/ 447 h 743"/>
                <a:gd name="T26" fmla="*/ 672 w 858"/>
                <a:gd name="T27" fmla="*/ 509 h 743"/>
                <a:gd name="T28" fmla="*/ 752 w 858"/>
                <a:gd name="T29" fmla="*/ 367 h 743"/>
                <a:gd name="T30" fmla="*/ 603 w 858"/>
                <a:gd name="T31" fmla="*/ 454 h 743"/>
                <a:gd name="T32" fmla="*/ 481 w 858"/>
                <a:gd name="T33" fmla="*/ 657 h 743"/>
                <a:gd name="T34" fmla="*/ 567 w 858"/>
                <a:gd name="T35" fmla="*/ 743 h 743"/>
                <a:gd name="T36" fmla="*/ 590 w 858"/>
                <a:gd name="T37" fmla="*/ 720 h 743"/>
                <a:gd name="T38" fmla="*/ 653 w 858"/>
                <a:gd name="T39" fmla="*/ 657 h 743"/>
                <a:gd name="T40" fmla="*/ 844 w 858"/>
                <a:gd name="T41" fmla="*/ 465 h 743"/>
                <a:gd name="T42" fmla="*/ 858 w 858"/>
                <a:gd name="T43" fmla="*/ 254 h 743"/>
                <a:gd name="T44" fmla="*/ 695 w 858"/>
                <a:gd name="T45" fmla="*/ 334 h 743"/>
                <a:gd name="T46" fmla="*/ 669 w 858"/>
                <a:gd name="T47" fmla="*/ 254 h 743"/>
                <a:gd name="T48" fmla="*/ 672 w 858"/>
                <a:gd name="T49" fmla="*/ 349 h 743"/>
                <a:gd name="T50" fmla="*/ 110 w 858"/>
                <a:gd name="T51" fmla="*/ 335 h 743"/>
                <a:gd name="T52" fmla="*/ 141 w 858"/>
                <a:gd name="T53" fmla="*/ 205 h 743"/>
                <a:gd name="T54" fmla="*/ 55 w 858"/>
                <a:gd name="T55" fmla="*/ 189 h 743"/>
                <a:gd name="T56" fmla="*/ 110 w 858"/>
                <a:gd name="T57" fmla="*/ 335 h 743"/>
                <a:gd name="T58" fmla="*/ 0 w 858"/>
                <a:gd name="T59" fmla="*/ 434 h 743"/>
                <a:gd name="T60" fmla="*/ 198 w 858"/>
                <a:gd name="T61" fmla="*/ 650 h 743"/>
                <a:gd name="T62" fmla="*/ 211 w 858"/>
                <a:gd name="T63" fmla="*/ 664 h 743"/>
                <a:gd name="T64" fmla="*/ 267 w 858"/>
                <a:gd name="T65" fmla="*/ 720 h 743"/>
                <a:gd name="T66" fmla="*/ 377 w 858"/>
                <a:gd name="T67" fmla="*/ 657 h 743"/>
                <a:gd name="T68" fmla="*/ 377 w 858"/>
                <a:gd name="T69" fmla="*/ 485 h 743"/>
                <a:gd name="T70" fmla="*/ 167 w 858"/>
                <a:gd name="T71" fmla="*/ 367 h 743"/>
                <a:gd name="T72" fmla="*/ 106 w 858"/>
                <a:gd name="T73" fmla="*/ 429 h 743"/>
                <a:gd name="T74" fmla="*/ 174 w 858"/>
                <a:gd name="T75" fmla="*/ 534 h 743"/>
                <a:gd name="T76" fmla="*/ 67 w 858"/>
                <a:gd name="T77" fmla="*/ 398 h 743"/>
                <a:gd name="T78" fmla="*/ 88 w 858"/>
                <a:gd name="T79" fmla="*/ 348 h 743"/>
                <a:gd name="T80" fmla="*/ 44 w 858"/>
                <a:gd name="T81" fmla="*/ 210 h 743"/>
                <a:gd name="T82" fmla="*/ 186 w 858"/>
                <a:gd name="T83" fmla="*/ 349 h 743"/>
                <a:gd name="T84" fmla="*/ 189 w 858"/>
                <a:gd name="T85" fmla="*/ 254 h 743"/>
                <a:gd name="T86" fmla="*/ 162 w 858"/>
                <a:gd name="T87" fmla="*/ 334 h 7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58" h="743">
                  <a:moveTo>
                    <a:pt x="528" y="0"/>
                  </a:moveTo>
                  <a:cubicBezTo>
                    <a:pt x="487" y="0"/>
                    <a:pt x="451" y="21"/>
                    <a:pt x="429" y="52"/>
                  </a:cubicBezTo>
                  <a:cubicBezTo>
                    <a:pt x="407" y="21"/>
                    <a:pt x="371" y="0"/>
                    <a:pt x="330" y="0"/>
                  </a:cubicBezTo>
                  <a:cubicBezTo>
                    <a:pt x="264" y="0"/>
                    <a:pt x="209" y="54"/>
                    <a:pt x="209" y="121"/>
                  </a:cubicBezTo>
                  <a:cubicBezTo>
                    <a:pt x="209" y="146"/>
                    <a:pt x="217" y="170"/>
                    <a:pt x="233" y="191"/>
                  </a:cubicBezTo>
                  <a:cubicBezTo>
                    <a:pt x="233" y="193"/>
                    <a:pt x="234" y="194"/>
                    <a:pt x="235" y="195"/>
                  </a:cubicBezTo>
                  <a:cubicBezTo>
                    <a:pt x="412" y="425"/>
                    <a:pt x="412" y="425"/>
                    <a:pt x="412" y="425"/>
                  </a:cubicBezTo>
                  <a:cubicBezTo>
                    <a:pt x="416" y="431"/>
                    <a:pt x="422" y="434"/>
                    <a:pt x="429" y="434"/>
                  </a:cubicBezTo>
                  <a:cubicBezTo>
                    <a:pt x="436" y="434"/>
                    <a:pt x="442" y="431"/>
                    <a:pt x="446" y="425"/>
                  </a:cubicBezTo>
                  <a:cubicBezTo>
                    <a:pt x="623" y="195"/>
                    <a:pt x="623" y="195"/>
                    <a:pt x="623" y="195"/>
                  </a:cubicBezTo>
                  <a:cubicBezTo>
                    <a:pt x="623" y="194"/>
                    <a:pt x="624" y="193"/>
                    <a:pt x="625" y="191"/>
                  </a:cubicBezTo>
                  <a:cubicBezTo>
                    <a:pt x="640" y="170"/>
                    <a:pt x="648" y="146"/>
                    <a:pt x="648" y="121"/>
                  </a:cubicBezTo>
                  <a:cubicBezTo>
                    <a:pt x="648" y="54"/>
                    <a:pt x="594" y="0"/>
                    <a:pt x="528" y="0"/>
                  </a:cubicBezTo>
                  <a:close/>
                  <a:moveTo>
                    <a:pt x="748" y="254"/>
                  </a:moveTo>
                  <a:cubicBezTo>
                    <a:pt x="748" y="221"/>
                    <a:pt x="772" y="194"/>
                    <a:pt x="803" y="189"/>
                  </a:cubicBezTo>
                  <a:cubicBezTo>
                    <a:pt x="797" y="172"/>
                    <a:pt x="781" y="160"/>
                    <a:pt x="761" y="160"/>
                  </a:cubicBezTo>
                  <a:cubicBezTo>
                    <a:pt x="737" y="160"/>
                    <a:pt x="717" y="180"/>
                    <a:pt x="717" y="205"/>
                  </a:cubicBezTo>
                  <a:cubicBezTo>
                    <a:pt x="717" y="330"/>
                    <a:pt x="717" y="330"/>
                    <a:pt x="717" y="330"/>
                  </a:cubicBezTo>
                  <a:cubicBezTo>
                    <a:pt x="727" y="329"/>
                    <a:pt x="738" y="331"/>
                    <a:pt x="748" y="335"/>
                  </a:cubicBezTo>
                  <a:lnTo>
                    <a:pt x="748" y="254"/>
                  </a:lnTo>
                  <a:close/>
                  <a:moveTo>
                    <a:pt x="814" y="210"/>
                  </a:moveTo>
                  <a:cubicBezTo>
                    <a:pt x="789" y="210"/>
                    <a:pt x="769" y="230"/>
                    <a:pt x="769" y="254"/>
                  </a:cubicBezTo>
                  <a:cubicBezTo>
                    <a:pt x="769" y="348"/>
                    <a:pt x="769" y="348"/>
                    <a:pt x="769" y="348"/>
                  </a:cubicBezTo>
                  <a:cubicBezTo>
                    <a:pt x="770" y="349"/>
                    <a:pt x="770" y="349"/>
                    <a:pt x="770" y="349"/>
                  </a:cubicBezTo>
                  <a:cubicBezTo>
                    <a:pt x="783" y="362"/>
                    <a:pt x="791" y="380"/>
                    <a:pt x="791" y="398"/>
                  </a:cubicBezTo>
                  <a:cubicBezTo>
                    <a:pt x="791" y="417"/>
                    <a:pt x="783" y="434"/>
                    <a:pt x="770" y="447"/>
                  </a:cubicBezTo>
                  <a:cubicBezTo>
                    <a:pt x="683" y="534"/>
                    <a:pt x="683" y="534"/>
                    <a:pt x="683" y="534"/>
                  </a:cubicBezTo>
                  <a:cubicBezTo>
                    <a:pt x="681" y="525"/>
                    <a:pt x="677" y="517"/>
                    <a:pt x="672" y="509"/>
                  </a:cubicBezTo>
                  <a:cubicBezTo>
                    <a:pt x="752" y="429"/>
                    <a:pt x="752" y="429"/>
                    <a:pt x="752" y="429"/>
                  </a:cubicBezTo>
                  <a:cubicBezTo>
                    <a:pt x="769" y="412"/>
                    <a:pt x="769" y="384"/>
                    <a:pt x="752" y="367"/>
                  </a:cubicBezTo>
                  <a:cubicBezTo>
                    <a:pt x="735" y="350"/>
                    <a:pt x="707" y="350"/>
                    <a:pt x="690" y="367"/>
                  </a:cubicBezTo>
                  <a:cubicBezTo>
                    <a:pt x="603" y="454"/>
                    <a:pt x="603" y="454"/>
                    <a:pt x="603" y="454"/>
                  </a:cubicBezTo>
                  <a:cubicBezTo>
                    <a:pt x="561" y="441"/>
                    <a:pt x="514" y="452"/>
                    <a:pt x="481" y="485"/>
                  </a:cubicBezTo>
                  <a:cubicBezTo>
                    <a:pt x="433" y="532"/>
                    <a:pt x="433" y="609"/>
                    <a:pt x="481" y="657"/>
                  </a:cubicBezTo>
                  <a:cubicBezTo>
                    <a:pt x="481" y="657"/>
                    <a:pt x="481" y="657"/>
                    <a:pt x="481" y="657"/>
                  </a:cubicBezTo>
                  <a:cubicBezTo>
                    <a:pt x="567" y="743"/>
                    <a:pt x="567" y="743"/>
                    <a:pt x="567" y="743"/>
                  </a:cubicBezTo>
                  <a:cubicBezTo>
                    <a:pt x="590" y="720"/>
                    <a:pt x="590" y="720"/>
                    <a:pt x="590" y="720"/>
                  </a:cubicBezTo>
                  <a:cubicBezTo>
                    <a:pt x="590" y="720"/>
                    <a:pt x="590" y="720"/>
                    <a:pt x="590" y="720"/>
                  </a:cubicBezTo>
                  <a:cubicBezTo>
                    <a:pt x="646" y="664"/>
                    <a:pt x="646" y="664"/>
                    <a:pt x="646" y="664"/>
                  </a:cubicBezTo>
                  <a:cubicBezTo>
                    <a:pt x="649" y="661"/>
                    <a:pt x="651" y="659"/>
                    <a:pt x="653" y="657"/>
                  </a:cubicBezTo>
                  <a:cubicBezTo>
                    <a:pt x="656" y="655"/>
                    <a:pt x="658" y="652"/>
                    <a:pt x="660" y="650"/>
                  </a:cubicBezTo>
                  <a:cubicBezTo>
                    <a:pt x="844" y="465"/>
                    <a:pt x="844" y="465"/>
                    <a:pt x="844" y="465"/>
                  </a:cubicBezTo>
                  <a:cubicBezTo>
                    <a:pt x="853" y="457"/>
                    <a:pt x="858" y="446"/>
                    <a:pt x="858" y="434"/>
                  </a:cubicBezTo>
                  <a:cubicBezTo>
                    <a:pt x="858" y="254"/>
                    <a:pt x="858" y="254"/>
                    <a:pt x="858" y="254"/>
                  </a:cubicBezTo>
                  <a:cubicBezTo>
                    <a:pt x="858" y="230"/>
                    <a:pt x="838" y="210"/>
                    <a:pt x="814" y="210"/>
                  </a:cubicBezTo>
                  <a:close/>
                  <a:moveTo>
                    <a:pt x="695" y="334"/>
                  </a:moveTo>
                  <a:cubicBezTo>
                    <a:pt x="695" y="213"/>
                    <a:pt x="695" y="213"/>
                    <a:pt x="695" y="213"/>
                  </a:cubicBezTo>
                  <a:cubicBezTo>
                    <a:pt x="680" y="220"/>
                    <a:pt x="669" y="236"/>
                    <a:pt x="669" y="254"/>
                  </a:cubicBezTo>
                  <a:cubicBezTo>
                    <a:pt x="669" y="352"/>
                    <a:pt x="669" y="352"/>
                    <a:pt x="669" y="352"/>
                  </a:cubicBezTo>
                  <a:cubicBezTo>
                    <a:pt x="672" y="349"/>
                    <a:pt x="672" y="349"/>
                    <a:pt x="672" y="349"/>
                  </a:cubicBezTo>
                  <a:cubicBezTo>
                    <a:pt x="679" y="342"/>
                    <a:pt x="687" y="337"/>
                    <a:pt x="695" y="334"/>
                  </a:cubicBezTo>
                  <a:close/>
                  <a:moveTo>
                    <a:pt x="110" y="335"/>
                  </a:moveTo>
                  <a:cubicBezTo>
                    <a:pt x="120" y="331"/>
                    <a:pt x="130" y="329"/>
                    <a:pt x="141" y="330"/>
                  </a:cubicBezTo>
                  <a:cubicBezTo>
                    <a:pt x="141" y="205"/>
                    <a:pt x="141" y="205"/>
                    <a:pt x="141" y="205"/>
                  </a:cubicBezTo>
                  <a:cubicBezTo>
                    <a:pt x="141" y="180"/>
                    <a:pt x="121" y="160"/>
                    <a:pt x="96" y="160"/>
                  </a:cubicBezTo>
                  <a:cubicBezTo>
                    <a:pt x="77" y="160"/>
                    <a:pt x="61" y="172"/>
                    <a:pt x="55" y="189"/>
                  </a:cubicBezTo>
                  <a:cubicBezTo>
                    <a:pt x="86" y="194"/>
                    <a:pt x="110" y="221"/>
                    <a:pt x="110" y="254"/>
                  </a:cubicBezTo>
                  <a:lnTo>
                    <a:pt x="110" y="335"/>
                  </a:lnTo>
                  <a:close/>
                  <a:moveTo>
                    <a:pt x="0" y="254"/>
                  </a:moveTo>
                  <a:cubicBezTo>
                    <a:pt x="0" y="434"/>
                    <a:pt x="0" y="434"/>
                    <a:pt x="0" y="434"/>
                  </a:cubicBezTo>
                  <a:cubicBezTo>
                    <a:pt x="0" y="446"/>
                    <a:pt x="5" y="457"/>
                    <a:pt x="13" y="465"/>
                  </a:cubicBezTo>
                  <a:cubicBezTo>
                    <a:pt x="198" y="650"/>
                    <a:pt x="198" y="650"/>
                    <a:pt x="198" y="650"/>
                  </a:cubicBezTo>
                  <a:cubicBezTo>
                    <a:pt x="200" y="652"/>
                    <a:pt x="202" y="655"/>
                    <a:pt x="204" y="657"/>
                  </a:cubicBezTo>
                  <a:cubicBezTo>
                    <a:pt x="206" y="659"/>
                    <a:pt x="209" y="661"/>
                    <a:pt x="211" y="664"/>
                  </a:cubicBezTo>
                  <a:cubicBezTo>
                    <a:pt x="268" y="720"/>
                    <a:pt x="268" y="720"/>
                    <a:pt x="268" y="720"/>
                  </a:cubicBezTo>
                  <a:cubicBezTo>
                    <a:pt x="267" y="720"/>
                    <a:pt x="267" y="720"/>
                    <a:pt x="267" y="720"/>
                  </a:cubicBezTo>
                  <a:cubicBezTo>
                    <a:pt x="290" y="743"/>
                    <a:pt x="290" y="743"/>
                    <a:pt x="290" y="743"/>
                  </a:cubicBezTo>
                  <a:cubicBezTo>
                    <a:pt x="377" y="657"/>
                    <a:pt x="377" y="657"/>
                    <a:pt x="377" y="657"/>
                  </a:cubicBezTo>
                  <a:cubicBezTo>
                    <a:pt x="377" y="657"/>
                    <a:pt x="377" y="657"/>
                    <a:pt x="377" y="657"/>
                  </a:cubicBezTo>
                  <a:cubicBezTo>
                    <a:pt x="424" y="609"/>
                    <a:pt x="424" y="532"/>
                    <a:pt x="377" y="485"/>
                  </a:cubicBezTo>
                  <a:cubicBezTo>
                    <a:pt x="344" y="452"/>
                    <a:pt x="296" y="441"/>
                    <a:pt x="254" y="454"/>
                  </a:cubicBezTo>
                  <a:cubicBezTo>
                    <a:pt x="167" y="367"/>
                    <a:pt x="167" y="367"/>
                    <a:pt x="167" y="367"/>
                  </a:cubicBezTo>
                  <a:cubicBezTo>
                    <a:pt x="150" y="350"/>
                    <a:pt x="123" y="350"/>
                    <a:pt x="106" y="367"/>
                  </a:cubicBezTo>
                  <a:cubicBezTo>
                    <a:pt x="89" y="384"/>
                    <a:pt x="89" y="412"/>
                    <a:pt x="106" y="429"/>
                  </a:cubicBezTo>
                  <a:cubicBezTo>
                    <a:pt x="186" y="509"/>
                    <a:pt x="186" y="509"/>
                    <a:pt x="186" y="509"/>
                  </a:cubicBezTo>
                  <a:cubicBezTo>
                    <a:pt x="181" y="517"/>
                    <a:pt x="177" y="525"/>
                    <a:pt x="174" y="534"/>
                  </a:cubicBezTo>
                  <a:cubicBezTo>
                    <a:pt x="87" y="447"/>
                    <a:pt x="87" y="447"/>
                    <a:pt x="87" y="447"/>
                  </a:cubicBezTo>
                  <a:cubicBezTo>
                    <a:pt x="74" y="434"/>
                    <a:pt x="67" y="417"/>
                    <a:pt x="67" y="398"/>
                  </a:cubicBezTo>
                  <a:cubicBezTo>
                    <a:pt x="67" y="380"/>
                    <a:pt x="74" y="362"/>
                    <a:pt x="87" y="349"/>
                  </a:cubicBezTo>
                  <a:cubicBezTo>
                    <a:pt x="88" y="349"/>
                    <a:pt x="88" y="349"/>
                    <a:pt x="88" y="348"/>
                  </a:cubicBezTo>
                  <a:cubicBezTo>
                    <a:pt x="88" y="254"/>
                    <a:pt x="88" y="254"/>
                    <a:pt x="88" y="254"/>
                  </a:cubicBezTo>
                  <a:cubicBezTo>
                    <a:pt x="88" y="230"/>
                    <a:pt x="68" y="210"/>
                    <a:pt x="44" y="210"/>
                  </a:cubicBezTo>
                  <a:cubicBezTo>
                    <a:pt x="20" y="210"/>
                    <a:pt x="0" y="230"/>
                    <a:pt x="0" y="254"/>
                  </a:cubicBezTo>
                  <a:close/>
                  <a:moveTo>
                    <a:pt x="186" y="349"/>
                  </a:moveTo>
                  <a:cubicBezTo>
                    <a:pt x="189" y="352"/>
                    <a:pt x="189" y="352"/>
                    <a:pt x="189" y="352"/>
                  </a:cubicBezTo>
                  <a:cubicBezTo>
                    <a:pt x="189" y="254"/>
                    <a:pt x="189" y="254"/>
                    <a:pt x="189" y="254"/>
                  </a:cubicBezTo>
                  <a:cubicBezTo>
                    <a:pt x="189" y="236"/>
                    <a:pt x="178" y="220"/>
                    <a:pt x="162" y="213"/>
                  </a:cubicBezTo>
                  <a:cubicBezTo>
                    <a:pt x="162" y="334"/>
                    <a:pt x="162" y="334"/>
                    <a:pt x="162" y="334"/>
                  </a:cubicBezTo>
                  <a:cubicBezTo>
                    <a:pt x="171" y="337"/>
                    <a:pt x="179" y="342"/>
                    <a:pt x="186" y="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592" name="Group 162"/>
          <p:cNvGrpSpPr>
            <a:grpSpLocks/>
          </p:cNvGrpSpPr>
          <p:nvPr/>
        </p:nvGrpSpPr>
        <p:grpSpPr bwMode="auto">
          <a:xfrm>
            <a:off x="250825" y="5891213"/>
            <a:ext cx="252413" cy="252412"/>
            <a:chOff x="345344" y="4465041"/>
            <a:chExt cx="365760" cy="365760"/>
          </a:xfrm>
        </p:grpSpPr>
        <p:sp>
          <p:nvSpPr>
            <p:cNvPr id="137" name="Oval 136">
              <a:extLst>
                <a:ext uri="{FF2B5EF4-FFF2-40B4-BE49-F238E27FC236}"/>
              </a:extLst>
            </p:cNvPr>
            <p:cNvSpPr/>
            <p:nvPr/>
          </p:nvSpPr>
          <p:spPr bwMode="ltGray">
            <a:xfrm>
              <a:off x="345344" y="4465041"/>
              <a:ext cx="365760" cy="365760"/>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38" name="Freeform 8">
              <a:extLst>
                <a:ext uri="{FF2B5EF4-FFF2-40B4-BE49-F238E27FC236}"/>
              </a:extLst>
            </p:cNvPr>
            <p:cNvSpPr>
              <a:spLocks noEditPoints="1"/>
            </p:cNvSpPr>
            <p:nvPr/>
          </p:nvSpPr>
          <p:spPr bwMode="auto">
            <a:xfrm>
              <a:off x="386751" y="4524851"/>
              <a:ext cx="289847" cy="216236"/>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latin typeface="Georgia"/>
                <a:ea typeface="Arial"/>
                <a:cs typeface="Arial"/>
                <a:sym typeface="Arial"/>
              </a:endParaRPr>
            </a:p>
          </p:txBody>
        </p:sp>
      </p:grpSp>
      <p:grpSp>
        <p:nvGrpSpPr>
          <p:cNvPr id="65593" name="Group 165"/>
          <p:cNvGrpSpPr>
            <a:grpSpLocks/>
          </p:cNvGrpSpPr>
          <p:nvPr/>
        </p:nvGrpSpPr>
        <p:grpSpPr bwMode="auto">
          <a:xfrm>
            <a:off x="250825" y="5556250"/>
            <a:ext cx="252413" cy="252413"/>
            <a:chOff x="401838" y="3795461"/>
            <a:chExt cx="365760" cy="365760"/>
          </a:xfrm>
        </p:grpSpPr>
        <p:sp>
          <p:nvSpPr>
            <p:cNvPr id="140" name="Oval 139">
              <a:extLst>
                <a:ext uri="{FF2B5EF4-FFF2-40B4-BE49-F238E27FC236}"/>
              </a:extLst>
            </p:cNvPr>
            <p:cNvSpPr/>
            <p:nvPr/>
          </p:nvSpPr>
          <p:spPr bwMode="ltGray">
            <a:xfrm>
              <a:off x="401838" y="3795461"/>
              <a:ext cx="365760" cy="365760"/>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41" name="Freeform 11">
              <a:extLst>
                <a:ext uri="{FF2B5EF4-FFF2-40B4-BE49-F238E27FC236}"/>
              </a:extLst>
            </p:cNvPr>
            <p:cNvSpPr>
              <a:spLocks noEditPoints="1"/>
            </p:cNvSpPr>
            <p:nvPr/>
          </p:nvSpPr>
          <p:spPr bwMode="auto">
            <a:xfrm>
              <a:off x="424842" y="3797762"/>
              <a:ext cx="287547" cy="324352"/>
            </a:xfrm>
            <a:custGeom>
              <a:avLst/>
              <a:gdLst>
                <a:gd name="T0" fmla="*/ 652 w 744"/>
                <a:gd name="T1" fmla="*/ 330 h 779"/>
                <a:gd name="T2" fmla="*/ 702 w 744"/>
                <a:gd name="T3" fmla="*/ 481 h 779"/>
                <a:gd name="T4" fmla="*/ 694 w 744"/>
                <a:gd name="T5" fmla="*/ 543 h 779"/>
                <a:gd name="T6" fmla="*/ 412 w 744"/>
                <a:gd name="T7" fmla="*/ 631 h 779"/>
                <a:gd name="T8" fmla="*/ 426 w 744"/>
                <a:gd name="T9" fmla="*/ 587 h 779"/>
                <a:gd name="T10" fmla="*/ 436 w 744"/>
                <a:gd name="T11" fmla="*/ 517 h 779"/>
                <a:gd name="T12" fmla="*/ 429 w 744"/>
                <a:gd name="T13" fmla="*/ 449 h 779"/>
                <a:gd name="T14" fmla="*/ 390 w 744"/>
                <a:gd name="T15" fmla="*/ 385 h 779"/>
                <a:gd name="T16" fmla="*/ 404 w 744"/>
                <a:gd name="T17" fmla="*/ 330 h 779"/>
                <a:gd name="T18" fmla="*/ 449 w 744"/>
                <a:gd name="T19" fmla="*/ 270 h 779"/>
                <a:gd name="T20" fmla="*/ 334 w 744"/>
                <a:gd name="T21" fmla="*/ 210 h 779"/>
                <a:gd name="T22" fmla="*/ 473 w 744"/>
                <a:gd name="T23" fmla="*/ 221 h 779"/>
                <a:gd name="T24" fmla="*/ 442 w 744"/>
                <a:gd name="T25" fmla="*/ 171 h 779"/>
                <a:gd name="T26" fmla="*/ 492 w 744"/>
                <a:gd name="T27" fmla="*/ 167 h 779"/>
                <a:gd name="T28" fmla="*/ 428 w 744"/>
                <a:gd name="T29" fmla="*/ 45 h 779"/>
                <a:gd name="T30" fmla="*/ 508 w 744"/>
                <a:gd name="T31" fmla="*/ 85 h 779"/>
                <a:gd name="T32" fmla="*/ 549 w 744"/>
                <a:gd name="T33" fmla="*/ 42 h 779"/>
                <a:gd name="T34" fmla="*/ 608 w 744"/>
                <a:gd name="T35" fmla="*/ 22 h 779"/>
                <a:gd name="T36" fmla="*/ 578 w 744"/>
                <a:gd name="T37" fmla="*/ 116 h 779"/>
                <a:gd name="T38" fmla="*/ 663 w 744"/>
                <a:gd name="T39" fmla="*/ 98 h 779"/>
                <a:gd name="T40" fmla="*/ 583 w 744"/>
                <a:gd name="T41" fmla="*/ 173 h 779"/>
                <a:gd name="T42" fmla="*/ 597 w 744"/>
                <a:gd name="T43" fmla="*/ 200 h 779"/>
                <a:gd name="T44" fmla="*/ 699 w 744"/>
                <a:gd name="T45" fmla="*/ 228 h 779"/>
                <a:gd name="T46" fmla="*/ 593 w 744"/>
                <a:gd name="T47" fmla="*/ 268 h 779"/>
                <a:gd name="T48" fmla="*/ 148 w 744"/>
                <a:gd name="T49" fmla="*/ 762 h 779"/>
                <a:gd name="T50" fmla="*/ 703 w 744"/>
                <a:gd name="T51" fmla="*/ 714 h 779"/>
                <a:gd name="T52" fmla="*/ 127 w 744"/>
                <a:gd name="T53" fmla="*/ 745 h 779"/>
                <a:gd name="T54" fmla="*/ 51 w 744"/>
                <a:gd name="T55" fmla="*/ 658 h 779"/>
                <a:gd name="T56" fmla="*/ 404 w 744"/>
                <a:gd name="T57" fmla="*/ 569 h 779"/>
                <a:gd name="T58" fmla="*/ 402 w 744"/>
                <a:gd name="T59" fmla="*/ 450 h 779"/>
                <a:gd name="T60" fmla="*/ 367 w 744"/>
                <a:gd name="T61" fmla="*/ 398 h 779"/>
                <a:gd name="T62" fmla="*/ 311 w 744"/>
                <a:gd name="T63" fmla="*/ 364 h 779"/>
                <a:gd name="T64" fmla="*/ 287 w 744"/>
                <a:gd name="T65" fmla="*/ 310 h 779"/>
                <a:gd name="T66" fmla="*/ 234 w 744"/>
                <a:gd name="T67" fmla="*/ 277 h 779"/>
                <a:gd name="T68" fmla="*/ 257 w 744"/>
                <a:gd name="T69" fmla="*/ 189 h 779"/>
                <a:gd name="T70" fmla="*/ 232 w 744"/>
                <a:gd name="T71" fmla="*/ 167 h 779"/>
                <a:gd name="T72" fmla="*/ 199 w 744"/>
                <a:gd name="T73" fmla="*/ 163 h 779"/>
                <a:gd name="T74" fmla="*/ 137 w 744"/>
                <a:gd name="T75" fmla="*/ 109 h 779"/>
                <a:gd name="T76" fmla="*/ 0 w 744"/>
                <a:gd name="T77" fmla="*/ 121 h 779"/>
                <a:gd name="T78" fmla="*/ 83 w 744"/>
                <a:gd name="T79" fmla="*/ 235 h 779"/>
                <a:gd name="T80" fmla="*/ 174 w 744"/>
                <a:gd name="T81" fmla="*/ 257 h 779"/>
                <a:gd name="T82" fmla="*/ 130 w 744"/>
                <a:gd name="T83" fmla="*/ 179 h 779"/>
                <a:gd name="T84" fmla="*/ 166 w 744"/>
                <a:gd name="T85" fmla="*/ 185 h 779"/>
                <a:gd name="T86" fmla="*/ 200 w 744"/>
                <a:gd name="T87" fmla="*/ 252 h 779"/>
                <a:gd name="T88" fmla="*/ 169 w 744"/>
                <a:gd name="T89" fmla="*/ 299 h 779"/>
                <a:gd name="T90" fmla="*/ 149 w 744"/>
                <a:gd name="T91" fmla="*/ 377 h 779"/>
                <a:gd name="T92" fmla="*/ 89 w 744"/>
                <a:gd name="T93" fmla="*/ 459 h 779"/>
                <a:gd name="T94" fmla="*/ 84 w 744"/>
                <a:gd name="T95" fmla="*/ 541 h 779"/>
                <a:gd name="T96" fmla="*/ 125 w 744"/>
                <a:gd name="T97" fmla="*/ 632 h 779"/>
                <a:gd name="T98" fmla="*/ 109 w 744"/>
                <a:gd name="T99" fmla="*/ 497 h 779"/>
                <a:gd name="T100" fmla="*/ 152 w 744"/>
                <a:gd name="T101" fmla="*/ 459 h 779"/>
                <a:gd name="T102" fmla="*/ 150 w 744"/>
                <a:gd name="T103" fmla="*/ 617 h 779"/>
                <a:gd name="T104" fmla="*/ 176 w 744"/>
                <a:gd name="T105" fmla="*/ 397 h 779"/>
                <a:gd name="T106" fmla="*/ 161 w 744"/>
                <a:gd name="T107" fmla="*/ 440 h 779"/>
                <a:gd name="T108" fmla="*/ 476 w 744"/>
                <a:gd name="T109" fmla="*/ 498 h 779"/>
                <a:gd name="T110" fmla="*/ 474 w 744"/>
                <a:gd name="T111" fmla="*/ 320 h 779"/>
                <a:gd name="T112" fmla="*/ 579 w 744"/>
                <a:gd name="T113" fmla="*/ 429 h 779"/>
                <a:gd name="T114" fmla="*/ 412 w 744"/>
                <a:gd name="T115" fmla="*/ 393 h 779"/>
                <a:gd name="T116" fmla="*/ 430 w 744"/>
                <a:gd name="T117" fmla="*/ 362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4" h="779">
                  <a:moveTo>
                    <a:pt x="584" y="277"/>
                  </a:moveTo>
                  <a:lnTo>
                    <a:pt x="584" y="277"/>
                  </a:lnTo>
                  <a:lnTo>
                    <a:pt x="593" y="281"/>
                  </a:lnTo>
                  <a:lnTo>
                    <a:pt x="603" y="287"/>
                  </a:lnTo>
                  <a:lnTo>
                    <a:pt x="621" y="299"/>
                  </a:lnTo>
                  <a:lnTo>
                    <a:pt x="637" y="314"/>
                  </a:lnTo>
                  <a:lnTo>
                    <a:pt x="652" y="330"/>
                  </a:lnTo>
                  <a:lnTo>
                    <a:pt x="652" y="330"/>
                  </a:lnTo>
                  <a:lnTo>
                    <a:pt x="663" y="346"/>
                  </a:lnTo>
                  <a:lnTo>
                    <a:pt x="673" y="362"/>
                  </a:lnTo>
                  <a:lnTo>
                    <a:pt x="681" y="380"/>
                  </a:lnTo>
                  <a:lnTo>
                    <a:pt x="688" y="398"/>
                  </a:lnTo>
                  <a:lnTo>
                    <a:pt x="693" y="418"/>
                  </a:lnTo>
                  <a:lnTo>
                    <a:pt x="698" y="439"/>
                  </a:lnTo>
                  <a:lnTo>
                    <a:pt x="700" y="459"/>
                  </a:lnTo>
                  <a:lnTo>
                    <a:pt x="702" y="481"/>
                  </a:lnTo>
                  <a:lnTo>
                    <a:pt x="702" y="481"/>
                  </a:lnTo>
                  <a:lnTo>
                    <a:pt x="700" y="497"/>
                  </a:lnTo>
                  <a:lnTo>
                    <a:pt x="699" y="511"/>
                  </a:lnTo>
                  <a:lnTo>
                    <a:pt x="697" y="527"/>
                  </a:lnTo>
                  <a:lnTo>
                    <a:pt x="694" y="541"/>
                  </a:lnTo>
                  <a:lnTo>
                    <a:pt x="694" y="541"/>
                  </a:lnTo>
                  <a:lnTo>
                    <a:pt x="694" y="543"/>
                  </a:lnTo>
                  <a:lnTo>
                    <a:pt x="694" y="543"/>
                  </a:lnTo>
                  <a:lnTo>
                    <a:pt x="687" y="568"/>
                  </a:lnTo>
                  <a:lnTo>
                    <a:pt x="678" y="591"/>
                  </a:lnTo>
                  <a:lnTo>
                    <a:pt x="666" y="612"/>
                  </a:lnTo>
                  <a:lnTo>
                    <a:pt x="652" y="632"/>
                  </a:lnTo>
                  <a:lnTo>
                    <a:pt x="652" y="632"/>
                  </a:lnTo>
                  <a:lnTo>
                    <a:pt x="411" y="632"/>
                  </a:lnTo>
                  <a:lnTo>
                    <a:pt x="412" y="631"/>
                  </a:lnTo>
                  <a:lnTo>
                    <a:pt x="412" y="631"/>
                  </a:lnTo>
                  <a:lnTo>
                    <a:pt x="418" y="612"/>
                  </a:lnTo>
                  <a:lnTo>
                    <a:pt x="424" y="593"/>
                  </a:lnTo>
                  <a:lnTo>
                    <a:pt x="424" y="593"/>
                  </a:lnTo>
                  <a:lnTo>
                    <a:pt x="430" y="602"/>
                  </a:lnTo>
                  <a:lnTo>
                    <a:pt x="464" y="617"/>
                  </a:lnTo>
                  <a:lnTo>
                    <a:pt x="501" y="600"/>
                  </a:lnTo>
                  <a:lnTo>
                    <a:pt x="448" y="576"/>
                  </a:lnTo>
                  <a:lnTo>
                    <a:pt x="426" y="587"/>
                  </a:lnTo>
                  <a:lnTo>
                    <a:pt x="426" y="587"/>
                  </a:lnTo>
                  <a:lnTo>
                    <a:pt x="430" y="568"/>
                  </a:lnTo>
                  <a:lnTo>
                    <a:pt x="434" y="549"/>
                  </a:lnTo>
                  <a:lnTo>
                    <a:pt x="448" y="556"/>
                  </a:lnTo>
                  <a:lnTo>
                    <a:pt x="501" y="532"/>
                  </a:lnTo>
                  <a:lnTo>
                    <a:pt x="453" y="509"/>
                  </a:lnTo>
                  <a:lnTo>
                    <a:pt x="436" y="517"/>
                  </a:lnTo>
                  <a:lnTo>
                    <a:pt x="436" y="517"/>
                  </a:lnTo>
                  <a:lnTo>
                    <a:pt x="436" y="500"/>
                  </a:lnTo>
                  <a:lnTo>
                    <a:pt x="436" y="485"/>
                  </a:lnTo>
                  <a:lnTo>
                    <a:pt x="436" y="485"/>
                  </a:lnTo>
                  <a:lnTo>
                    <a:pt x="435" y="480"/>
                  </a:lnTo>
                  <a:lnTo>
                    <a:pt x="453" y="488"/>
                  </a:lnTo>
                  <a:lnTo>
                    <a:pt x="501" y="465"/>
                  </a:lnTo>
                  <a:lnTo>
                    <a:pt x="446" y="440"/>
                  </a:lnTo>
                  <a:lnTo>
                    <a:pt x="429" y="449"/>
                  </a:lnTo>
                  <a:lnTo>
                    <a:pt x="429" y="449"/>
                  </a:lnTo>
                  <a:lnTo>
                    <a:pt x="425" y="438"/>
                  </a:lnTo>
                  <a:lnTo>
                    <a:pt x="422" y="428"/>
                  </a:lnTo>
                  <a:lnTo>
                    <a:pt x="417" y="418"/>
                  </a:lnTo>
                  <a:lnTo>
                    <a:pt x="412" y="409"/>
                  </a:lnTo>
                  <a:lnTo>
                    <a:pt x="405" y="400"/>
                  </a:lnTo>
                  <a:lnTo>
                    <a:pt x="399" y="392"/>
                  </a:lnTo>
                  <a:lnTo>
                    <a:pt x="390" y="385"/>
                  </a:lnTo>
                  <a:lnTo>
                    <a:pt x="382" y="377"/>
                  </a:lnTo>
                  <a:lnTo>
                    <a:pt x="382" y="377"/>
                  </a:lnTo>
                  <a:lnTo>
                    <a:pt x="377" y="375"/>
                  </a:lnTo>
                  <a:lnTo>
                    <a:pt x="377" y="375"/>
                  </a:lnTo>
                  <a:lnTo>
                    <a:pt x="383" y="363"/>
                  </a:lnTo>
                  <a:lnTo>
                    <a:pt x="389" y="351"/>
                  </a:lnTo>
                  <a:lnTo>
                    <a:pt x="396" y="340"/>
                  </a:lnTo>
                  <a:lnTo>
                    <a:pt x="404" y="330"/>
                  </a:lnTo>
                  <a:lnTo>
                    <a:pt x="404" y="330"/>
                  </a:lnTo>
                  <a:lnTo>
                    <a:pt x="416" y="316"/>
                  </a:lnTo>
                  <a:lnTo>
                    <a:pt x="429" y="304"/>
                  </a:lnTo>
                  <a:lnTo>
                    <a:pt x="443" y="293"/>
                  </a:lnTo>
                  <a:lnTo>
                    <a:pt x="458" y="283"/>
                  </a:lnTo>
                  <a:lnTo>
                    <a:pt x="458" y="283"/>
                  </a:lnTo>
                  <a:lnTo>
                    <a:pt x="454" y="276"/>
                  </a:lnTo>
                  <a:lnTo>
                    <a:pt x="449" y="270"/>
                  </a:lnTo>
                  <a:lnTo>
                    <a:pt x="438" y="258"/>
                  </a:lnTo>
                  <a:lnTo>
                    <a:pt x="424" y="247"/>
                  </a:lnTo>
                  <a:lnTo>
                    <a:pt x="410" y="238"/>
                  </a:lnTo>
                  <a:lnTo>
                    <a:pt x="393" y="230"/>
                  </a:lnTo>
                  <a:lnTo>
                    <a:pt x="374" y="222"/>
                  </a:lnTo>
                  <a:lnTo>
                    <a:pt x="354" y="216"/>
                  </a:lnTo>
                  <a:lnTo>
                    <a:pt x="334" y="210"/>
                  </a:lnTo>
                  <a:lnTo>
                    <a:pt x="334" y="210"/>
                  </a:lnTo>
                  <a:lnTo>
                    <a:pt x="358" y="208"/>
                  </a:lnTo>
                  <a:lnTo>
                    <a:pt x="381" y="205"/>
                  </a:lnTo>
                  <a:lnTo>
                    <a:pt x="402" y="204"/>
                  </a:lnTo>
                  <a:lnTo>
                    <a:pt x="423" y="205"/>
                  </a:lnTo>
                  <a:lnTo>
                    <a:pt x="441" y="208"/>
                  </a:lnTo>
                  <a:lnTo>
                    <a:pt x="458" y="212"/>
                  </a:lnTo>
                  <a:lnTo>
                    <a:pt x="466" y="216"/>
                  </a:lnTo>
                  <a:lnTo>
                    <a:pt x="473" y="221"/>
                  </a:lnTo>
                  <a:lnTo>
                    <a:pt x="482" y="226"/>
                  </a:lnTo>
                  <a:lnTo>
                    <a:pt x="489" y="232"/>
                  </a:lnTo>
                  <a:lnTo>
                    <a:pt x="489" y="232"/>
                  </a:lnTo>
                  <a:lnTo>
                    <a:pt x="483" y="218"/>
                  </a:lnTo>
                  <a:lnTo>
                    <a:pt x="474" y="206"/>
                  </a:lnTo>
                  <a:lnTo>
                    <a:pt x="465" y="194"/>
                  </a:lnTo>
                  <a:lnTo>
                    <a:pt x="454" y="182"/>
                  </a:lnTo>
                  <a:lnTo>
                    <a:pt x="442" y="171"/>
                  </a:lnTo>
                  <a:lnTo>
                    <a:pt x="429" y="159"/>
                  </a:lnTo>
                  <a:lnTo>
                    <a:pt x="399" y="139"/>
                  </a:lnTo>
                  <a:lnTo>
                    <a:pt x="399" y="139"/>
                  </a:lnTo>
                  <a:lnTo>
                    <a:pt x="426" y="144"/>
                  </a:lnTo>
                  <a:lnTo>
                    <a:pt x="450" y="151"/>
                  </a:lnTo>
                  <a:lnTo>
                    <a:pt x="473" y="157"/>
                  </a:lnTo>
                  <a:lnTo>
                    <a:pt x="492" y="167"/>
                  </a:lnTo>
                  <a:lnTo>
                    <a:pt x="492" y="167"/>
                  </a:lnTo>
                  <a:lnTo>
                    <a:pt x="491" y="147"/>
                  </a:lnTo>
                  <a:lnTo>
                    <a:pt x="488" y="129"/>
                  </a:lnTo>
                  <a:lnTo>
                    <a:pt x="480" y="111"/>
                  </a:lnTo>
                  <a:lnTo>
                    <a:pt x="473" y="96"/>
                  </a:lnTo>
                  <a:lnTo>
                    <a:pt x="464" y="80"/>
                  </a:lnTo>
                  <a:lnTo>
                    <a:pt x="453" y="67"/>
                  </a:lnTo>
                  <a:lnTo>
                    <a:pt x="441" y="55"/>
                  </a:lnTo>
                  <a:lnTo>
                    <a:pt x="428" y="45"/>
                  </a:lnTo>
                  <a:lnTo>
                    <a:pt x="428" y="45"/>
                  </a:lnTo>
                  <a:lnTo>
                    <a:pt x="441" y="49"/>
                  </a:lnTo>
                  <a:lnTo>
                    <a:pt x="453" y="52"/>
                  </a:lnTo>
                  <a:lnTo>
                    <a:pt x="465" y="57"/>
                  </a:lnTo>
                  <a:lnTo>
                    <a:pt x="477" y="62"/>
                  </a:lnTo>
                  <a:lnTo>
                    <a:pt x="488" y="69"/>
                  </a:lnTo>
                  <a:lnTo>
                    <a:pt x="498" y="76"/>
                  </a:lnTo>
                  <a:lnTo>
                    <a:pt x="508" y="85"/>
                  </a:lnTo>
                  <a:lnTo>
                    <a:pt x="518" y="94"/>
                  </a:lnTo>
                  <a:lnTo>
                    <a:pt x="518" y="94"/>
                  </a:lnTo>
                  <a:lnTo>
                    <a:pt x="521" y="85"/>
                  </a:lnTo>
                  <a:lnTo>
                    <a:pt x="526" y="75"/>
                  </a:lnTo>
                  <a:lnTo>
                    <a:pt x="531" y="65"/>
                  </a:lnTo>
                  <a:lnTo>
                    <a:pt x="536" y="58"/>
                  </a:lnTo>
                  <a:lnTo>
                    <a:pt x="542" y="50"/>
                  </a:lnTo>
                  <a:lnTo>
                    <a:pt x="549" y="42"/>
                  </a:lnTo>
                  <a:lnTo>
                    <a:pt x="563" y="30"/>
                  </a:lnTo>
                  <a:lnTo>
                    <a:pt x="579" y="20"/>
                  </a:lnTo>
                  <a:lnTo>
                    <a:pt x="596" y="11"/>
                  </a:lnTo>
                  <a:lnTo>
                    <a:pt x="614" y="5"/>
                  </a:lnTo>
                  <a:lnTo>
                    <a:pt x="632" y="0"/>
                  </a:lnTo>
                  <a:lnTo>
                    <a:pt x="632" y="0"/>
                  </a:lnTo>
                  <a:lnTo>
                    <a:pt x="619" y="10"/>
                  </a:lnTo>
                  <a:lnTo>
                    <a:pt x="608" y="22"/>
                  </a:lnTo>
                  <a:lnTo>
                    <a:pt x="596" y="35"/>
                  </a:lnTo>
                  <a:lnTo>
                    <a:pt x="586" y="51"/>
                  </a:lnTo>
                  <a:lnTo>
                    <a:pt x="579" y="68"/>
                  </a:lnTo>
                  <a:lnTo>
                    <a:pt x="573" y="85"/>
                  </a:lnTo>
                  <a:lnTo>
                    <a:pt x="568" y="104"/>
                  </a:lnTo>
                  <a:lnTo>
                    <a:pt x="567" y="122"/>
                  </a:lnTo>
                  <a:lnTo>
                    <a:pt x="567" y="122"/>
                  </a:lnTo>
                  <a:lnTo>
                    <a:pt x="578" y="116"/>
                  </a:lnTo>
                  <a:lnTo>
                    <a:pt x="590" y="110"/>
                  </a:lnTo>
                  <a:lnTo>
                    <a:pt x="601" y="106"/>
                  </a:lnTo>
                  <a:lnTo>
                    <a:pt x="613" y="103"/>
                  </a:lnTo>
                  <a:lnTo>
                    <a:pt x="626" y="100"/>
                  </a:lnTo>
                  <a:lnTo>
                    <a:pt x="638" y="98"/>
                  </a:lnTo>
                  <a:lnTo>
                    <a:pt x="650" y="98"/>
                  </a:lnTo>
                  <a:lnTo>
                    <a:pt x="663" y="98"/>
                  </a:lnTo>
                  <a:lnTo>
                    <a:pt x="663" y="98"/>
                  </a:lnTo>
                  <a:lnTo>
                    <a:pt x="651" y="103"/>
                  </a:lnTo>
                  <a:lnTo>
                    <a:pt x="640" y="109"/>
                  </a:lnTo>
                  <a:lnTo>
                    <a:pt x="628" y="117"/>
                  </a:lnTo>
                  <a:lnTo>
                    <a:pt x="617" y="126"/>
                  </a:lnTo>
                  <a:lnTo>
                    <a:pt x="608" y="135"/>
                  </a:lnTo>
                  <a:lnTo>
                    <a:pt x="598" y="147"/>
                  </a:lnTo>
                  <a:lnTo>
                    <a:pt x="590" y="159"/>
                  </a:lnTo>
                  <a:lnTo>
                    <a:pt x="583" y="173"/>
                  </a:lnTo>
                  <a:lnTo>
                    <a:pt x="583" y="173"/>
                  </a:lnTo>
                  <a:lnTo>
                    <a:pt x="598" y="167"/>
                  </a:lnTo>
                  <a:lnTo>
                    <a:pt x="616" y="162"/>
                  </a:lnTo>
                  <a:lnTo>
                    <a:pt x="656" y="153"/>
                  </a:lnTo>
                  <a:lnTo>
                    <a:pt x="656" y="153"/>
                  </a:lnTo>
                  <a:lnTo>
                    <a:pt x="634" y="168"/>
                  </a:lnTo>
                  <a:lnTo>
                    <a:pt x="615" y="183"/>
                  </a:lnTo>
                  <a:lnTo>
                    <a:pt x="597" y="200"/>
                  </a:lnTo>
                  <a:lnTo>
                    <a:pt x="583" y="217"/>
                  </a:lnTo>
                  <a:lnTo>
                    <a:pt x="583" y="217"/>
                  </a:lnTo>
                  <a:lnTo>
                    <a:pt x="595" y="215"/>
                  </a:lnTo>
                  <a:lnTo>
                    <a:pt x="608" y="214"/>
                  </a:lnTo>
                  <a:lnTo>
                    <a:pt x="621" y="215"/>
                  </a:lnTo>
                  <a:lnTo>
                    <a:pt x="636" y="216"/>
                  </a:lnTo>
                  <a:lnTo>
                    <a:pt x="666" y="221"/>
                  </a:lnTo>
                  <a:lnTo>
                    <a:pt x="699" y="228"/>
                  </a:lnTo>
                  <a:lnTo>
                    <a:pt x="699" y="228"/>
                  </a:lnTo>
                  <a:lnTo>
                    <a:pt x="681" y="232"/>
                  </a:lnTo>
                  <a:lnTo>
                    <a:pt x="664" y="235"/>
                  </a:lnTo>
                  <a:lnTo>
                    <a:pt x="648" y="240"/>
                  </a:lnTo>
                  <a:lnTo>
                    <a:pt x="632" y="245"/>
                  </a:lnTo>
                  <a:lnTo>
                    <a:pt x="619" y="252"/>
                  </a:lnTo>
                  <a:lnTo>
                    <a:pt x="605" y="259"/>
                  </a:lnTo>
                  <a:lnTo>
                    <a:pt x="593" y="268"/>
                  </a:lnTo>
                  <a:lnTo>
                    <a:pt x="584" y="277"/>
                  </a:lnTo>
                  <a:lnTo>
                    <a:pt x="584" y="277"/>
                  </a:lnTo>
                  <a:close/>
                  <a:moveTo>
                    <a:pt x="148" y="762"/>
                  </a:moveTo>
                  <a:lnTo>
                    <a:pt x="642" y="762"/>
                  </a:lnTo>
                  <a:lnTo>
                    <a:pt x="642" y="779"/>
                  </a:lnTo>
                  <a:lnTo>
                    <a:pt x="148" y="779"/>
                  </a:lnTo>
                  <a:lnTo>
                    <a:pt x="148" y="762"/>
                  </a:lnTo>
                  <a:lnTo>
                    <a:pt x="148" y="762"/>
                  </a:lnTo>
                  <a:close/>
                  <a:moveTo>
                    <a:pt x="51" y="658"/>
                  </a:moveTo>
                  <a:lnTo>
                    <a:pt x="51" y="658"/>
                  </a:lnTo>
                  <a:lnTo>
                    <a:pt x="744" y="658"/>
                  </a:lnTo>
                  <a:lnTo>
                    <a:pt x="744" y="658"/>
                  </a:lnTo>
                  <a:lnTo>
                    <a:pt x="735" y="674"/>
                  </a:lnTo>
                  <a:lnTo>
                    <a:pt x="726" y="688"/>
                  </a:lnTo>
                  <a:lnTo>
                    <a:pt x="715" y="702"/>
                  </a:lnTo>
                  <a:lnTo>
                    <a:pt x="703" y="714"/>
                  </a:lnTo>
                  <a:lnTo>
                    <a:pt x="691" y="725"/>
                  </a:lnTo>
                  <a:lnTo>
                    <a:pt x="678" y="734"/>
                  </a:lnTo>
                  <a:lnTo>
                    <a:pt x="664" y="744"/>
                  </a:lnTo>
                  <a:lnTo>
                    <a:pt x="650" y="752"/>
                  </a:lnTo>
                  <a:lnTo>
                    <a:pt x="650" y="752"/>
                  </a:lnTo>
                  <a:lnTo>
                    <a:pt x="140" y="752"/>
                  </a:lnTo>
                  <a:lnTo>
                    <a:pt x="140" y="752"/>
                  </a:lnTo>
                  <a:lnTo>
                    <a:pt x="127" y="745"/>
                  </a:lnTo>
                  <a:lnTo>
                    <a:pt x="115" y="737"/>
                  </a:lnTo>
                  <a:lnTo>
                    <a:pt x="103" y="727"/>
                  </a:lnTo>
                  <a:lnTo>
                    <a:pt x="91" y="716"/>
                  </a:lnTo>
                  <a:lnTo>
                    <a:pt x="80" y="704"/>
                  </a:lnTo>
                  <a:lnTo>
                    <a:pt x="69" y="691"/>
                  </a:lnTo>
                  <a:lnTo>
                    <a:pt x="60" y="675"/>
                  </a:lnTo>
                  <a:lnTo>
                    <a:pt x="51" y="658"/>
                  </a:lnTo>
                  <a:lnTo>
                    <a:pt x="51" y="658"/>
                  </a:lnTo>
                  <a:close/>
                  <a:moveTo>
                    <a:pt x="125" y="632"/>
                  </a:moveTo>
                  <a:lnTo>
                    <a:pt x="383" y="632"/>
                  </a:lnTo>
                  <a:lnTo>
                    <a:pt x="383" y="632"/>
                  </a:lnTo>
                  <a:lnTo>
                    <a:pt x="388" y="621"/>
                  </a:lnTo>
                  <a:lnTo>
                    <a:pt x="388" y="621"/>
                  </a:lnTo>
                  <a:lnTo>
                    <a:pt x="394" y="603"/>
                  </a:lnTo>
                  <a:lnTo>
                    <a:pt x="399" y="586"/>
                  </a:lnTo>
                  <a:lnTo>
                    <a:pt x="404" y="569"/>
                  </a:lnTo>
                  <a:lnTo>
                    <a:pt x="407" y="552"/>
                  </a:lnTo>
                  <a:lnTo>
                    <a:pt x="410" y="537"/>
                  </a:lnTo>
                  <a:lnTo>
                    <a:pt x="411" y="520"/>
                  </a:lnTo>
                  <a:lnTo>
                    <a:pt x="411" y="505"/>
                  </a:lnTo>
                  <a:lnTo>
                    <a:pt x="410" y="490"/>
                  </a:lnTo>
                  <a:lnTo>
                    <a:pt x="408" y="476"/>
                  </a:lnTo>
                  <a:lnTo>
                    <a:pt x="406" y="462"/>
                  </a:lnTo>
                  <a:lnTo>
                    <a:pt x="402" y="450"/>
                  </a:lnTo>
                  <a:lnTo>
                    <a:pt x="398" y="438"/>
                  </a:lnTo>
                  <a:lnTo>
                    <a:pt x="393" y="427"/>
                  </a:lnTo>
                  <a:lnTo>
                    <a:pt x="386" y="417"/>
                  </a:lnTo>
                  <a:lnTo>
                    <a:pt x="378" y="409"/>
                  </a:lnTo>
                  <a:lnTo>
                    <a:pt x="370" y="402"/>
                  </a:lnTo>
                  <a:lnTo>
                    <a:pt x="370" y="402"/>
                  </a:lnTo>
                  <a:lnTo>
                    <a:pt x="370" y="402"/>
                  </a:lnTo>
                  <a:lnTo>
                    <a:pt x="367" y="398"/>
                  </a:lnTo>
                  <a:lnTo>
                    <a:pt x="358" y="390"/>
                  </a:lnTo>
                  <a:lnTo>
                    <a:pt x="351" y="384"/>
                  </a:lnTo>
                  <a:lnTo>
                    <a:pt x="342" y="379"/>
                  </a:lnTo>
                  <a:lnTo>
                    <a:pt x="333" y="374"/>
                  </a:lnTo>
                  <a:lnTo>
                    <a:pt x="322" y="369"/>
                  </a:lnTo>
                  <a:lnTo>
                    <a:pt x="322" y="369"/>
                  </a:lnTo>
                  <a:lnTo>
                    <a:pt x="316" y="368"/>
                  </a:lnTo>
                  <a:lnTo>
                    <a:pt x="311" y="364"/>
                  </a:lnTo>
                  <a:lnTo>
                    <a:pt x="307" y="361"/>
                  </a:lnTo>
                  <a:lnTo>
                    <a:pt x="304" y="357"/>
                  </a:lnTo>
                  <a:lnTo>
                    <a:pt x="298" y="349"/>
                  </a:lnTo>
                  <a:lnTo>
                    <a:pt x="294" y="339"/>
                  </a:lnTo>
                  <a:lnTo>
                    <a:pt x="292" y="330"/>
                  </a:lnTo>
                  <a:lnTo>
                    <a:pt x="291" y="322"/>
                  </a:lnTo>
                  <a:lnTo>
                    <a:pt x="288" y="315"/>
                  </a:lnTo>
                  <a:lnTo>
                    <a:pt x="287" y="310"/>
                  </a:lnTo>
                  <a:lnTo>
                    <a:pt x="287" y="310"/>
                  </a:lnTo>
                  <a:lnTo>
                    <a:pt x="283" y="302"/>
                  </a:lnTo>
                  <a:lnTo>
                    <a:pt x="280" y="297"/>
                  </a:lnTo>
                  <a:lnTo>
                    <a:pt x="275" y="292"/>
                  </a:lnTo>
                  <a:lnTo>
                    <a:pt x="268" y="287"/>
                  </a:lnTo>
                  <a:lnTo>
                    <a:pt x="259" y="283"/>
                  </a:lnTo>
                  <a:lnTo>
                    <a:pt x="249" y="280"/>
                  </a:lnTo>
                  <a:lnTo>
                    <a:pt x="234" y="277"/>
                  </a:lnTo>
                  <a:lnTo>
                    <a:pt x="234" y="277"/>
                  </a:lnTo>
                  <a:lnTo>
                    <a:pt x="235" y="256"/>
                  </a:lnTo>
                  <a:lnTo>
                    <a:pt x="235" y="256"/>
                  </a:lnTo>
                  <a:lnTo>
                    <a:pt x="238" y="239"/>
                  </a:lnTo>
                  <a:lnTo>
                    <a:pt x="243" y="222"/>
                  </a:lnTo>
                  <a:lnTo>
                    <a:pt x="249" y="206"/>
                  </a:lnTo>
                  <a:lnTo>
                    <a:pt x="257" y="189"/>
                  </a:lnTo>
                  <a:lnTo>
                    <a:pt x="257" y="189"/>
                  </a:lnTo>
                  <a:lnTo>
                    <a:pt x="259" y="183"/>
                  </a:lnTo>
                  <a:lnTo>
                    <a:pt x="259" y="177"/>
                  </a:lnTo>
                  <a:lnTo>
                    <a:pt x="257" y="171"/>
                  </a:lnTo>
                  <a:lnTo>
                    <a:pt x="251" y="167"/>
                  </a:lnTo>
                  <a:lnTo>
                    <a:pt x="251" y="167"/>
                  </a:lnTo>
                  <a:lnTo>
                    <a:pt x="245" y="164"/>
                  </a:lnTo>
                  <a:lnTo>
                    <a:pt x="238" y="164"/>
                  </a:lnTo>
                  <a:lnTo>
                    <a:pt x="232" y="167"/>
                  </a:lnTo>
                  <a:lnTo>
                    <a:pt x="228" y="173"/>
                  </a:lnTo>
                  <a:lnTo>
                    <a:pt x="228" y="173"/>
                  </a:lnTo>
                  <a:lnTo>
                    <a:pt x="218" y="188"/>
                  </a:lnTo>
                  <a:lnTo>
                    <a:pt x="211" y="205"/>
                  </a:lnTo>
                  <a:lnTo>
                    <a:pt x="211" y="205"/>
                  </a:lnTo>
                  <a:lnTo>
                    <a:pt x="206" y="185"/>
                  </a:lnTo>
                  <a:lnTo>
                    <a:pt x="203" y="174"/>
                  </a:lnTo>
                  <a:lnTo>
                    <a:pt x="199" y="163"/>
                  </a:lnTo>
                  <a:lnTo>
                    <a:pt x="193" y="152"/>
                  </a:lnTo>
                  <a:lnTo>
                    <a:pt x="187" y="143"/>
                  </a:lnTo>
                  <a:lnTo>
                    <a:pt x="179" y="133"/>
                  </a:lnTo>
                  <a:lnTo>
                    <a:pt x="170" y="123"/>
                  </a:lnTo>
                  <a:lnTo>
                    <a:pt x="170" y="123"/>
                  </a:lnTo>
                  <a:lnTo>
                    <a:pt x="160" y="117"/>
                  </a:lnTo>
                  <a:lnTo>
                    <a:pt x="149" y="112"/>
                  </a:lnTo>
                  <a:lnTo>
                    <a:pt x="137" y="109"/>
                  </a:lnTo>
                  <a:lnTo>
                    <a:pt x="124" y="106"/>
                  </a:lnTo>
                  <a:lnTo>
                    <a:pt x="109" y="105"/>
                  </a:lnTo>
                  <a:lnTo>
                    <a:pt x="95" y="105"/>
                  </a:lnTo>
                  <a:lnTo>
                    <a:pt x="67" y="108"/>
                  </a:lnTo>
                  <a:lnTo>
                    <a:pt x="41" y="111"/>
                  </a:lnTo>
                  <a:lnTo>
                    <a:pt x="19" y="116"/>
                  </a:lnTo>
                  <a:lnTo>
                    <a:pt x="0" y="121"/>
                  </a:lnTo>
                  <a:lnTo>
                    <a:pt x="0" y="121"/>
                  </a:lnTo>
                  <a:lnTo>
                    <a:pt x="7" y="135"/>
                  </a:lnTo>
                  <a:lnTo>
                    <a:pt x="15" y="152"/>
                  </a:lnTo>
                  <a:lnTo>
                    <a:pt x="26" y="171"/>
                  </a:lnTo>
                  <a:lnTo>
                    <a:pt x="39" y="191"/>
                  </a:lnTo>
                  <a:lnTo>
                    <a:pt x="56" y="211"/>
                  </a:lnTo>
                  <a:lnTo>
                    <a:pt x="65" y="220"/>
                  </a:lnTo>
                  <a:lnTo>
                    <a:pt x="73" y="228"/>
                  </a:lnTo>
                  <a:lnTo>
                    <a:pt x="83" y="235"/>
                  </a:lnTo>
                  <a:lnTo>
                    <a:pt x="92" y="240"/>
                  </a:lnTo>
                  <a:lnTo>
                    <a:pt x="92" y="240"/>
                  </a:lnTo>
                  <a:lnTo>
                    <a:pt x="110" y="249"/>
                  </a:lnTo>
                  <a:lnTo>
                    <a:pt x="126" y="255"/>
                  </a:lnTo>
                  <a:lnTo>
                    <a:pt x="140" y="257"/>
                  </a:lnTo>
                  <a:lnTo>
                    <a:pt x="154" y="258"/>
                  </a:lnTo>
                  <a:lnTo>
                    <a:pt x="164" y="258"/>
                  </a:lnTo>
                  <a:lnTo>
                    <a:pt x="174" y="257"/>
                  </a:lnTo>
                  <a:lnTo>
                    <a:pt x="192" y="253"/>
                  </a:lnTo>
                  <a:lnTo>
                    <a:pt x="192" y="253"/>
                  </a:lnTo>
                  <a:lnTo>
                    <a:pt x="188" y="245"/>
                  </a:lnTo>
                  <a:lnTo>
                    <a:pt x="184" y="236"/>
                  </a:lnTo>
                  <a:lnTo>
                    <a:pt x="173" y="221"/>
                  </a:lnTo>
                  <a:lnTo>
                    <a:pt x="160" y="205"/>
                  </a:lnTo>
                  <a:lnTo>
                    <a:pt x="145" y="192"/>
                  </a:lnTo>
                  <a:lnTo>
                    <a:pt x="130" y="179"/>
                  </a:lnTo>
                  <a:lnTo>
                    <a:pt x="114" y="167"/>
                  </a:lnTo>
                  <a:lnTo>
                    <a:pt x="97" y="156"/>
                  </a:lnTo>
                  <a:lnTo>
                    <a:pt x="81" y="147"/>
                  </a:lnTo>
                  <a:lnTo>
                    <a:pt x="81" y="147"/>
                  </a:lnTo>
                  <a:lnTo>
                    <a:pt x="95" y="152"/>
                  </a:lnTo>
                  <a:lnTo>
                    <a:pt x="127" y="165"/>
                  </a:lnTo>
                  <a:lnTo>
                    <a:pt x="146" y="175"/>
                  </a:lnTo>
                  <a:lnTo>
                    <a:pt x="166" y="185"/>
                  </a:lnTo>
                  <a:lnTo>
                    <a:pt x="184" y="196"/>
                  </a:lnTo>
                  <a:lnTo>
                    <a:pt x="199" y="208"/>
                  </a:lnTo>
                  <a:lnTo>
                    <a:pt x="199" y="208"/>
                  </a:lnTo>
                  <a:lnTo>
                    <a:pt x="209" y="215"/>
                  </a:lnTo>
                  <a:lnTo>
                    <a:pt x="209" y="215"/>
                  </a:lnTo>
                  <a:lnTo>
                    <a:pt x="204" y="233"/>
                  </a:lnTo>
                  <a:lnTo>
                    <a:pt x="200" y="252"/>
                  </a:lnTo>
                  <a:lnTo>
                    <a:pt x="200" y="252"/>
                  </a:lnTo>
                  <a:lnTo>
                    <a:pt x="199" y="265"/>
                  </a:lnTo>
                  <a:lnTo>
                    <a:pt x="199" y="280"/>
                  </a:lnTo>
                  <a:lnTo>
                    <a:pt x="199" y="280"/>
                  </a:lnTo>
                  <a:lnTo>
                    <a:pt x="191" y="282"/>
                  </a:lnTo>
                  <a:lnTo>
                    <a:pt x="184" y="285"/>
                  </a:lnTo>
                  <a:lnTo>
                    <a:pt x="179" y="290"/>
                  </a:lnTo>
                  <a:lnTo>
                    <a:pt x="174" y="293"/>
                  </a:lnTo>
                  <a:lnTo>
                    <a:pt x="169" y="299"/>
                  </a:lnTo>
                  <a:lnTo>
                    <a:pt x="167" y="304"/>
                  </a:lnTo>
                  <a:lnTo>
                    <a:pt x="162" y="316"/>
                  </a:lnTo>
                  <a:lnTo>
                    <a:pt x="160" y="329"/>
                  </a:lnTo>
                  <a:lnTo>
                    <a:pt x="158" y="341"/>
                  </a:lnTo>
                  <a:lnTo>
                    <a:pt x="157" y="353"/>
                  </a:lnTo>
                  <a:lnTo>
                    <a:pt x="155" y="364"/>
                  </a:lnTo>
                  <a:lnTo>
                    <a:pt x="155" y="364"/>
                  </a:lnTo>
                  <a:lnTo>
                    <a:pt x="149" y="377"/>
                  </a:lnTo>
                  <a:lnTo>
                    <a:pt x="142" y="390"/>
                  </a:lnTo>
                  <a:lnTo>
                    <a:pt x="133" y="400"/>
                  </a:lnTo>
                  <a:lnTo>
                    <a:pt x="125" y="410"/>
                  </a:lnTo>
                  <a:lnTo>
                    <a:pt x="107" y="429"/>
                  </a:lnTo>
                  <a:lnTo>
                    <a:pt x="99" y="440"/>
                  </a:lnTo>
                  <a:lnTo>
                    <a:pt x="92" y="451"/>
                  </a:lnTo>
                  <a:lnTo>
                    <a:pt x="92" y="451"/>
                  </a:lnTo>
                  <a:lnTo>
                    <a:pt x="89" y="459"/>
                  </a:lnTo>
                  <a:lnTo>
                    <a:pt x="85" y="468"/>
                  </a:lnTo>
                  <a:lnTo>
                    <a:pt x="83" y="477"/>
                  </a:lnTo>
                  <a:lnTo>
                    <a:pt x="81" y="487"/>
                  </a:lnTo>
                  <a:lnTo>
                    <a:pt x="80" y="498"/>
                  </a:lnTo>
                  <a:lnTo>
                    <a:pt x="80" y="508"/>
                  </a:lnTo>
                  <a:lnTo>
                    <a:pt x="80" y="518"/>
                  </a:lnTo>
                  <a:lnTo>
                    <a:pt x="81" y="531"/>
                  </a:lnTo>
                  <a:lnTo>
                    <a:pt x="84" y="541"/>
                  </a:lnTo>
                  <a:lnTo>
                    <a:pt x="86" y="553"/>
                  </a:lnTo>
                  <a:lnTo>
                    <a:pt x="91" y="565"/>
                  </a:lnTo>
                  <a:lnTo>
                    <a:pt x="96" y="579"/>
                  </a:lnTo>
                  <a:lnTo>
                    <a:pt x="102" y="592"/>
                  </a:lnTo>
                  <a:lnTo>
                    <a:pt x="108" y="605"/>
                  </a:lnTo>
                  <a:lnTo>
                    <a:pt x="116" y="618"/>
                  </a:lnTo>
                  <a:lnTo>
                    <a:pt x="125" y="632"/>
                  </a:lnTo>
                  <a:lnTo>
                    <a:pt x="125" y="632"/>
                  </a:lnTo>
                  <a:close/>
                  <a:moveTo>
                    <a:pt x="150" y="617"/>
                  </a:moveTo>
                  <a:lnTo>
                    <a:pt x="150" y="617"/>
                  </a:lnTo>
                  <a:lnTo>
                    <a:pt x="136" y="591"/>
                  </a:lnTo>
                  <a:lnTo>
                    <a:pt x="125" y="565"/>
                  </a:lnTo>
                  <a:lnTo>
                    <a:pt x="116" y="540"/>
                  </a:lnTo>
                  <a:lnTo>
                    <a:pt x="111" y="517"/>
                  </a:lnTo>
                  <a:lnTo>
                    <a:pt x="109" y="506"/>
                  </a:lnTo>
                  <a:lnTo>
                    <a:pt x="109" y="497"/>
                  </a:lnTo>
                  <a:lnTo>
                    <a:pt x="109" y="486"/>
                  </a:lnTo>
                  <a:lnTo>
                    <a:pt x="110" y="477"/>
                  </a:lnTo>
                  <a:lnTo>
                    <a:pt x="111" y="468"/>
                  </a:lnTo>
                  <a:lnTo>
                    <a:pt x="115" y="461"/>
                  </a:lnTo>
                  <a:lnTo>
                    <a:pt x="119" y="453"/>
                  </a:lnTo>
                  <a:lnTo>
                    <a:pt x="124" y="446"/>
                  </a:lnTo>
                  <a:lnTo>
                    <a:pt x="152" y="459"/>
                  </a:lnTo>
                  <a:lnTo>
                    <a:pt x="152" y="459"/>
                  </a:lnTo>
                  <a:lnTo>
                    <a:pt x="148" y="474"/>
                  </a:lnTo>
                  <a:lnTo>
                    <a:pt x="145" y="491"/>
                  </a:lnTo>
                  <a:lnTo>
                    <a:pt x="143" y="510"/>
                  </a:lnTo>
                  <a:lnTo>
                    <a:pt x="143" y="531"/>
                  </a:lnTo>
                  <a:lnTo>
                    <a:pt x="144" y="552"/>
                  </a:lnTo>
                  <a:lnTo>
                    <a:pt x="145" y="574"/>
                  </a:lnTo>
                  <a:lnTo>
                    <a:pt x="150" y="617"/>
                  </a:lnTo>
                  <a:lnTo>
                    <a:pt x="150" y="617"/>
                  </a:lnTo>
                  <a:close/>
                  <a:moveTo>
                    <a:pt x="161" y="440"/>
                  </a:moveTo>
                  <a:lnTo>
                    <a:pt x="140" y="432"/>
                  </a:lnTo>
                  <a:lnTo>
                    <a:pt x="140" y="432"/>
                  </a:lnTo>
                  <a:lnTo>
                    <a:pt x="151" y="424"/>
                  </a:lnTo>
                  <a:lnTo>
                    <a:pt x="162" y="415"/>
                  </a:lnTo>
                  <a:lnTo>
                    <a:pt x="167" y="410"/>
                  </a:lnTo>
                  <a:lnTo>
                    <a:pt x="173" y="404"/>
                  </a:lnTo>
                  <a:lnTo>
                    <a:pt x="176" y="397"/>
                  </a:lnTo>
                  <a:lnTo>
                    <a:pt x="180" y="390"/>
                  </a:lnTo>
                  <a:lnTo>
                    <a:pt x="180" y="390"/>
                  </a:lnTo>
                  <a:lnTo>
                    <a:pt x="180" y="398"/>
                  </a:lnTo>
                  <a:lnTo>
                    <a:pt x="179" y="406"/>
                  </a:lnTo>
                  <a:lnTo>
                    <a:pt x="176" y="414"/>
                  </a:lnTo>
                  <a:lnTo>
                    <a:pt x="174" y="420"/>
                  </a:lnTo>
                  <a:lnTo>
                    <a:pt x="167" y="432"/>
                  </a:lnTo>
                  <a:lnTo>
                    <a:pt x="161" y="440"/>
                  </a:lnTo>
                  <a:lnTo>
                    <a:pt x="161" y="440"/>
                  </a:lnTo>
                  <a:close/>
                  <a:moveTo>
                    <a:pt x="471" y="565"/>
                  </a:moveTo>
                  <a:lnTo>
                    <a:pt x="524" y="590"/>
                  </a:lnTo>
                  <a:lnTo>
                    <a:pt x="577" y="565"/>
                  </a:lnTo>
                  <a:lnTo>
                    <a:pt x="524" y="541"/>
                  </a:lnTo>
                  <a:lnTo>
                    <a:pt x="471" y="565"/>
                  </a:lnTo>
                  <a:lnTo>
                    <a:pt x="471" y="565"/>
                  </a:lnTo>
                  <a:close/>
                  <a:moveTo>
                    <a:pt x="476" y="498"/>
                  </a:moveTo>
                  <a:lnTo>
                    <a:pt x="524" y="521"/>
                  </a:lnTo>
                  <a:lnTo>
                    <a:pt x="572" y="498"/>
                  </a:lnTo>
                  <a:lnTo>
                    <a:pt x="524" y="476"/>
                  </a:lnTo>
                  <a:lnTo>
                    <a:pt x="476" y="498"/>
                  </a:lnTo>
                  <a:lnTo>
                    <a:pt x="476" y="498"/>
                  </a:lnTo>
                  <a:close/>
                  <a:moveTo>
                    <a:pt x="501" y="330"/>
                  </a:moveTo>
                  <a:lnTo>
                    <a:pt x="474" y="320"/>
                  </a:lnTo>
                  <a:lnTo>
                    <a:pt x="474" y="320"/>
                  </a:lnTo>
                  <a:lnTo>
                    <a:pt x="466" y="324"/>
                  </a:lnTo>
                  <a:lnTo>
                    <a:pt x="458" y="330"/>
                  </a:lnTo>
                  <a:lnTo>
                    <a:pt x="449" y="338"/>
                  </a:lnTo>
                  <a:lnTo>
                    <a:pt x="442" y="346"/>
                  </a:lnTo>
                  <a:lnTo>
                    <a:pt x="455" y="352"/>
                  </a:lnTo>
                  <a:lnTo>
                    <a:pt x="501" y="330"/>
                  </a:lnTo>
                  <a:lnTo>
                    <a:pt x="501" y="330"/>
                  </a:lnTo>
                  <a:close/>
                  <a:moveTo>
                    <a:pt x="579" y="429"/>
                  </a:moveTo>
                  <a:lnTo>
                    <a:pt x="524" y="405"/>
                  </a:lnTo>
                  <a:lnTo>
                    <a:pt x="468" y="429"/>
                  </a:lnTo>
                  <a:lnTo>
                    <a:pt x="524" y="455"/>
                  </a:lnTo>
                  <a:lnTo>
                    <a:pt x="579" y="429"/>
                  </a:lnTo>
                  <a:lnTo>
                    <a:pt x="579" y="429"/>
                  </a:lnTo>
                  <a:close/>
                  <a:moveTo>
                    <a:pt x="501" y="394"/>
                  </a:moveTo>
                  <a:lnTo>
                    <a:pt x="455" y="373"/>
                  </a:lnTo>
                  <a:lnTo>
                    <a:pt x="412" y="393"/>
                  </a:lnTo>
                  <a:lnTo>
                    <a:pt x="412" y="393"/>
                  </a:lnTo>
                  <a:lnTo>
                    <a:pt x="408" y="402"/>
                  </a:lnTo>
                  <a:lnTo>
                    <a:pt x="446" y="420"/>
                  </a:lnTo>
                  <a:lnTo>
                    <a:pt x="501" y="394"/>
                  </a:lnTo>
                  <a:lnTo>
                    <a:pt x="501" y="394"/>
                  </a:lnTo>
                  <a:close/>
                  <a:moveTo>
                    <a:pt x="432" y="363"/>
                  </a:moveTo>
                  <a:lnTo>
                    <a:pt x="430" y="362"/>
                  </a:lnTo>
                  <a:lnTo>
                    <a:pt x="430" y="362"/>
                  </a:lnTo>
                  <a:lnTo>
                    <a:pt x="428" y="364"/>
                  </a:lnTo>
                  <a:lnTo>
                    <a:pt x="432"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nvGrpSpPr>
          <p:cNvPr id="65594" name="Group 168"/>
          <p:cNvGrpSpPr>
            <a:grpSpLocks/>
          </p:cNvGrpSpPr>
          <p:nvPr/>
        </p:nvGrpSpPr>
        <p:grpSpPr bwMode="auto">
          <a:xfrm>
            <a:off x="250825" y="5197475"/>
            <a:ext cx="252413" cy="252413"/>
            <a:chOff x="390306" y="3299919"/>
            <a:chExt cx="365760" cy="365760"/>
          </a:xfrm>
        </p:grpSpPr>
        <p:sp>
          <p:nvSpPr>
            <p:cNvPr id="143" name="Oval 142">
              <a:extLst>
                <a:ext uri="{FF2B5EF4-FFF2-40B4-BE49-F238E27FC236}"/>
              </a:extLst>
            </p:cNvPr>
            <p:cNvSpPr/>
            <p:nvPr/>
          </p:nvSpPr>
          <p:spPr bwMode="ltGray">
            <a:xfrm>
              <a:off x="390306" y="3299919"/>
              <a:ext cx="365760" cy="365760"/>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44" name="Freeform 1334">
              <a:extLst>
                <a:ext uri="{FF2B5EF4-FFF2-40B4-BE49-F238E27FC236}"/>
              </a:extLst>
            </p:cNvPr>
            <p:cNvSpPr>
              <a:spLocks noEditPoints="1"/>
            </p:cNvSpPr>
            <p:nvPr/>
          </p:nvSpPr>
          <p:spPr bwMode="auto">
            <a:xfrm>
              <a:off x="413310" y="3332124"/>
              <a:ext cx="324353" cy="287547"/>
            </a:xfrm>
            <a:custGeom>
              <a:avLst/>
              <a:gdLst>
                <a:gd name="T0" fmla="*/ 816 w 828"/>
                <a:gd name="T1" fmla="*/ 259 h 673"/>
                <a:gd name="T2" fmla="*/ 427 w 828"/>
                <a:gd name="T3" fmla="*/ 4 h 673"/>
                <a:gd name="T4" fmla="*/ 403 w 828"/>
                <a:gd name="T5" fmla="*/ 4 h 673"/>
                <a:gd name="T6" fmla="*/ 257 w 828"/>
                <a:gd name="T7" fmla="*/ 99 h 673"/>
                <a:gd name="T8" fmla="*/ 257 w 828"/>
                <a:gd name="T9" fmla="*/ 22 h 673"/>
                <a:gd name="T10" fmla="*/ 236 w 828"/>
                <a:gd name="T11" fmla="*/ 1 h 673"/>
                <a:gd name="T12" fmla="*/ 148 w 828"/>
                <a:gd name="T13" fmla="*/ 1 h 673"/>
                <a:gd name="T14" fmla="*/ 127 w 828"/>
                <a:gd name="T15" fmla="*/ 22 h 673"/>
                <a:gd name="T16" fmla="*/ 127 w 828"/>
                <a:gd name="T17" fmla="*/ 185 h 673"/>
                <a:gd name="T18" fmla="*/ 11 w 828"/>
                <a:gd name="T19" fmla="*/ 260 h 673"/>
                <a:gd name="T20" fmla="*/ 3 w 828"/>
                <a:gd name="T21" fmla="*/ 285 h 673"/>
                <a:gd name="T22" fmla="*/ 23 w 828"/>
                <a:gd name="T23" fmla="*/ 300 h 673"/>
                <a:gd name="T24" fmla="*/ 126 w 828"/>
                <a:gd name="T25" fmla="*/ 300 h 673"/>
                <a:gd name="T26" fmla="*/ 126 w 828"/>
                <a:gd name="T27" fmla="*/ 638 h 673"/>
                <a:gd name="T28" fmla="*/ 161 w 828"/>
                <a:gd name="T29" fmla="*/ 673 h 673"/>
                <a:gd name="T30" fmla="*/ 275 w 828"/>
                <a:gd name="T31" fmla="*/ 673 h 673"/>
                <a:gd name="T32" fmla="*/ 260 w 828"/>
                <a:gd name="T33" fmla="*/ 646 h 673"/>
                <a:gd name="T34" fmla="*/ 260 w 828"/>
                <a:gd name="T35" fmla="*/ 547 h 673"/>
                <a:gd name="T36" fmla="*/ 226 w 828"/>
                <a:gd name="T37" fmla="*/ 547 h 673"/>
                <a:gd name="T38" fmla="*/ 204 w 828"/>
                <a:gd name="T39" fmla="*/ 525 h 673"/>
                <a:gd name="T40" fmla="*/ 204 w 828"/>
                <a:gd name="T41" fmla="*/ 396 h 673"/>
                <a:gd name="T42" fmla="*/ 226 w 828"/>
                <a:gd name="T43" fmla="*/ 375 h 673"/>
                <a:gd name="T44" fmla="*/ 354 w 828"/>
                <a:gd name="T45" fmla="*/ 375 h 673"/>
                <a:gd name="T46" fmla="*/ 376 w 828"/>
                <a:gd name="T47" fmla="*/ 396 h 673"/>
                <a:gd name="T48" fmla="*/ 376 w 828"/>
                <a:gd name="T49" fmla="*/ 525 h 673"/>
                <a:gd name="T50" fmla="*/ 354 w 828"/>
                <a:gd name="T51" fmla="*/ 547 h 673"/>
                <a:gd name="T52" fmla="*/ 320 w 828"/>
                <a:gd name="T53" fmla="*/ 547 h 673"/>
                <a:gd name="T54" fmla="*/ 320 w 828"/>
                <a:gd name="T55" fmla="*/ 646 h 673"/>
                <a:gd name="T56" fmla="*/ 305 w 828"/>
                <a:gd name="T57" fmla="*/ 673 h 673"/>
                <a:gd name="T58" fmla="*/ 507 w 828"/>
                <a:gd name="T59" fmla="*/ 673 h 673"/>
                <a:gd name="T60" fmla="*/ 492 w 828"/>
                <a:gd name="T61" fmla="*/ 646 h 673"/>
                <a:gd name="T62" fmla="*/ 492 w 828"/>
                <a:gd name="T63" fmla="*/ 547 h 673"/>
                <a:gd name="T64" fmla="*/ 440 w 828"/>
                <a:gd name="T65" fmla="*/ 547 h 673"/>
                <a:gd name="T66" fmla="*/ 423 w 828"/>
                <a:gd name="T67" fmla="*/ 537 h 673"/>
                <a:gd name="T68" fmla="*/ 420 w 828"/>
                <a:gd name="T69" fmla="*/ 518 h 673"/>
                <a:gd name="T70" fmla="*/ 464 w 828"/>
                <a:gd name="T71" fmla="*/ 389 h 673"/>
                <a:gd name="T72" fmla="*/ 485 w 828"/>
                <a:gd name="T73" fmla="*/ 375 h 673"/>
                <a:gd name="T74" fmla="*/ 559 w 828"/>
                <a:gd name="T75" fmla="*/ 375 h 673"/>
                <a:gd name="T76" fmla="*/ 580 w 828"/>
                <a:gd name="T77" fmla="*/ 389 h 673"/>
                <a:gd name="T78" fmla="*/ 623 w 828"/>
                <a:gd name="T79" fmla="*/ 514 h 673"/>
                <a:gd name="T80" fmla="*/ 626 w 828"/>
                <a:gd name="T81" fmla="*/ 525 h 673"/>
                <a:gd name="T82" fmla="*/ 604 w 828"/>
                <a:gd name="T83" fmla="*/ 547 h 673"/>
                <a:gd name="T84" fmla="*/ 604 w 828"/>
                <a:gd name="T85" fmla="*/ 547 h 673"/>
                <a:gd name="T86" fmla="*/ 552 w 828"/>
                <a:gd name="T87" fmla="*/ 547 h 673"/>
                <a:gd name="T88" fmla="*/ 552 w 828"/>
                <a:gd name="T89" fmla="*/ 646 h 673"/>
                <a:gd name="T90" fmla="*/ 537 w 828"/>
                <a:gd name="T91" fmla="*/ 673 h 673"/>
                <a:gd name="T92" fmla="*/ 669 w 828"/>
                <a:gd name="T93" fmla="*/ 673 h 673"/>
                <a:gd name="T94" fmla="*/ 703 w 828"/>
                <a:gd name="T95" fmla="*/ 638 h 673"/>
                <a:gd name="T96" fmla="*/ 703 w 828"/>
                <a:gd name="T97" fmla="*/ 300 h 673"/>
                <a:gd name="T98" fmla="*/ 806 w 828"/>
                <a:gd name="T99" fmla="*/ 300 h 673"/>
                <a:gd name="T100" fmla="*/ 807 w 828"/>
                <a:gd name="T101" fmla="*/ 300 h 673"/>
                <a:gd name="T102" fmla="*/ 828 w 828"/>
                <a:gd name="T103" fmla="*/ 279 h 673"/>
                <a:gd name="T104" fmla="*/ 816 w 828"/>
                <a:gd name="T105" fmla="*/ 259 h 673"/>
                <a:gd name="T106" fmla="*/ 290 w 828"/>
                <a:gd name="T107" fmla="*/ 350 h 673"/>
                <a:gd name="T108" fmla="*/ 239 w 828"/>
                <a:gd name="T109" fmla="*/ 299 h 673"/>
                <a:gd name="T110" fmla="*/ 290 w 828"/>
                <a:gd name="T111" fmla="*/ 247 h 673"/>
                <a:gd name="T112" fmla="*/ 342 w 828"/>
                <a:gd name="T113" fmla="*/ 299 h 673"/>
                <a:gd name="T114" fmla="*/ 290 w 828"/>
                <a:gd name="T115" fmla="*/ 350 h 673"/>
                <a:gd name="T116" fmla="*/ 522 w 828"/>
                <a:gd name="T117" fmla="*/ 350 h 673"/>
                <a:gd name="T118" fmla="*/ 471 w 828"/>
                <a:gd name="T119" fmla="*/ 299 h 673"/>
                <a:gd name="T120" fmla="*/ 522 w 828"/>
                <a:gd name="T121" fmla="*/ 247 h 673"/>
                <a:gd name="T122" fmla="*/ 573 w 828"/>
                <a:gd name="T123" fmla="*/ 299 h 673"/>
                <a:gd name="T124" fmla="*/ 522 w 828"/>
                <a:gd name="T125" fmla="*/ 350 h 67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28" h="673">
                  <a:moveTo>
                    <a:pt x="816" y="259"/>
                  </a:moveTo>
                  <a:cubicBezTo>
                    <a:pt x="427" y="4"/>
                    <a:pt x="427" y="4"/>
                    <a:pt x="427" y="4"/>
                  </a:cubicBezTo>
                  <a:cubicBezTo>
                    <a:pt x="419" y="0"/>
                    <a:pt x="410" y="0"/>
                    <a:pt x="403" y="4"/>
                  </a:cubicBezTo>
                  <a:cubicBezTo>
                    <a:pt x="257" y="99"/>
                    <a:pt x="257" y="99"/>
                    <a:pt x="257" y="99"/>
                  </a:cubicBezTo>
                  <a:cubicBezTo>
                    <a:pt x="257" y="22"/>
                    <a:pt x="257" y="22"/>
                    <a:pt x="257" y="22"/>
                  </a:cubicBezTo>
                  <a:cubicBezTo>
                    <a:pt x="257" y="10"/>
                    <a:pt x="248" y="1"/>
                    <a:pt x="236" y="1"/>
                  </a:cubicBezTo>
                  <a:cubicBezTo>
                    <a:pt x="148" y="1"/>
                    <a:pt x="148" y="1"/>
                    <a:pt x="148" y="1"/>
                  </a:cubicBezTo>
                  <a:cubicBezTo>
                    <a:pt x="136" y="1"/>
                    <a:pt x="127" y="10"/>
                    <a:pt x="127" y="22"/>
                  </a:cubicBezTo>
                  <a:cubicBezTo>
                    <a:pt x="127" y="185"/>
                    <a:pt x="127" y="185"/>
                    <a:pt x="127" y="185"/>
                  </a:cubicBezTo>
                  <a:cubicBezTo>
                    <a:pt x="11" y="260"/>
                    <a:pt x="11" y="260"/>
                    <a:pt x="11" y="260"/>
                  </a:cubicBezTo>
                  <a:cubicBezTo>
                    <a:pt x="3" y="266"/>
                    <a:pt x="0" y="276"/>
                    <a:pt x="3" y="285"/>
                  </a:cubicBezTo>
                  <a:cubicBezTo>
                    <a:pt x="5" y="294"/>
                    <a:pt x="14" y="300"/>
                    <a:pt x="23" y="300"/>
                  </a:cubicBezTo>
                  <a:cubicBezTo>
                    <a:pt x="126" y="300"/>
                    <a:pt x="126" y="300"/>
                    <a:pt x="126" y="300"/>
                  </a:cubicBezTo>
                  <a:cubicBezTo>
                    <a:pt x="126" y="638"/>
                    <a:pt x="126" y="638"/>
                    <a:pt x="126" y="638"/>
                  </a:cubicBezTo>
                  <a:cubicBezTo>
                    <a:pt x="126" y="657"/>
                    <a:pt x="142" y="673"/>
                    <a:pt x="161" y="673"/>
                  </a:cubicBezTo>
                  <a:cubicBezTo>
                    <a:pt x="275" y="673"/>
                    <a:pt x="275" y="673"/>
                    <a:pt x="275" y="673"/>
                  </a:cubicBezTo>
                  <a:cubicBezTo>
                    <a:pt x="266" y="668"/>
                    <a:pt x="260" y="658"/>
                    <a:pt x="260" y="646"/>
                  </a:cubicBezTo>
                  <a:cubicBezTo>
                    <a:pt x="260" y="547"/>
                    <a:pt x="260" y="547"/>
                    <a:pt x="260" y="547"/>
                  </a:cubicBezTo>
                  <a:cubicBezTo>
                    <a:pt x="226" y="547"/>
                    <a:pt x="226" y="547"/>
                    <a:pt x="226" y="547"/>
                  </a:cubicBezTo>
                  <a:cubicBezTo>
                    <a:pt x="214" y="547"/>
                    <a:pt x="204" y="537"/>
                    <a:pt x="204" y="525"/>
                  </a:cubicBezTo>
                  <a:cubicBezTo>
                    <a:pt x="204" y="396"/>
                    <a:pt x="204" y="396"/>
                    <a:pt x="204" y="396"/>
                  </a:cubicBezTo>
                  <a:cubicBezTo>
                    <a:pt x="204" y="384"/>
                    <a:pt x="214" y="375"/>
                    <a:pt x="226" y="375"/>
                  </a:cubicBezTo>
                  <a:cubicBezTo>
                    <a:pt x="354" y="375"/>
                    <a:pt x="354" y="375"/>
                    <a:pt x="354" y="375"/>
                  </a:cubicBezTo>
                  <a:cubicBezTo>
                    <a:pt x="366" y="375"/>
                    <a:pt x="376" y="384"/>
                    <a:pt x="376" y="396"/>
                  </a:cubicBezTo>
                  <a:cubicBezTo>
                    <a:pt x="376" y="525"/>
                    <a:pt x="376" y="525"/>
                    <a:pt x="376" y="525"/>
                  </a:cubicBezTo>
                  <a:cubicBezTo>
                    <a:pt x="376" y="537"/>
                    <a:pt x="366" y="547"/>
                    <a:pt x="354" y="547"/>
                  </a:cubicBezTo>
                  <a:cubicBezTo>
                    <a:pt x="320" y="547"/>
                    <a:pt x="320" y="547"/>
                    <a:pt x="320" y="547"/>
                  </a:cubicBezTo>
                  <a:cubicBezTo>
                    <a:pt x="320" y="646"/>
                    <a:pt x="320" y="646"/>
                    <a:pt x="320" y="646"/>
                  </a:cubicBezTo>
                  <a:cubicBezTo>
                    <a:pt x="320" y="658"/>
                    <a:pt x="314" y="668"/>
                    <a:pt x="305" y="673"/>
                  </a:cubicBezTo>
                  <a:cubicBezTo>
                    <a:pt x="507" y="673"/>
                    <a:pt x="507" y="673"/>
                    <a:pt x="507" y="673"/>
                  </a:cubicBezTo>
                  <a:cubicBezTo>
                    <a:pt x="498" y="668"/>
                    <a:pt x="492" y="658"/>
                    <a:pt x="492" y="646"/>
                  </a:cubicBezTo>
                  <a:cubicBezTo>
                    <a:pt x="492" y="547"/>
                    <a:pt x="492" y="547"/>
                    <a:pt x="492" y="547"/>
                  </a:cubicBezTo>
                  <a:cubicBezTo>
                    <a:pt x="440" y="547"/>
                    <a:pt x="440" y="547"/>
                    <a:pt x="440" y="547"/>
                  </a:cubicBezTo>
                  <a:cubicBezTo>
                    <a:pt x="433" y="547"/>
                    <a:pt x="427" y="543"/>
                    <a:pt x="423" y="537"/>
                  </a:cubicBezTo>
                  <a:cubicBezTo>
                    <a:pt x="419" y="532"/>
                    <a:pt x="417" y="524"/>
                    <a:pt x="420" y="518"/>
                  </a:cubicBezTo>
                  <a:cubicBezTo>
                    <a:pt x="464" y="389"/>
                    <a:pt x="464" y="389"/>
                    <a:pt x="464" y="389"/>
                  </a:cubicBezTo>
                  <a:cubicBezTo>
                    <a:pt x="467" y="381"/>
                    <a:pt x="475" y="375"/>
                    <a:pt x="485" y="375"/>
                  </a:cubicBezTo>
                  <a:cubicBezTo>
                    <a:pt x="559" y="375"/>
                    <a:pt x="559" y="375"/>
                    <a:pt x="559" y="375"/>
                  </a:cubicBezTo>
                  <a:cubicBezTo>
                    <a:pt x="569" y="375"/>
                    <a:pt x="577" y="381"/>
                    <a:pt x="580" y="389"/>
                  </a:cubicBezTo>
                  <a:cubicBezTo>
                    <a:pt x="623" y="514"/>
                    <a:pt x="623" y="514"/>
                    <a:pt x="623" y="514"/>
                  </a:cubicBezTo>
                  <a:cubicBezTo>
                    <a:pt x="625" y="517"/>
                    <a:pt x="626" y="521"/>
                    <a:pt x="626" y="525"/>
                  </a:cubicBezTo>
                  <a:cubicBezTo>
                    <a:pt x="626" y="537"/>
                    <a:pt x="616" y="547"/>
                    <a:pt x="604" y="547"/>
                  </a:cubicBezTo>
                  <a:cubicBezTo>
                    <a:pt x="604" y="547"/>
                    <a:pt x="604" y="547"/>
                    <a:pt x="604" y="547"/>
                  </a:cubicBezTo>
                  <a:cubicBezTo>
                    <a:pt x="552" y="547"/>
                    <a:pt x="552" y="547"/>
                    <a:pt x="552" y="547"/>
                  </a:cubicBezTo>
                  <a:cubicBezTo>
                    <a:pt x="552" y="646"/>
                    <a:pt x="552" y="646"/>
                    <a:pt x="552" y="646"/>
                  </a:cubicBezTo>
                  <a:cubicBezTo>
                    <a:pt x="552" y="658"/>
                    <a:pt x="546" y="668"/>
                    <a:pt x="537" y="673"/>
                  </a:cubicBezTo>
                  <a:cubicBezTo>
                    <a:pt x="669" y="673"/>
                    <a:pt x="669" y="673"/>
                    <a:pt x="669" y="673"/>
                  </a:cubicBezTo>
                  <a:cubicBezTo>
                    <a:pt x="688" y="673"/>
                    <a:pt x="703" y="657"/>
                    <a:pt x="703" y="638"/>
                  </a:cubicBezTo>
                  <a:cubicBezTo>
                    <a:pt x="703" y="300"/>
                    <a:pt x="703" y="300"/>
                    <a:pt x="703" y="300"/>
                  </a:cubicBezTo>
                  <a:cubicBezTo>
                    <a:pt x="806" y="300"/>
                    <a:pt x="806" y="300"/>
                    <a:pt x="806" y="300"/>
                  </a:cubicBezTo>
                  <a:cubicBezTo>
                    <a:pt x="806" y="300"/>
                    <a:pt x="807" y="300"/>
                    <a:pt x="807" y="300"/>
                  </a:cubicBezTo>
                  <a:cubicBezTo>
                    <a:pt x="819" y="300"/>
                    <a:pt x="828" y="290"/>
                    <a:pt x="828" y="279"/>
                  </a:cubicBezTo>
                  <a:cubicBezTo>
                    <a:pt x="828" y="270"/>
                    <a:pt x="823" y="262"/>
                    <a:pt x="816" y="259"/>
                  </a:cubicBezTo>
                  <a:close/>
                  <a:moveTo>
                    <a:pt x="290" y="350"/>
                  </a:moveTo>
                  <a:cubicBezTo>
                    <a:pt x="262" y="350"/>
                    <a:pt x="239" y="327"/>
                    <a:pt x="239" y="299"/>
                  </a:cubicBezTo>
                  <a:cubicBezTo>
                    <a:pt x="239" y="270"/>
                    <a:pt x="262" y="247"/>
                    <a:pt x="290" y="247"/>
                  </a:cubicBezTo>
                  <a:cubicBezTo>
                    <a:pt x="319" y="247"/>
                    <a:pt x="342" y="270"/>
                    <a:pt x="342" y="299"/>
                  </a:cubicBezTo>
                  <a:cubicBezTo>
                    <a:pt x="342" y="327"/>
                    <a:pt x="319" y="350"/>
                    <a:pt x="290" y="350"/>
                  </a:cubicBezTo>
                  <a:close/>
                  <a:moveTo>
                    <a:pt x="522" y="350"/>
                  </a:moveTo>
                  <a:cubicBezTo>
                    <a:pt x="494" y="350"/>
                    <a:pt x="471" y="327"/>
                    <a:pt x="471" y="299"/>
                  </a:cubicBezTo>
                  <a:cubicBezTo>
                    <a:pt x="471" y="270"/>
                    <a:pt x="494" y="247"/>
                    <a:pt x="522" y="247"/>
                  </a:cubicBezTo>
                  <a:cubicBezTo>
                    <a:pt x="550" y="247"/>
                    <a:pt x="573" y="270"/>
                    <a:pt x="573" y="299"/>
                  </a:cubicBezTo>
                  <a:cubicBezTo>
                    <a:pt x="573" y="327"/>
                    <a:pt x="550" y="350"/>
                    <a:pt x="522"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sp>
        <p:nvSpPr>
          <p:cNvPr id="145" name="Oval 144">
            <a:extLst>
              <a:ext uri="{FF2B5EF4-FFF2-40B4-BE49-F238E27FC236}"/>
            </a:extLst>
          </p:cNvPr>
          <p:cNvSpPr/>
          <p:nvPr/>
        </p:nvSpPr>
        <p:spPr bwMode="ltGray">
          <a:xfrm>
            <a:off x="250825" y="6253163"/>
            <a:ext cx="252413" cy="252412"/>
          </a:xfrm>
          <a:prstGeom prst="ellipse">
            <a:avLst/>
          </a:prstGeom>
          <a:solidFill>
            <a:srgbClr val="008755"/>
          </a:solidFill>
          <a:ln w="3175" cap="flat" cmpd="sng" algn="ctr">
            <a:noFill/>
            <a:prstDash val="solid"/>
          </a:ln>
          <a:effectLst/>
        </p:spPr>
        <p:txBody>
          <a:bodyPr lIns="0" tIns="0" rIns="0" bIns="0" anchor="ctr"/>
          <a:lstStyle/>
          <a:p>
            <a:pPr algn="ctr" defTabSz="871196" eaLnBrk="1" fontAlgn="auto" hangingPunct="1">
              <a:spcBef>
                <a:spcPts val="0"/>
              </a:spcBef>
              <a:spcAft>
                <a:spcPts val="0"/>
              </a:spcAft>
              <a:defRPr/>
            </a:pPr>
            <a:r>
              <a:rPr lang="en-GB" sz="600" b="1" kern="0" dirty="0">
                <a:solidFill>
                  <a:srgbClr val="FFFFFF"/>
                </a:solidFill>
                <a:latin typeface="Arial"/>
                <a:cs typeface="+mn-cs"/>
                <a:sym typeface="Arial"/>
              </a:rPr>
              <a:t>CDC</a:t>
            </a:r>
          </a:p>
        </p:txBody>
      </p:sp>
      <p:grpSp>
        <p:nvGrpSpPr>
          <p:cNvPr id="65596" name="Group 172"/>
          <p:cNvGrpSpPr>
            <a:grpSpLocks/>
          </p:cNvGrpSpPr>
          <p:nvPr/>
        </p:nvGrpSpPr>
        <p:grpSpPr bwMode="auto">
          <a:xfrm>
            <a:off x="1728788" y="5184775"/>
            <a:ext cx="252412" cy="252413"/>
            <a:chOff x="1807987" y="3521140"/>
            <a:chExt cx="365760" cy="365760"/>
          </a:xfrm>
        </p:grpSpPr>
        <p:sp>
          <p:nvSpPr>
            <p:cNvPr id="147" name="Oval 146">
              <a:extLst>
                <a:ext uri="{FF2B5EF4-FFF2-40B4-BE49-F238E27FC236}"/>
              </a:extLst>
            </p:cNvPr>
            <p:cNvSpPr/>
            <p:nvPr/>
          </p:nvSpPr>
          <p:spPr bwMode="ltGray">
            <a:xfrm>
              <a:off x="1807987" y="3521140"/>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48" name="Freeform 4">
              <a:extLst>
                <a:ext uri="{FF2B5EF4-FFF2-40B4-BE49-F238E27FC236}"/>
              </a:extLst>
            </p:cNvPr>
            <p:cNvSpPr>
              <a:spLocks noEditPoints="1"/>
            </p:cNvSpPr>
            <p:nvPr/>
          </p:nvSpPr>
          <p:spPr bwMode="auto">
            <a:xfrm>
              <a:off x="1858595" y="3567147"/>
              <a:ext cx="287547" cy="287547"/>
            </a:xfrm>
            <a:custGeom>
              <a:avLst/>
              <a:gdLst>
                <a:gd name="T0" fmla="*/ 85790705 w 173"/>
                <a:gd name="T1" fmla="*/ 782065674 h 172"/>
                <a:gd name="T2" fmla="*/ 69704324 w 173"/>
                <a:gd name="T3" fmla="*/ 927691535 h 172"/>
                <a:gd name="T4" fmla="*/ 166219283 w 173"/>
                <a:gd name="T5" fmla="*/ 803640558 h 172"/>
                <a:gd name="T6" fmla="*/ 144772439 w 173"/>
                <a:gd name="T7" fmla="*/ 738917581 h 172"/>
                <a:gd name="T8" fmla="*/ 134048185 w 173"/>
                <a:gd name="T9" fmla="*/ 695769488 h 172"/>
                <a:gd name="T10" fmla="*/ 445039908 w 173"/>
                <a:gd name="T11" fmla="*/ 690374512 h 172"/>
                <a:gd name="T12" fmla="*/ 471850543 w 173"/>
                <a:gd name="T13" fmla="*/ 647226419 h 172"/>
                <a:gd name="T14" fmla="*/ 520108023 w 173"/>
                <a:gd name="T15" fmla="*/ 614864930 h 172"/>
                <a:gd name="T16" fmla="*/ 927614705 w 173"/>
                <a:gd name="T17" fmla="*/ 873755163 h 172"/>
                <a:gd name="T18" fmla="*/ 734584786 w 173"/>
                <a:gd name="T19" fmla="*/ 825213767 h 172"/>
                <a:gd name="T20" fmla="*/ 471850543 w 173"/>
                <a:gd name="T21" fmla="*/ 566323535 h 172"/>
                <a:gd name="T22" fmla="*/ 579089757 w 173"/>
                <a:gd name="T23" fmla="*/ 517782140 h 172"/>
                <a:gd name="T24" fmla="*/ 836461873 w 173"/>
                <a:gd name="T25" fmla="*/ 749704186 h 172"/>
                <a:gd name="T26" fmla="*/ 638069827 w 173"/>
                <a:gd name="T27" fmla="*/ 361368000 h 172"/>
                <a:gd name="T28" fmla="*/ 316353850 w 173"/>
                <a:gd name="T29" fmla="*/ 204955535 h 172"/>
                <a:gd name="T30" fmla="*/ 209114636 w 173"/>
                <a:gd name="T31" fmla="*/ 183380651 h 172"/>
                <a:gd name="T32" fmla="*/ 171581410 w 173"/>
                <a:gd name="T33" fmla="*/ 280465116 h 172"/>
                <a:gd name="T34" fmla="*/ 455764162 w 173"/>
                <a:gd name="T35" fmla="*/ 517782140 h 172"/>
                <a:gd name="T36" fmla="*/ 278820624 w 173"/>
                <a:gd name="T37" fmla="*/ 566323535 h 172"/>
                <a:gd name="T38" fmla="*/ 0 w 173"/>
                <a:gd name="T39" fmla="*/ 194167256 h 172"/>
                <a:gd name="T40" fmla="*/ 450402035 w 173"/>
                <a:gd name="T41" fmla="*/ 614864930 h 172"/>
                <a:gd name="T42" fmla="*/ 445039908 w 173"/>
                <a:gd name="T43" fmla="*/ 663408000 h 172"/>
                <a:gd name="T44" fmla="*/ 101877087 w 173"/>
                <a:gd name="T45" fmla="*/ 695769488 h 172"/>
                <a:gd name="T46" fmla="*/ 85790705 w 173"/>
                <a:gd name="T47" fmla="*/ 738917581 h 172"/>
                <a:gd name="T48" fmla="*/ 541554867 w 173"/>
                <a:gd name="T49" fmla="*/ 469239070 h 172"/>
                <a:gd name="T50" fmla="*/ 466488416 w 173"/>
                <a:gd name="T51" fmla="*/ 485420651 h 172"/>
                <a:gd name="T52" fmla="*/ 509383769 w 173"/>
                <a:gd name="T53" fmla="*/ 453059163 h 172"/>
                <a:gd name="T54" fmla="*/ 337802358 w 173"/>
                <a:gd name="T55" fmla="*/ 485420651 h 172"/>
                <a:gd name="T56" fmla="*/ 230563145 w 173"/>
                <a:gd name="T57" fmla="*/ 226528744 h 172"/>
                <a:gd name="T58" fmla="*/ 359249202 w 173"/>
                <a:gd name="T59" fmla="*/ 453059163 h 172"/>
                <a:gd name="T60" fmla="*/ 455764162 w 173"/>
                <a:gd name="T61" fmla="*/ 485420651 h 172"/>
                <a:gd name="T62" fmla="*/ 96514960 w 173"/>
                <a:gd name="T63" fmla="*/ 26968186 h 172"/>
                <a:gd name="T64" fmla="*/ 96514960 w 173"/>
                <a:gd name="T65" fmla="*/ 151019163 h 172"/>
                <a:gd name="T66" fmla="*/ 219838890 w 173"/>
                <a:gd name="T67" fmla="*/ 151019163 h 172"/>
                <a:gd name="T68" fmla="*/ 219838890 w 173"/>
                <a:gd name="T69" fmla="*/ 26968186 h 172"/>
                <a:gd name="T70" fmla="*/ 117961803 w 173"/>
                <a:gd name="T71" fmla="*/ 798245581 h 172"/>
                <a:gd name="T72" fmla="*/ 117961803 w 173"/>
                <a:gd name="T73" fmla="*/ 879150140 h 172"/>
                <a:gd name="T74" fmla="*/ 117961803 w 173"/>
                <a:gd name="T75" fmla="*/ 798245581 h 172"/>
                <a:gd name="T76" fmla="*/ 112601341 w 173"/>
                <a:gd name="T77" fmla="*/ 846788651 h 172"/>
                <a:gd name="T78" fmla="*/ 101877087 w 173"/>
                <a:gd name="T79" fmla="*/ 852181953 h 172"/>
                <a:gd name="T80" fmla="*/ 112601341 w 173"/>
                <a:gd name="T81" fmla="*/ 862968558 h 172"/>
                <a:gd name="T82" fmla="*/ 123323931 w 173"/>
                <a:gd name="T83" fmla="*/ 852181953 h 172"/>
                <a:gd name="T84" fmla="*/ 134048185 w 173"/>
                <a:gd name="T85" fmla="*/ 846788651 h 172"/>
                <a:gd name="T86" fmla="*/ 123323931 w 173"/>
                <a:gd name="T87" fmla="*/ 830607070 h 1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3" h="172">
                  <a:moveTo>
                    <a:pt x="16" y="137"/>
                  </a:moveTo>
                  <a:cubicBezTo>
                    <a:pt x="16" y="145"/>
                    <a:pt x="16" y="145"/>
                    <a:pt x="16" y="145"/>
                  </a:cubicBezTo>
                  <a:cubicBezTo>
                    <a:pt x="13" y="149"/>
                    <a:pt x="13" y="149"/>
                    <a:pt x="13" y="149"/>
                  </a:cubicBezTo>
                  <a:cubicBezTo>
                    <a:pt x="13" y="172"/>
                    <a:pt x="13" y="172"/>
                    <a:pt x="13" y="172"/>
                  </a:cubicBezTo>
                  <a:cubicBezTo>
                    <a:pt x="31" y="172"/>
                    <a:pt x="31" y="172"/>
                    <a:pt x="31" y="172"/>
                  </a:cubicBezTo>
                  <a:cubicBezTo>
                    <a:pt x="31" y="149"/>
                    <a:pt x="31" y="149"/>
                    <a:pt x="31" y="149"/>
                  </a:cubicBezTo>
                  <a:cubicBezTo>
                    <a:pt x="27" y="145"/>
                    <a:pt x="27" y="145"/>
                    <a:pt x="27" y="145"/>
                  </a:cubicBezTo>
                  <a:cubicBezTo>
                    <a:pt x="27" y="137"/>
                    <a:pt x="27" y="137"/>
                    <a:pt x="27" y="137"/>
                  </a:cubicBezTo>
                  <a:cubicBezTo>
                    <a:pt x="25" y="137"/>
                    <a:pt x="25" y="137"/>
                    <a:pt x="25" y="137"/>
                  </a:cubicBezTo>
                  <a:cubicBezTo>
                    <a:pt x="25" y="129"/>
                    <a:pt x="25" y="129"/>
                    <a:pt x="25" y="129"/>
                  </a:cubicBezTo>
                  <a:cubicBezTo>
                    <a:pt x="25" y="129"/>
                    <a:pt x="25" y="128"/>
                    <a:pt x="25" y="128"/>
                  </a:cubicBezTo>
                  <a:cubicBezTo>
                    <a:pt x="83" y="128"/>
                    <a:pt x="83" y="128"/>
                    <a:pt x="83" y="128"/>
                  </a:cubicBezTo>
                  <a:cubicBezTo>
                    <a:pt x="85" y="128"/>
                    <a:pt x="87" y="127"/>
                    <a:pt x="87" y="126"/>
                  </a:cubicBezTo>
                  <a:cubicBezTo>
                    <a:pt x="88" y="125"/>
                    <a:pt x="88" y="123"/>
                    <a:pt x="88" y="120"/>
                  </a:cubicBezTo>
                  <a:cubicBezTo>
                    <a:pt x="88" y="114"/>
                    <a:pt x="88" y="114"/>
                    <a:pt x="88" y="114"/>
                  </a:cubicBezTo>
                  <a:cubicBezTo>
                    <a:pt x="97" y="114"/>
                    <a:pt x="97" y="114"/>
                    <a:pt x="97" y="114"/>
                  </a:cubicBezTo>
                  <a:cubicBezTo>
                    <a:pt x="132" y="162"/>
                    <a:pt x="132" y="162"/>
                    <a:pt x="132" y="162"/>
                  </a:cubicBezTo>
                  <a:cubicBezTo>
                    <a:pt x="173" y="162"/>
                    <a:pt x="173" y="162"/>
                    <a:pt x="173" y="162"/>
                  </a:cubicBezTo>
                  <a:cubicBezTo>
                    <a:pt x="168" y="153"/>
                    <a:pt x="168" y="153"/>
                    <a:pt x="168" y="153"/>
                  </a:cubicBezTo>
                  <a:cubicBezTo>
                    <a:pt x="137" y="153"/>
                    <a:pt x="137" y="153"/>
                    <a:pt x="137" y="153"/>
                  </a:cubicBezTo>
                  <a:cubicBezTo>
                    <a:pt x="103" y="105"/>
                    <a:pt x="103" y="105"/>
                    <a:pt x="103" y="105"/>
                  </a:cubicBezTo>
                  <a:cubicBezTo>
                    <a:pt x="88" y="105"/>
                    <a:pt x="88" y="105"/>
                    <a:pt x="88" y="105"/>
                  </a:cubicBezTo>
                  <a:cubicBezTo>
                    <a:pt x="87" y="96"/>
                    <a:pt x="87" y="96"/>
                    <a:pt x="87" y="96"/>
                  </a:cubicBezTo>
                  <a:cubicBezTo>
                    <a:pt x="108" y="96"/>
                    <a:pt x="108" y="96"/>
                    <a:pt x="108" y="96"/>
                  </a:cubicBezTo>
                  <a:cubicBezTo>
                    <a:pt x="142" y="138"/>
                    <a:pt x="142" y="138"/>
                    <a:pt x="142" y="138"/>
                  </a:cubicBezTo>
                  <a:cubicBezTo>
                    <a:pt x="143" y="140"/>
                    <a:pt x="148" y="141"/>
                    <a:pt x="156" y="139"/>
                  </a:cubicBezTo>
                  <a:cubicBezTo>
                    <a:pt x="164" y="138"/>
                    <a:pt x="167" y="131"/>
                    <a:pt x="166" y="119"/>
                  </a:cubicBezTo>
                  <a:cubicBezTo>
                    <a:pt x="119" y="67"/>
                    <a:pt x="119" y="67"/>
                    <a:pt x="119" y="67"/>
                  </a:cubicBezTo>
                  <a:cubicBezTo>
                    <a:pt x="78" y="67"/>
                    <a:pt x="78" y="67"/>
                    <a:pt x="78" y="67"/>
                  </a:cubicBezTo>
                  <a:cubicBezTo>
                    <a:pt x="59" y="38"/>
                    <a:pt x="59" y="38"/>
                    <a:pt x="59" y="38"/>
                  </a:cubicBezTo>
                  <a:cubicBezTo>
                    <a:pt x="57" y="34"/>
                    <a:pt x="54" y="32"/>
                    <a:pt x="50" y="32"/>
                  </a:cubicBezTo>
                  <a:cubicBezTo>
                    <a:pt x="46" y="32"/>
                    <a:pt x="43" y="33"/>
                    <a:pt x="39" y="34"/>
                  </a:cubicBezTo>
                  <a:cubicBezTo>
                    <a:pt x="36" y="36"/>
                    <a:pt x="33" y="39"/>
                    <a:pt x="32" y="42"/>
                  </a:cubicBezTo>
                  <a:cubicBezTo>
                    <a:pt x="30" y="45"/>
                    <a:pt x="30" y="49"/>
                    <a:pt x="32" y="52"/>
                  </a:cubicBezTo>
                  <a:cubicBezTo>
                    <a:pt x="57" y="96"/>
                    <a:pt x="57" y="96"/>
                    <a:pt x="57" y="96"/>
                  </a:cubicBezTo>
                  <a:cubicBezTo>
                    <a:pt x="85" y="96"/>
                    <a:pt x="85" y="96"/>
                    <a:pt x="85" y="96"/>
                  </a:cubicBezTo>
                  <a:cubicBezTo>
                    <a:pt x="84" y="105"/>
                    <a:pt x="84" y="105"/>
                    <a:pt x="84" y="105"/>
                  </a:cubicBezTo>
                  <a:cubicBezTo>
                    <a:pt x="52" y="105"/>
                    <a:pt x="52" y="105"/>
                    <a:pt x="52" y="105"/>
                  </a:cubicBezTo>
                  <a:cubicBezTo>
                    <a:pt x="8" y="31"/>
                    <a:pt x="8" y="31"/>
                    <a:pt x="8" y="31"/>
                  </a:cubicBezTo>
                  <a:cubicBezTo>
                    <a:pt x="0" y="36"/>
                    <a:pt x="0" y="36"/>
                    <a:pt x="0" y="36"/>
                  </a:cubicBezTo>
                  <a:cubicBezTo>
                    <a:pt x="46" y="114"/>
                    <a:pt x="46" y="114"/>
                    <a:pt x="46" y="114"/>
                  </a:cubicBezTo>
                  <a:cubicBezTo>
                    <a:pt x="84" y="114"/>
                    <a:pt x="84" y="114"/>
                    <a:pt x="84" y="114"/>
                  </a:cubicBezTo>
                  <a:cubicBezTo>
                    <a:pt x="84" y="122"/>
                    <a:pt x="84" y="122"/>
                    <a:pt x="84" y="122"/>
                  </a:cubicBezTo>
                  <a:cubicBezTo>
                    <a:pt x="84" y="123"/>
                    <a:pt x="84" y="123"/>
                    <a:pt x="83" y="123"/>
                  </a:cubicBezTo>
                  <a:cubicBezTo>
                    <a:pt x="26" y="123"/>
                    <a:pt x="26" y="123"/>
                    <a:pt x="26" y="123"/>
                  </a:cubicBezTo>
                  <a:cubicBezTo>
                    <a:pt x="22" y="123"/>
                    <a:pt x="19" y="125"/>
                    <a:pt x="19" y="129"/>
                  </a:cubicBezTo>
                  <a:cubicBezTo>
                    <a:pt x="19" y="137"/>
                    <a:pt x="19" y="137"/>
                    <a:pt x="19" y="137"/>
                  </a:cubicBezTo>
                  <a:lnTo>
                    <a:pt x="16" y="137"/>
                  </a:lnTo>
                  <a:close/>
                  <a:moveTo>
                    <a:pt x="95" y="84"/>
                  </a:moveTo>
                  <a:cubicBezTo>
                    <a:pt x="98" y="83"/>
                    <a:pt x="100" y="84"/>
                    <a:pt x="101" y="87"/>
                  </a:cubicBezTo>
                  <a:cubicBezTo>
                    <a:pt x="101" y="89"/>
                    <a:pt x="99" y="90"/>
                    <a:pt x="95" y="90"/>
                  </a:cubicBezTo>
                  <a:cubicBezTo>
                    <a:pt x="87" y="90"/>
                    <a:pt x="87" y="90"/>
                    <a:pt x="87" y="90"/>
                  </a:cubicBezTo>
                  <a:cubicBezTo>
                    <a:pt x="87" y="84"/>
                    <a:pt x="87" y="84"/>
                    <a:pt x="87" y="84"/>
                  </a:cubicBezTo>
                  <a:lnTo>
                    <a:pt x="95" y="84"/>
                  </a:lnTo>
                  <a:close/>
                  <a:moveTo>
                    <a:pt x="85" y="90"/>
                  </a:moveTo>
                  <a:cubicBezTo>
                    <a:pt x="63" y="90"/>
                    <a:pt x="63" y="90"/>
                    <a:pt x="63" y="90"/>
                  </a:cubicBezTo>
                  <a:cubicBezTo>
                    <a:pt x="41" y="49"/>
                    <a:pt x="41" y="49"/>
                    <a:pt x="41" y="49"/>
                  </a:cubicBezTo>
                  <a:cubicBezTo>
                    <a:pt x="39" y="45"/>
                    <a:pt x="40" y="43"/>
                    <a:pt x="43" y="42"/>
                  </a:cubicBezTo>
                  <a:cubicBezTo>
                    <a:pt x="45" y="41"/>
                    <a:pt x="47" y="42"/>
                    <a:pt x="49" y="45"/>
                  </a:cubicBezTo>
                  <a:cubicBezTo>
                    <a:pt x="67" y="84"/>
                    <a:pt x="67" y="84"/>
                    <a:pt x="67" y="84"/>
                  </a:cubicBezTo>
                  <a:cubicBezTo>
                    <a:pt x="85" y="84"/>
                    <a:pt x="85" y="84"/>
                    <a:pt x="85" y="84"/>
                  </a:cubicBezTo>
                  <a:lnTo>
                    <a:pt x="85" y="90"/>
                  </a:lnTo>
                  <a:close/>
                  <a:moveTo>
                    <a:pt x="30" y="0"/>
                  </a:moveTo>
                  <a:cubicBezTo>
                    <a:pt x="25" y="0"/>
                    <a:pt x="21" y="2"/>
                    <a:pt x="18" y="5"/>
                  </a:cubicBezTo>
                  <a:cubicBezTo>
                    <a:pt x="15" y="8"/>
                    <a:pt x="13" y="12"/>
                    <a:pt x="13" y="16"/>
                  </a:cubicBezTo>
                  <a:cubicBezTo>
                    <a:pt x="13" y="21"/>
                    <a:pt x="15" y="25"/>
                    <a:pt x="18" y="28"/>
                  </a:cubicBezTo>
                  <a:cubicBezTo>
                    <a:pt x="21" y="32"/>
                    <a:pt x="25" y="33"/>
                    <a:pt x="30" y="33"/>
                  </a:cubicBezTo>
                  <a:cubicBezTo>
                    <a:pt x="34" y="33"/>
                    <a:pt x="38" y="32"/>
                    <a:pt x="41" y="28"/>
                  </a:cubicBezTo>
                  <a:cubicBezTo>
                    <a:pt x="45" y="25"/>
                    <a:pt x="46" y="21"/>
                    <a:pt x="46" y="16"/>
                  </a:cubicBezTo>
                  <a:cubicBezTo>
                    <a:pt x="46" y="12"/>
                    <a:pt x="45" y="8"/>
                    <a:pt x="41" y="5"/>
                  </a:cubicBezTo>
                  <a:cubicBezTo>
                    <a:pt x="38" y="2"/>
                    <a:pt x="34" y="0"/>
                    <a:pt x="30" y="0"/>
                  </a:cubicBezTo>
                  <a:moveTo>
                    <a:pt x="22" y="148"/>
                  </a:moveTo>
                  <a:cubicBezTo>
                    <a:pt x="24" y="152"/>
                    <a:pt x="25" y="156"/>
                    <a:pt x="25" y="159"/>
                  </a:cubicBezTo>
                  <a:cubicBezTo>
                    <a:pt x="25" y="162"/>
                    <a:pt x="24" y="163"/>
                    <a:pt x="22" y="163"/>
                  </a:cubicBezTo>
                  <a:cubicBezTo>
                    <a:pt x="20" y="163"/>
                    <a:pt x="19" y="162"/>
                    <a:pt x="19" y="159"/>
                  </a:cubicBezTo>
                  <a:cubicBezTo>
                    <a:pt x="18" y="156"/>
                    <a:pt x="19" y="152"/>
                    <a:pt x="22" y="148"/>
                  </a:cubicBezTo>
                  <a:moveTo>
                    <a:pt x="21" y="154"/>
                  </a:moveTo>
                  <a:cubicBezTo>
                    <a:pt x="21" y="157"/>
                    <a:pt x="21" y="157"/>
                    <a:pt x="21" y="157"/>
                  </a:cubicBezTo>
                  <a:cubicBezTo>
                    <a:pt x="19" y="157"/>
                    <a:pt x="19" y="157"/>
                    <a:pt x="19" y="157"/>
                  </a:cubicBezTo>
                  <a:cubicBezTo>
                    <a:pt x="19" y="158"/>
                    <a:pt x="19" y="158"/>
                    <a:pt x="19" y="158"/>
                  </a:cubicBezTo>
                  <a:cubicBezTo>
                    <a:pt x="21" y="158"/>
                    <a:pt x="21" y="158"/>
                    <a:pt x="21" y="158"/>
                  </a:cubicBezTo>
                  <a:cubicBezTo>
                    <a:pt x="21" y="160"/>
                    <a:pt x="21" y="160"/>
                    <a:pt x="21" y="160"/>
                  </a:cubicBezTo>
                  <a:cubicBezTo>
                    <a:pt x="23" y="160"/>
                    <a:pt x="23" y="160"/>
                    <a:pt x="23" y="160"/>
                  </a:cubicBezTo>
                  <a:cubicBezTo>
                    <a:pt x="23" y="158"/>
                    <a:pt x="23" y="158"/>
                    <a:pt x="23" y="158"/>
                  </a:cubicBezTo>
                  <a:cubicBezTo>
                    <a:pt x="25" y="158"/>
                    <a:pt x="25" y="158"/>
                    <a:pt x="25" y="158"/>
                  </a:cubicBezTo>
                  <a:cubicBezTo>
                    <a:pt x="25" y="157"/>
                    <a:pt x="25" y="157"/>
                    <a:pt x="25" y="157"/>
                  </a:cubicBezTo>
                  <a:cubicBezTo>
                    <a:pt x="23" y="157"/>
                    <a:pt x="23" y="157"/>
                    <a:pt x="23" y="157"/>
                  </a:cubicBezTo>
                  <a:cubicBezTo>
                    <a:pt x="23" y="154"/>
                    <a:pt x="23" y="154"/>
                    <a:pt x="23" y="154"/>
                  </a:cubicBezTo>
                  <a:lnTo>
                    <a:pt x="21"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597" name="Group 175"/>
          <p:cNvGrpSpPr>
            <a:grpSpLocks/>
          </p:cNvGrpSpPr>
          <p:nvPr/>
        </p:nvGrpSpPr>
        <p:grpSpPr bwMode="auto">
          <a:xfrm>
            <a:off x="1728788" y="4843463"/>
            <a:ext cx="252412" cy="252412"/>
            <a:chOff x="1807987" y="3050116"/>
            <a:chExt cx="365760" cy="365760"/>
          </a:xfrm>
        </p:grpSpPr>
        <p:sp>
          <p:nvSpPr>
            <p:cNvPr id="150" name="Oval 149">
              <a:extLst>
                <a:ext uri="{FF2B5EF4-FFF2-40B4-BE49-F238E27FC236}"/>
              </a:extLst>
            </p:cNvPr>
            <p:cNvSpPr/>
            <p:nvPr/>
          </p:nvSpPr>
          <p:spPr bwMode="ltGray">
            <a:xfrm>
              <a:off x="1807987" y="3050116"/>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51" name="Freeform 1190">
              <a:extLst>
                <a:ext uri="{FF2B5EF4-FFF2-40B4-BE49-F238E27FC236}"/>
              </a:extLst>
            </p:cNvPr>
            <p:cNvSpPr>
              <a:spLocks noEditPoints="1"/>
            </p:cNvSpPr>
            <p:nvPr/>
          </p:nvSpPr>
          <p:spPr bwMode="auto">
            <a:xfrm>
              <a:off x="1867797" y="3059318"/>
              <a:ext cx="253042" cy="322053"/>
            </a:xfrm>
            <a:custGeom>
              <a:avLst/>
              <a:gdLst>
                <a:gd name="T0" fmla="*/ 673 w 711"/>
                <a:gd name="T1" fmla="*/ 279 h 878"/>
                <a:gd name="T2" fmla="*/ 600 w 711"/>
                <a:gd name="T3" fmla="*/ 205 h 878"/>
                <a:gd name="T4" fmla="*/ 386 w 711"/>
                <a:gd name="T5" fmla="*/ 169 h 878"/>
                <a:gd name="T6" fmla="*/ 325 w 711"/>
                <a:gd name="T7" fmla="*/ 135 h 878"/>
                <a:gd name="T8" fmla="*/ 0 w 711"/>
                <a:gd name="T9" fmla="*/ 523 h 878"/>
                <a:gd name="T10" fmla="*/ 711 w 711"/>
                <a:gd name="T11" fmla="*/ 523 h 878"/>
                <a:gd name="T12" fmla="*/ 356 w 711"/>
                <a:gd name="T13" fmla="*/ 844 h 878"/>
                <a:gd name="T14" fmla="*/ 356 w 711"/>
                <a:gd name="T15" fmla="*/ 202 h 878"/>
                <a:gd name="T16" fmla="*/ 613 w 711"/>
                <a:gd name="T17" fmla="*/ 332 h 878"/>
                <a:gd name="T18" fmla="*/ 677 w 711"/>
                <a:gd name="T19" fmla="*/ 523 h 878"/>
                <a:gd name="T20" fmla="*/ 291 w 711"/>
                <a:gd name="T21" fmla="*/ 87 h 878"/>
                <a:gd name="T22" fmla="*/ 312 w 711"/>
                <a:gd name="T23" fmla="*/ 0 h 878"/>
                <a:gd name="T24" fmla="*/ 421 w 711"/>
                <a:gd name="T25" fmla="*/ 22 h 878"/>
                <a:gd name="T26" fmla="*/ 399 w 711"/>
                <a:gd name="T27" fmla="*/ 109 h 878"/>
                <a:gd name="T28" fmla="*/ 291 w 711"/>
                <a:gd name="T29" fmla="*/ 87 h 878"/>
                <a:gd name="T30" fmla="*/ 356 w 711"/>
                <a:gd name="T31" fmla="*/ 549 h 878"/>
                <a:gd name="T32" fmla="*/ 356 w 711"/>
                <a:gd name="T33" fmla="*/ 497 h 878"/>
                <a:gd name="T34" fmla="*/ 588 w 711"/>
                <a:gd name="T35" fmla="*/ 540 h 878"/>
                <a:gd name="T36" fmla="*/ 588 w 711"/>
                <a:gd name="T37" fmla="*/ 506 h 878"/>
                <a:gd name="T38" fmla="*/ 356 w 711"/>
                <a:gd name="T39" fmla="*/ 244 h 878"/>
                <a:gd name="T40" fmla="*/ 124 w 711"/>
                <a:gd name="T41" fmla="*/ 506 h 878"/>
                <a:gd name="T42" fmla="*/ 124 w 711"/>
                <a:gd name="T43" fmla="*/ 540 h 878"/>
                <a:gd name="T44" fmla="*/ 338 w 711"/>
                <a:gd name="T45" fmla="*/ 801 h 878"/>
                <a:gd name="T46" fmla="*/ 356 w 711"/>
                <a:gd name="T47" fmla="*/ 738 h 878"/>
                <a:gd name="T48" fmla="*/ 373 w 711"/>
                <a:gd name="T49" fmla="*/ 801 h 878"/>
                <a:gd name="T50" fmla="*/ 588 w 711"/>
                <a:gd name="T51" fmla="*/ 540 h 878"/>
                <a:gd name="T52" fmla="*/ 434 w 711"/>
                <a:gd name="T53" fmla="*/ 288 h 878"/>
                <a:gd name="T54" fmla="*/ 356 w 711"/>
                <a:gd name="T55" fmla="*/ 397 h 878"/>
                <a:gd name="T56" fmla="*/ 344 w 711"/>
                <a:gd name="T57" fmla="*/ 338 h 878"/>
                <a:gd name="T58" fmla="*/ 518 w 711"/>
                <a:gd name="T59" fmla="*/ 703 h 878"/>
                <a:gd name="T60" fmla="*/ 384 w 711"/>
                <a:gd name="T61" fmla="*/ 576 h 878"/>
                <a:gd name="T62" fmla="*/ 326 w 711"/>
                <a:gd name="T63" fmla="*/ 575 h 878"/>
                <a:gd name="T64" fmla="*/ 284 w 711"/>
                <a:gd name="T65" fmla="*/ 476 h 878"/>
                <a:gd name="T66" fmla="*/ 309 w 711"/>
                <a:gd name="T67" fmla="*/ 452 h 878"/>
                <a:gd name="T68" fmla="*/ 356 w 711"/>
                <a:gd name="T69" fmla="*/ 463 h 878"/>
                <a:gd name="T70" fmla="*/ 409 w 711"/>
                <a:gd name="T71" fmla="*/ 551 h 878"/>
                <a:gd name="T72" fmla="*/ 531 w 711"/>
                <a:gd name="T73" fmla="*/ 698 h 8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11" h="878">
                  <a:moveTo>
                    <a:pt x="641" y="311"/>
                  </a:moveTo>
                  <a:cubicBezTo>
                    <a:pt x="673" y="279"/>
                    <a:pt x="673" y="279"/>
                    <a:pt x="673" y="279"/>
                  </a:cubicBezTo>
                  <a:cubicBezTo>
                    <a:pt x="694" y="259"/>
                    <a:pt x="694" y="226"/>
                    <a:pt x="673" y="205"/>
                  </a:cubicBezTo>
                  <a:cubicBezTo>
                    <a:pt x="653" y="185"/>
                    <a:pt x="620" y="185"/>
                    <a:pt x="600" y="205"/>
                  </a:cubicBezTo>
                  <a:cubicBezTo>
                    <a:pt x="567" y="238"/>
                    <a:pt x="567" y="238"/>
                    <a:pt x="567" y="238"/>
                  </a:cubicBezTo>
                  <a:cubicBezTo>
                    <a:pt x="516" y="200"/>
                    <a:pt x="454" y="175"/>
                    <a:pt x="386" y="169"/>
                  </a:cubicBezTo>
                  <a:cubicBezTo>
                    <a:pt x="386" y="135"/>
                    <a:pt x="386" y="135"/>
                    <a:pt x="386" y="135"/>
                  </a:cubicBezTo>
                  <a:cubicBezTo>
                    <a:pt x="325" y="135"/>
                    <a:pt x="325" y="135"/>
                    <a:pt x="325" y="135"/>
                  </a:cubicBezTo>
                  <a:cubicBezTo>
                    <a:pt x="325" y="169"/>
                    <a:pt x="325" y="169"/>
                    <a:pt x="325" y="169"/>
                  </a:cubicBezTo>
                  <a:cubicBezTo>
                    <a:pt x="143" y="185"/>
                    <a:pt x="0" y="337"/>
                    <a:pt x="0" y="523"/>
                  </a:cubicBezTo>
                  <a:cubicBezTo>
                    <a:pt x="0" y="719"/>
                    <a:pt x="159" y="878"/>
                    <a:pt x="356" y="878"/>
                  </a:cubicBezTo>
                  <a:cubicBezTo>
                    <a:pt x="552" y="878"/>
                    <a:pt x="711" y="719"/>
                    <a:pt x="711" y="523"/>
                  </a:cubicBezTo>
                  <a:cubicBezTo>
                    <a:pt x="711" y="444"/>
                    <a:pt x="685" y="371"/>
                    <a:pt x="641" y="311"/>
                  </a:cubicBezTo>
                  <a:close/>
                  <a:moveTo>
                    <a:pt x="356" y="844"/>
                  </a:moveTo>
                  <a:cubicBezTo>
                    <a:pt x="179" y="844"/>
                    <a:pt x="35" y="700"/>
                    <a:pt x="35" y="523"/>
                  </a:cubicBezTo>
                  <a:cubicBezTo>
                    <a:pt x="35" y="346"/>
                    <a:pt x="179" y="202"/>
                    <a:pt x="356" y="202"/>
                  </a:cubicBezTo>
                  <a:cubicBezTo>
                    <a:pt x="428" y="202"/>
                    <a:pt x="494" y="226"/>
                    <a:pt x="547" y="266"/>
                  </a:cubicBezTo>
                  <a:cubicBezTo>
                    <a:pt x="572" y="285"/>
                    <a:pt x="594" y="307"/>
                    <a:pt x="613" y="332"/>
                  </a:cubicBezTo>
                  <a:cubicBezTo>
                    <a:pt x="613" y="332"/>
                    <a:pt x="613" y="332"/>
                    <a:pt x="613" y="332"/>
                  </a:cubicBezTo>
                  <a:cubicBezTo>
                    <a:pt x="653" y="385"/>
                    <a:pt x="677" y="451"/>
                    <a:pt x="677" y="523"/>
                  </a:cubicBezTo>
                  <a:cubicBezTo>
                    <a:pt x="677" y="700"/>
                    <a:pt x="533" y="844"/>
                    <a:pt x="356" y="844"/>
                  </a:cubicBezTo>
                  <a:close/>
                  <a:moveTo>
                    <a:pt x="291" y="87"/>
                  </a:moveTo>
                  <a:cubicBezTo>
                    <a:pt x="291" y="22"/>
                    <a:pt x="291" y="22"/>
                    <a:pt x="291" y="22"/>
                  </a:cubicBezTo>
                  <a:cubicBezTo>
                    <a:pt x="291" y="10"/>
                    <a:pt x="300" y="0"/>
                    <a:pt x="312" y="0"/>
                  </a:cubicBezTo>
                  <a:cubicBezTo>
                    <a:pt x="399" y="0"/>
                    <a:pt x="399" y="0"/>
                    <a:pt x="399" y="0"/>
                  </a:cubicBezTo>
                  <a:cubicBezTo>
                    <a:pt x="411" y="0"/>
                    <a:pt x="421" y="10"/>
                    <a:pt x="421" y="22"/>
                  </a:cubicBezTo>
                  <a:cubicBezTo>
                    <a:pt x="421" y="87"/>
                    <a:pt x="421" y="87"/>
                    <a:pt x="421" y="87"/>
                  </a:cubicBezTo>
                  <a:cubicBezTo>
                    <a:pt x="421" y="99"/>
                    <a:pt x="411" y="109"/>
                    <a:pt x="399" y="109"/>
                  </a:cubicBezTo>
                  <a:cubicBezTo>
                    <a:pt x="312" y="109"/>
                    <a:pt x="312" y="109"/>
                    <a:pt x="312" y="109"/>
                  </a:cubicBezTo>
                  <a:cubicBezTo>
                    <a:pt x="300" y="109"/>
                    <a:pt x="291" y="99"/>
                    <a:pt x="291" y="87"/>
                  </a:cubicBezTo>
                  <a:close/>
                  <a:moveTo>
                    <a:pt x="381" y="523"/>
                  </a:moveTo>
                  <a:cubicBezTo>
                    <a:pt x="381" y="537"/>
                    <a:pt x="370" y="549"/>
                    <a:pt x="356" y="549"/>
                  </a:cubicBezTo>
                  <a:cubicBezTo>
                    <a:pt x="342" y="549"/>
                    <a:pt x="330" y="537"/>
                    <a:pt x="330" y="523"/>
                  </a:cubicBezTo>
                  <a:cubicBezTo>
                    <a:pt x="330" y="509"/>
                    <a:pt x="342" y="497"/>
                    <a:pt x="356" y="497"/>
                  </a:cubicBezTo>
                  <a:cubicBezTo>
                    <a:pt x="370" y="497"/>
                    <a:pt x="381" y="509"/>
                    <a:pt x="381" y="523"/>
                  </a:cubicBezTo>
                  <a:close/>
                  <a:moveTo>
                    <a:pt x="588" y="540"/>
                  </a:moveTo>
                  <a:cubicBezTo>
                    <a:pt x="578" y="540"/>
                    <a:pt x="571" y="533"/>
                    <a:pt x="571" y="523"/>
                  </a:cubicBezTo>
                  <a:cubicBezTo>
                    <a:pt x="571" y="513"/>
                    <a:pt x="578" y="506"/>
                    <a:pt x="588" y="506"/>
                  </a:cubicBezTo>
                  <a:cubicBezTo>
                    <a:pt x="634" y="506"/>
                    <a:pt x="634" y="506"/>
                    <a:pt x="634" y="506"/>
                  </a:cubicBezTo>
                  <a:cubicBezTo>
                    <a:pt x="625" y="360"/>
                    <a:pt x="504" y="244"/>
                    <a:pt x="356" y="244"/>
                  </a:cubicBezTo>
                  <a:cubicBezTo>
                    <a:pt x="208" y="244"/>
                    <a:pt x="87" y="360"/>
                    <a:pt x="78" y="506"/>
                  </a:cubicBezTo>
                  <a:cubicBezTo>
                    <a:pt x="124" y="506"/>
                    <a:pt x="124" y="506"/>
                    <a:pt x="124" y="506"/>
                  </a:cubicBezTo>
                  <a:cubicBezTo>
                    <a:pt x="133" y="506"/>
                    <a:pt x="141" y="513"/>
                    <a:pt x="141" y="523"/>
                  </a:cubicBezTo>
                  <a:cubicBezTo>
                    <a:pt x="141" y="533"/>
                    <a:pt x="133" y="540"/>
                    <a:pt x="124" y="540"/>
                  </a:cubicBezTo>
                  <a:cubicBezTo>
                    <a:pt x="78" y="540"/>
                    <a:pt x="78" y="540"/>
                    <a:pt x="78" y="540"/>
                  </a:cubicBezTo>
                  <a:cubicBezTo>
                    <a:pt x="86" y="681"/>
                    <a:pt x="198" y="793"/>
                    <a:pt x="338" y="801"/>
                  </a:cubicBezTo>
                  <a:cubicBezTo>
                    <a:pt x="338" y="755"/>
                    <a:pt x="338" y="755"/>
                    <a:pt x="338" y="755"/>
                  </a:cubicBezTo>
                  <a:cubicBezTo>
                    <a:pt x="338" y="746"/>
                    <a:pt x="346" y="738"/>
                    <a:pt x="356" y="738"/>
                  </a:cubicBezTo>
                  <a:cubicBezTo>
                    <a:pt x="365" y="738"/>
                    <a:pt x="373" y="746"/>
                    <a:pt x="373" y="755"/>
                  </a:cubicBezTo>
                  <a:cubicBezTo>
                    <a:pt x="373" y="801"/>
                    <a:pt x="373" y="801"/>
                    <a:pt x="373" y="801"/>
                  </a:cubicBezTo>
                  <a:cubicBezTo>
                    <a:pt x="513" y="793"/>
                    <a:pt x="625" y="681"/>
                    <a:pt x="634" y="540"/>
                  </a:cubicBezTo>
                  <a:lnTo>
                    <a:pt x="588" y="540"/>
                  </a:lnTo>
                  <a:close/>
                  <a:moveTo>
                    <a:pt x="344" y="338"/>
                  </a:moveTo>
                  <a:cubicBezTo>
                    <a:pt x="434" y="288"/>
                    <a:pt x="434" y="288"/>
                    <a:pt x="434" y="288"/>
                  </a:cubicBezTo>
                  <a:cubicBezTo>
                    <a:pt x="384" y="378"/>
                    <a:pt x="384" y="378"/>
                    <a:pt x="384" y="378"/>
                  </a:cubicBezTo>
                  <a:cubicBezTo>
                    <a:pt x="380" y="390"/>
                    <a:pt x="369" y="397"/>
                    <a:pt x="356" y="397"/>
                  </a:cubicBezTo>
                  <a:cubicBezTo>
                    <a:pt x="339" y="397"/>
                    <a:pt x="325" y="384"/>
                    <a:pt x="325" y="367"/>
                  </a:cubicBezTo>
                  <a:cubicBezTo>
                    <a:pt x="325" y="354"/>
                    <a:pt x="333" y="343"/>
                    <a:pt x="344" y="338"/>
                  </a:cubicBezTo>
                  <a:close/>
                  <a:moveTo>
                    <a:pt x="531" y="698"/>
                  </a:moveTo>
                  <a:cubicBezTo>
                    <a:pt x="527" y="701"/>
                    <a:pt x="523" y="703"/>
                    <a:pt x="518" y="703"/>
                  </a:cubicBezTo>
                  <a:cubicBezTo>
                    <a:pt x="514" y="703"/>
                    <a:pt x="510" y="701"/>
                    <a:pt x="506" y="698"/>
                  </a:cubicBezTo>
                  <a:cubicBezTo>
                    <a:pt x="384" y="576"/>
                    <a:pt x="384" y="576"/>
                    <a:pt x="384" y="576"/>
                  </a:cubicBezTo>
                  <a:cubicBezTo>
                    <a:pt x="376" y="581"/>
                    <a:pt x="366" y="583"/>
                    <a:pt x="356" y="583"/>
                  </a:cubicBezTo>
                  <a:cubicBezTo>
                    <a:pt x="346" y="583"/>
                    <a:pt x="335" y="581"/>
                    <a:pt x="326" y="575"/>
                  </a:cubicBezTo>
                  <a:cubicBezTo>
                    <a:pt x="297" y="559"/>
                    <a:pt x="287" y="523"/>
                    <a:pt x="303" y="495"/>
                  </a:cubicBezTo>
                  <a:cubicBezTo>
                    <a:pt x="284" y="476"/>
                    <a:pt x="284" y="476"/>
                    <a:pt x="284" y="476"/>
                  </a:cubicBezTo>
                  <a:cubicBezTo>
                    <a:pt x="278" y="469"/>
                    <a:pt x="278" y="458"/>
                    <a:pt x="284" y="452"/>
                  </a:cubicBezTo>
                  <a:cubicBezTo>
                    <a:pt x="291" y="445"/>
                    <a:pt x="302" y="445"/>
                    <a:pt x="309" y="452"/>
                  </a:cubicBezTo>
                  <a:cubicBezTo>
                    <a:pt x="327" y="470"/>
                    <a:pt x="327" y="470"/>
                    <a:pt x="327" y="470"/>
                  </a:cubicBezTo>
                  <a:cubicBezTo>
                    <a:pt x="336" y="465"/>
                    <a:pt x="346" y="463"/>
                    <a:pt x="356" y="463"/>
                  </a:cubicBezTo>
                  <a:cubicBezTo>
                    <a:pt x="366" y="463"/>
                    <a:pt x="376" y="465"/>
                    <a:pt x="386" y="471"/>
                  </a:cubicBezTo>
                  <a:cubicBezTo>
                    <a:pt x="414" y="487"/>
                    <a:pt x="424" y="523"/>
                    <a:pt x="409" y="551"/>
                  </a:cubicBezTo>
                  <a:cubicBezTo>
                    <a:pt x="531" y="673"/>
                    <a:pt x="531" y="673"/>
                    <a:pt x="531" y="673"/>
                  </a:cubicBezTo>
                  <a:cubicBezTo>
                    <a:pt x="537" y="680"/>
                    <a:pt x="537" y="691"/>
                    <a:pt x="531" y="6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598" name="Group 178"/>
          <p:cNvGrpSpPr>
            <a:grpSpLocks/>
          </p:cNvGrpSpPr>
          <p:nvPr/>
        </p:nvGrpSpPr>
        <p:grpSpPr bwMode="auto">
          <a:xfrm>
            <a:off x="1728788" y="4487863"/>
            <a:ext cx="252412" cy="252412"/>
            <a:chOff x="1814867" y="2540667"/>
            <a:chExt cx="365760" cy="365760"/>
          </a:xfrm>
        </p:grpSpPr>
        <p:sp>
          <p:nvSpPr>
            <p:cNvPr id="153" name="Oval 152">
              <a:extLst>
                <a:ext uri="{FF2B5EF4-FFF2-40B4-BE49-F238E27FC236}"/>
              </a:extLst>
            </p:cNvPr>
            <p:cNvSpPr/>
            <p:nvPr/>
          </p:nvSpPr>
          <p:spPr bwMode="ltGray">
            <a:xfrm>
              <a:off x="1814867" y="2540667"/>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54" name="Freeform 1204">
              <a:extLst>
                <a:ext uri="{FF2B5EF4-FFF2-40B4-BE49-F238E27FC236}"/>
              </a:extLst>
            </p:cNvPr>
            <p:cNvSpPr>
              <a:spLocks noEditPoints="1"/>
            </p:cNvSpPr>
            <p:nvPr/>
          </p:nvSpPr>
          <p:spPr bwMode="auto">
            <a:xfrm>
              <a:off x="1833270" y="2552168"/>
              <a:ext cx="324353" cy="324355"/>
            </a:xfrm>
            <a:custGeom>
              <a:avLst/>
              <a:gdLst>
                <a:gd name="T0" fmla="*/ 771 w 849"/>
                <a:gd name="T1" fmla="*/ 251 h 849"/>
                <a:gd name="T2" fmla="*/ 494 w 849"/>
                <a:gd name="T3" fmla="*/ 113 h 849"/>
                <a:gd name="T4" fmla="*/ 355 w 849"/>
                <a:gd name="T5" fmla="*/ 0 h 849"/>
                <a:gd name="T6" fmla="*/ 252 w 849"/>
                <a:gd name="T7" fmla="*/ 78 h 849"/>
                <a:gd name="T8" fmla="*/ 92 w 849"/>
                <a:gd name="T9" fmla="*/ 319 h 849"/>
                <a:gd name="T10" fmla="*/ 147 w 849"/>
                <a:gd name="T11" fmla="*/ 251 h 849"/>
                <a:gd name="T12" fmla="*/ 356 w 849"/>
                <a:gd name="T13" fmla="*/ 251 h 849"/>
                <a:gd name="T14" fmla="*/ 407 w 849"/>
                <a:gd name="T15" fmla="*/ 319 h 849"/>
                <a:gd name="T16" fmla="*/ 442 w 849"/>
                <a:gd name="T17" fmla="*/ 279 h 849"/>
                <a:gd name="T18" fmla="*/ 494 w 849"/>
                <a:gd name="T19" fmla="*/ 319 h 849"/>
                <a:gd name="T20" fmla="*/ 598 w 849"/>
                <a:gd name="T21" fmla="*/ 147 h 849"/>
                <a:gd name="T22" fmla="*/ 598 w 849"/>
                <a:gd name="T23" fmla="*/ 355 h 849"/>
                <a:gd name="T24" fmla="*/ 494 w 849"/>
                <a:gd name="T25" fmla="*/ 355 h 849"/>
                <a:gd name="T26" fmla="*/ 356 w 849"/>
                <a:gd name="T27" fmla="*/ 355 h 849"/>
                <a:gd name="T28" fmla="*/ 249 w 849"/>
                <a:gd name="T29" fmla="*/ 355 h 849"/>
                <a:gd name="T30" fmla="*/ 35 w 849"/>
                <a:gd name="T31" fmla="*/ 355 h 849"/>
                <a:gd name="T32" fmla="*/ 0 w 849"/>
                <a:gd name="T33" fmla="*/ 494 h 849"/>
                <a:gd name="T34" fmla="*/ 78 w 849"/>
                <a:gd name="T35" fmla="*/ 598 h 849"/>
                <a:gd name="T36" fmla="*/ 355 w 849"/>
                <a:gd name="T37" fmla="*/ 736 h 849"/>
                <a:gd name="T38" fmla="*/ 494 w 849"/>
                <a:gd name="T39" fmla="*/ 849 h 849"/>
                <a:gd name="T40" fmla="*/ 598 w 849"/>
                <a:gd name="T41" fmla="*/ 771 h 849"/>
                <a:gd name="T42" fmla="*/ 758 w 849"/>
                <a:gd name="T43" fmla="*/ 530 h 849"/>
                <a:gd name="T44" fmla="*/ 702 w 849"/>
                <a:gd name="T45" fmla="*/ 598 h 849"/>
                <a:gd name="T46" fmla="*/ 494 w 849"/>
                <a:gd name="T47" fmla="*/ 598 h 849"/>
                <a:gd name="T48" fmla="*/ 442 w 849"/>
                <a:gd name="T49" fmla="*/ 530 h 849"/>
                <a:gd name="T50" fmla="*/ 407 w 849"/>
                <a:gd name="T51" fmla="*/ 571 h 849"/>
                <a:gd name="T52" fmla="*/ 356 w 849"/>
                <a:gd name="T53" fmla="*/ 530 h 849"/>
                <a:gd name="T54" fmla="*/ 252 w 849"/>
                <a:gd name="T55" fmla="*/ 702 h 849"/>
                <a:gd name="T56" fmla="*/ 252 w 849"/>
                <a:gd name="T57" fmla="*/ 494 h 849"/>
                <a:gd name="T58" fmla="*/ 356 w 849"/>
                <a:gd name="T59" fmla="*/ 494 h 849"/>
                <a:gd name="T60" fmla="*/ 494 w 849"/>
                <a:gd name="T61" fmla="*/ 494 h 849"/>
                <a:gd name="T62" fmla="*/ 601 w 849"/>
                <a:gd name="T63" fmla="*/ 494 h 849"/>
                <a:gd name="T64" fmla="*/ 737 w 849"/>
                <a:gd name="T65" fmla="*/ 494 h 849"/>
                <a:gd name="T66" fmla="*/ 849 w 849"/>
                <a:gd name="T67" fmla="*/ 355 h 849"/>
                <a:gd name="T68" fmla="*/ 442 w 849"/>
                <a:gd name="T69" fmla="*/ 223 h 849"/>
                <a:gd name="T70" fmla="*/ 407 w 849"/>
                <a:gd name="T71" fmla="*/ 164 h 849"/>
                <a:gd name="T72" fmla="*/ 442 w 849"/>
                <a:gd name="T73" fmla="*/ 223 h 849"/>
                <a:gd name="T74" fmla="*/ 407 w 849"/>
                <a:gd name="T75" fmla="*/ 108 h 849"/>
                <a:gd name="T76" fmla="*/ 442 w 849"/>
                <a:gd name="T77" fmla="*/ 50 h 849"/>
                <a:gd name="T78" fmla="*/ 109 w 849"/>
                <a:gd name="T79" fmla="*/ 442 h 849"/>
                <a:gd name="T80" fmla="*/ 50 w 849"/>
                <a:gd name="T81" fmla="*/ 407 h 849"/>
                <a:gd name="T82" fmla="*/ 109 w 849"/>
                <a:gd name="T83" fmla="*/ 442 h 849"/>
                <a:gd name="T84" fmla="*/ 442 w 849"/>
                <a:gd name="T85" fmla="*/ 626 h 849"/>
                <a:gd name="T86" fmla="*/ 407 w 849"/>
                <a:gd name="T87" fmla="*/ 685 h 849"/>
                <a:gd name="T88" fmla="*/ 407 w 849"/>
                <a:gd name="T89" fmla="*/ 741 h 849"/>
                <a:gd name="T90" fmla="*/ 442 w 849"/>
                <a:gd name="T91" fmla="*/ 799 h 849"/>
                <a:gd name="T92" fmla="*/ 407 w 849"/>
                <a:gd name="T93" fmla="*/ 741 h 849"/>
                <a:gd name="T94" fmla="*/ 165 w 849"/>
                <a:gd name="T95" fmla="*/ 442 h 849"/>
                <a:gd name="T96" fmla="*/ 224 w 849"/>
                <a:gd name="T97" fmla="*/ 407 h 849"/>
                <a:gd name="T98" fmla="*/ 339 w 849"/>
                <a:gd name="T99" fmla="*/ 442 h 849"/>
                <a:gd name="T100" fmla="*/ 280 w 849"/>
                <a:gd name="T101" fmla="*/ 407 h 849"/>
                <a:gd name="T102" fmla="*/ 339 w 849"/>
                <a:gd name="T103" fmla="*/ 442 h 849"/>
                <a:gd name="T104" fmla="*/ 396 w 849"/>
                <a:gd name="T105" fmla="*/ 442 h 849"/>
                <a:gd name="T106" fmla="*/ 454 w 849"/>
                <a:gd name="T107" fmla="*/ 407 h 849"/>
                <a:gd name="T108" fmla="*/ 569 w 849"/>
                <a:gd name="T109" fmla="*/ 442 h 849"/>
                <a:gd name="T110" fmla="*/ 511 w 849"/>
                <a:gd name="T111" fmla="*/ 407 h 849"/>
                <a:gd name="T112" fmla="*/ 569 w 849"/>
                <a:gd name="T113" fmla="*/ 442 h 849"/>
                <a:gd name="T114" fmla="*/ 626 w 849"/>
                <a:gd name="T115" fmla="*/ 442 h 849"/>
                <a:gd name="T116" fmla="*/ 684 w 849"/>
                <a:gd name="T117" fmla="*/ 407 h 849"/>
                <a:gd name="T118" fmla="*/ 800 w 849"/>
                <a:gd name="T119" fmla="*/ 442 h 849"/>
                <a:gd name="T120" fmla="*/ 741 w 849"/>
                <a:gd name="T121" fmla="*/ 407 h 849"/>
                <a:gd name="T122" fmla="*/ 800 w 849"/>
                <a:gd name="T123" fmla="*/ 442 h 8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49" h="849">
                  <a:moveTo>
                    <a:pt x="737" y="355"/>
                  </a:moveTo>
                  <a:cubicBezTo>
                    <a:pt x="758" y="326"/>
                    <a:pt x="771" y="290"/>
                    <a:pt x="771" y="251"/>
                  </a:cubicBezTo>
                  <a:cubicBezTo>
                    <a:pt x="771" y="156"/>
                    <a:pt x="694" y="78"/>
                    <a:pt x="598" y="78"/>
                  </a:cubicBezTo>
                  <a:cubicBezTo>
                    <a:pt x="559" y="78"/>
                    <a:pt x="523" y="91"/>
                    <a:pt x="494" y="113"/>
                  </a:cubicBezTo>
                  <a:cubicBezTo>
                    <a:pt x="494" y="0"/>
                    <a:pt x="494" y="0"/>
                    <a:pt x="494" y="0"/>
                  </a:cubicBezTo>
                  <a:cubicBezTo>
                    <a:pt x="355" y="0"/>
                    <a:pt x="355" y="0"/>
                    <a:pt x="355" y="0"/>
                  </a:cubicBezTo>
                  <a:cubicBezTo>
                    <a:pt x="355" y="113"/>
                    <a:pt x="355" y="113"/>
                    <a:pt x="355" y="113"/>
                  </a:cubicBezTo>
                  <a:cubicBezTo>
                    <a:pt x="326" y="91"/>
                    <a:pt x="291" y="78"/>
                    <a:pt x="252" y="78"/>
                  </a:cubicBezTo>
                  <a:cubicBezTo>
                    <a:pt x="156" y="78"/>
                    <a:pt x="78" y="156"/>
                    <a:pt x="78" y="251"/>
                  </a:cubicBezTo>
                  <a:cubicBezTo>
                    <a:pt x="78" y="275"/>
                    <a:pt x="83" y="298"/>
                    <a:pt x="92" y="319"/>
                  </a:cubicBezTo>
                  <a:cubicBezTo>
                    <a:pt x="173" y="319"/>
                    <a:pt x="173" y="319"/>
                    <a:pt x="173" y="319"/>
                  </a:cubicBezTo>
                  <a:cubicBezTo>
                    <a:pt x="157" y="301"/>
                    <a:pt x="147" y="277"/>
                    <a:pt x="147" y="251"/>
                  </a:cubicBezTo>
                  <a:cubicBezTo>
                    <a:pt x="147" y="194"/>
                    <a:pt x="194" y="147"/>
                    <a:pt x="252" y="147"/>
                  </a:cubicBezTo>
                  <a:cubicBezTo>
                    <a:pt x="309" y="147"/>
                    <a:pt x="356" y="194"/>
                    <a:pt x="356" y="251"/>
                  </a:cubicBezTo>
                  <a:cubicBezTo>
                    <a:pt x="356" y="319"/>
                    <a:pt x="356" y="319"/>
                    <a:pt x="356" y="319"/>
                  </a:cubicBezTo>
                  <a:cubicBezTo>
                    <a:pt x="407" y="319"/>
                    <a:pt x="407" y="319"/>
                    <a:pt x="407" y="319"/>
                  </a:cubicBezTo>
                  <a:cubicBezTo>
                    <a:pt x="407" y="279"/>
                    <a:pt x="407" y="279"/>
                    <a:pt x="407" y="279"/>
                  </a:cubicBezTo>
                  <a:cubicBezTo>
                    <a:pt x="442" y="279"/>
                    <a:pt x="442" y="279"/>
                    <a:pt x="442" y="279"/>
                  </a:cubicBezTo>
                  <a:cubicBezTo>
                    <a:pt x="442" y="319"/>
                    <a:pt x="442" y="319"/>
                    <a:pt x="442" y="319"/>
                  </a:cubicBezTo>
                  <a:cubicBezTo>
                    <a:pt x="494" y="319"/>
                    <a:pt x="494" y="319"/>
                    <a:pt x="494" y="319"/>
                  </a:cubicBezTo>
                  <a:cubicBezTo>
                    <a:pt x="494" y="251"/>
                    <a:pt x="494" y="251"/>
                    <a:pt x="494" y="251"/>
                  </a:cubicBezTo>
                  <a:cubicBezTo>
                    <a:pt x="494" y="194"/>
                    <a:pt x="541" y="147"/>
                    <a:pt x="598" y="147"/>
                  </a:cubicBezTo>
                  <a:cubicBezTo>
                    <a:pt x="656" y="147"/>
                    <a:pt x="702" y="194"/>
                    <a:pt x="702" y="251"/>
                  </a:cubicBezTo>
                  <a:cubicBezTo>
                    <a:pt x="702" y="309"/>
                    <a:pt x="656" y="355"/>
                    <a:pt x="598" y="355"/>
                  </a:cubicBezTo>
                  <a:cubicBezTo>
                    <a:pt x="494" y="355"/>
                    <a:pt x="494" y="355"/>
                    <a:pt x="494" y="355"/>
                  </a:cubicBezTo>
                  <a:cubicBezTo>
                    <a:pt x="494" y="355"/>
                    <a:pt x="494" y="355"/>
                    <a:pt x="494" y="355"/>
                  </a:cubicBezTo>
                  <a:cubicBezTo>
                    <a:pt x="356" y="355"/>
                    <a:pt x="356" y="355"/>
                    <a:pt x="356" y="355"/>
                  </a:cubicBezTo>
                  <a:cubicBezTo>
                    <a:pt x="356" y="355"/>
                    <a:pt x="356" y="355"/>
                    <a:pt x="356" y="355"/>
                  </a:cubicBezTo>
                  <a:cubicBezTo>
                    <a:pt x="252" y="355"/>
                    <a:pt x="252" y="355"/>
                    <a:pt x="252" y="355"/>
                  </a:cubicBezTo>
                  <a:cubicBezTo>
                    <a:pt x="251" y="355"/>
                    <a:pt x="250" y="355"/>
                    <a:pt x="249" y="355"/>
                  </a:cubicBezTo>
                  <a:cubicBezTo>
                    <a:pt x="113" y="355"/>
                    <a:pt x="113" y="355"/>
                    <a:pt x="113" y="355"/>
                  </a:cubicBezTo>
                  <a:cubicBezTo>
                    <a:pt x="35" y="355"/>
                    <a:pt x="35" y="355"/>
                    <a:pt x="35" y="355"/>
                  </a:cubicBezTo>
                  <a:cubicBezTo>
                    <a:pt x="0" y="355"/>
                    <a:pt x="0" y="355"/>
                    <a:pt x="0" y="355"/>
                  </a:cubicBezTo>
                  <a:cubicBezTo>
                    <a:pt x="0" y="494"/>
                    <a:pt x="0" y="494"/>
                    <a:pt x="0" y="494"/>
                  </a:cubicBezTo>
                  <a:cubicBezTo>
                    <a:pt x="113" y="494"/>
                    <a:pt x="113" y="494"/>
                    <a:pt x="113" y="494"/>
                  </a:cubicBezTo>
                  <a:cubicBezTo>
                    <a:pt x="91" y="523"/>
                    <a:pt x="78" y="559"/>
                    <a:pt x="78" y="598"/>
                  </a:cubicBezTo>
                  <a:cubicBezTo>
                    <a:pt x="78" y="694"/>
                    <a:pt x="156" y="771"/>
                    <a:pt x="252" y="771"/>
                  </a:cubicBezTo>
                  <a:cubicBezTo>
                    <a:pt x="291" y="771"/>
                    <a:pt x="326" y="758"/>
                    <a:pt x="355" y="736"/>
                  </a:cubicBezTo>
                  <a:cubicBezTo>
                    <a:pt x="355" y="849"/>
                    <a:pt x="355" y="849"/>
                    <a:pt x="355" y="849"/>
                  </a:cubicBezTo>
                  <a:cubicBezTo>
                    <a:pt x="494" y="849"/>
                    <a:pt x="494" y="849"/>
                    <a:pt x="494" y="849"/>
                  </a:cubicBezTo>
                  <a:cubicBezTo>
                    <a:pt x="494" y="736"/>
                    <a:pt x="494" y="736"/>
                    <a:pt x="494" y="736"/>
                  </a:cubicBezTo>
                  <a:cubicBezTo>
                    <a:pt x="523" y="758"/>
                    <a:pt x="559" y="771"/>
                    <a:pt x="598" y="771"/>
                  </a:cubicBezTo>
                  <a:cubicBezTo>
                    <a:pt x="694" y="771"/>
                    <a:pt x="771" y="694"/>
                    <a:pt x="771" y="598"/>
                  </a:cubicBezTo>
                  <a:cubicBezTo>
                    <a:pt x="771" y="574"/>
                    <a:pt x="766" y="551"/>
                    <a:pt x="758" y="530"/>
                  </a:cubicBezTo>
                  <a:cubicBezTo>
                    <a:pt x="677" y="530"/>
                    <a:pt x="677" y="530"/>
                    <a:pt x="677" y="530"/>
                  </a:cubicBezTo>
                  <a:cubicBezTo>
                    <a:pt x="693" y="548"/>
                    <a:pt x="702" y="572"/>
                    <a:pt x="702" y="598"/>
                  </a:cubicBezTo>
                  <a:cubicBezTo>
                    <a:pt x="702" y="655"/>
                    <a:pt x="656" y="702"/>
                    <a:pt x="598" y="702"/>
                  </a:cubicBezTo>
                  <a:cubicBezTo>
                    <a:pt x="541" y="702"/>
                    <a:pt x="494" y="655"/>
                    <a:pt x="494" y="598"/>
                  </a:cubicBezTo>
                  <a:cubicBezTo>
                    <a:pt x="494" y="530"/>
                    <a:pt x="494" y="530"/>
                    <a:pt x="494" y="530"/>
                  </a:cubicBezTo>
                  <a:cubicBezTo>
                    <a:pt x="442" y="530"/>
                    <a:pt x="442" y="530"/>
                    <a:pt x="442" y="530"/>
                  </a:cubicBezTo>
                  <a:cubicBezTo>
                    <a:pt x="442" y="571"/>
                    <a:pt x="442" y="571"/>
                    <a:pt x="442" y="571"/>
                  </a:cubicBezTo>
                  <a:cubicBezTo>
                    <a:pt x="407" y="571"/>
                    <a:pt x="407" y="571"/>
                    <a:pt x="407" y="571"/>
                  </a:cubicBezTo>
                  <a:cubicBezTo>
                    <a:pt x="407" y="530"/>
                    <a:pt x="407" y="530"/>
                    <a:pt x="407" y="530"/>
                  </a:cubicBezTo>
                  <a:cubicBezTo>
                    <a:pt x="356" y="530"/>
                    <a:pt x="356" y="530"/>
                    <a:pt x="356" y="530"/>
                  </a:cubicBezTo>
                  <a:cubicBezTo>
                    <a:pt x="356" y="598"/>
                    <a:pt x="356" y="598"/>
                    <a:pt x="356" y="598"/>
                  </a:cubicBezTo>
                  <a:cubicBezTo>
                    <a:pt x="356" y="655"/>
                    <a:pt x="309" y="702"/>
                    <a:pt x="252" y="702"/>
                  </a:cubicBezTo>
                  <a:cubicBezTo>
                    <a:pt x="194" y="702"/>
                    <a:pt x="147" y="655"/>
                    <a:pt x="147" y="598"/>
                  </a:cubicBezTo>
                  <a:cubicBezTo>
                    <a:pt x="147" y="541"/>
                    <a:pt x="194" y="494"/>
                    <a:pt x="252" y="494"/>
                  </a:cubicBezTo>
                  <a:cubicBezTo>
                    <a:pt x="356" y="494"/>
                    <a:pt x="356" y="494"/>
                    <a:pt x="356" y="494"/>
                  </a:cubicBezTo>
                  <a:cubicBezTo>
                    <a:pt x="356" y="494"/>
                    <a:pt x="356" y="494"/>
                    <a:pt x="356" y="494"/>
                  </a:cubicBezTo>
                  <a:cubicBezTo>
                    <a:pt x="494" y="494"/>
                    <a:pt x="494" y="494"/>
                    <a:pt x="494" y="494"/>
                  </a:cubicBezTo>
                  <a:cubicBezTo>
                    <a:pt x="494" y="494"/>
                    <a:pt x="494" y="494"/>
                    <a:pt x="494" y="494"/>
                  </a:cubicBezTo>
                  <a:cubicBezTo>
                    <a:pt x="598" y="494"/>
                    <a:pt x="598" y="494"/>
                    <a:pt x="598" y="494"/>
                  </a:cubicBezTo>
                  <a:cubicBezTo>
                    <a:pt x="599" y="494"/>
                    <a:pt x="600" y="494"/>
                    <a:pt x="601" y="494"/>
                  </a:cubicBezTo>
                  <a:cubicBezTo>
                    <a:pt x="737" y="494"/>
                    <a:pt x="737" y="494"/>
                    <a:pt x="737" y="494"/>
                  </a:cubicBezTo>
                  <a:cubicBezTo>
                    <a:pt x="737" y="494"/>
                    <a:pt x="737" y="494"/>
                    <a:pt x="737" y="494"/>
                  </a:cubicBezTo>
                  <a:cubicBezTo>
                    <a:pt x="849" y="494"/>
                    <a:pt x="849" y="494"/>
                    <a:pt x="849" y="494"/>
                  </a:cubicBezTo>
                  <a:cubicBezTo>
                    <a:pt x="849" y="355"/>
                    <a:pt x="849" y="355"/>
                    <a:pt x="849" y="355"/>
                  </a:cubicBezTo>
                  <a:lnTo>
                    <a:pt x="737" y="355"/>
                  </a:lnTo>
                  <a:close/>
                  <a:moveTo>
                    <a:pt x="442" y="223"/>
                  </a:moveTo>
                  <a:cubicBezTo>
                    <a:pt x="407" y="223"/>
                    <a:pt x="407" y="223"/>
                    <a:pt x="407" y="223"/>
                  </a:cubicBezTo>
                  <a:cubicBezTo>
                    <a:pt x="407" y="164"/>
                    <a:pt x="407" y="164"/>
                    <a:pt x="407" y="164"/>
                  </a:cubicBezTo>
                  <a:cubicBezTo>
                    <a:pt x="442" y="164"/>
                    <a:pt x="442" y="164"/>
                    <a:pt x="442" y="164"/>
                  </a:cubicBezTo>
                  <a:lnTo>
                    <a:pt x="442" y="223"/>
                  </a:lnTo>
                  <a:close/>
                  <a:moveTo>
                    <a:pt x="442" y="108"/>
                  </a:moveTo>
                  <a:cubicBezTo>
                    <a:pt x="407" y="108"/>
                    <a:pt x="407" y="108"/>
                    <a:pt x="407" y="108"/>
                  </a:cubicBezTo>
                  <a:cubicBezTo>
                    <a:pt x="407" y="50"/>
                    <a:pt x="407" y="50"/>
                    <a:pt x="407" y="50"/>
                  </a:cubicBezTo>
                  <a:cubicBezTo>
                    <a:pt x="442" y="50"/>
                    <a:pt x="442" y="50"/>
                    <a:pt x="442" y="50"/>
                  </a:cubicBezTo>
                  <a:lnTo>
                    <a:pt x="442" y="108"/>
                  </a:lnTo>
                  <a:close/>
                  <a:moveTo>
                    <a:pt x="109" y="442"/>
                  </a:moveTo>
                  <a:cubicBezTo>
                    <a:pt x="50" y="442"/>
                    <a:pt x="50" y="442"/>
                    <a:pt x="50" y="442"/>
                  </a:cubicBezTo>
                  <a:cubicBezTo>
                    <a:pt x="50" y="407"/>
                    <a:pt x="50" y="407"/>
                    <a:pt x="50" y="407"/>
                  </a:cubicBezTo>
                  <a:cubicBezTo>
                    <a:pt x="109" y="407"/>
                    <a:pt x="109" y="407"/>
                    <a:pt x="109" y="407"/>
                  </a:cubicBezTo>
                  <a:lnTo>
                    <a:pt x="109" y="442"/>
                  </a:lnTo>
                  <a:close/>
                  <a:moveTo>
                    <a:pt x="407" y="626"/>
                  </a:moveTo>
                  <a:cubicBezTo>
                    <a:pt x="442" y="626"/>
                    <a:pt x="442" y="626"/>
                    <a:pt x="442" y="626"/>
                  </a:cubicBezTo>
                  <a:cubicBezTo>
                    <a:pt x="442" y="685"/>
                    <a:pt x="442" y="685"/>
                    <a:pt x="442" y="685"/>
                  </a:cubicBezTo>
                  <a:cubicBezTo>
                    <a:pt x="407" y="685"/>
                    <a:pt x="407" y="685"/>
                    <a:pt x="407" y="685"/>
                  </a:cubicBezTo>
                  <a:lnTo>
                    <a:pt x="407" y="626"/>
                  </a:lnTo>
                  <a:close/>
                  <a:moveTo>
                    <a:pt x="407" y="741"/>
                  </a:moveTo>
                  <a:cubicBezTo>
                    <a:pt x="442" y="741"/>
                    <a:pt x="442" y="741"/>
                    <a:pt x="442" y="741"/>
                  </a:cubicBezTo>
                  <a:cubicBezTo>
                    <a:pt x="442" y="799"/>
                    <a:pt x="442" y="799"/>
                    <a:pt x="442" y="799"/>
                  </a:cubicBezTo>
                  <a:cubicBezTo>
                    <a:pt x="407" y="799"/>
                    <a:pt x="407" y="799"/>
                    <a:pt x="407" y="799"/>
                  </a:cubicBezTo>
                  <a:lnTo>
                    <a:pt x="407" y="741"/>
                  </a:lnTo>
                  <a:close/>
                  <a:moveTo>
                    <a:pt x="224" y="442"/>
                  </a:moveTo>
                  <a:cubicBezTo>
                    <a:pt x="165" y="442"/>
                    <a:pt x="165" y="442"/>
                    <a:pt x="165" y="442"/>
                  </a:cubicBezTo>
                  <a:cubicBezTo>
                    <a:pt x="165" y="407"/>
                    <a:pt x="165" y="407"/>
                    <a:pt x="165" y="407"/>
                  </a:cubicBezTo>
                  <a:cubicBezTo>
                    <a:pt x="224" y="407"/>
                    <a:pt x="224" y="407"/>
                    <a:pt x="224" y="407"/>
                  </a:cubicBezTo>
                  <a:lnTo>
                    <a:pt x="224" y="442"/>
                  </a:lnTo>
                  <a:close/>
                  <a:moveTo>
                    <a:pt x="339" y="442"/>
                  </a:moveTo>
                  <a:cubicBezTo>
                    <a:pt x="280" y="442"/>
                    <a:pt x="280" y="442"/>
                    <a:pt x="280" y="442"/>
                  </a:cubicBezTo>
                  <a:cubicBezTo>
                    <a:pt x="280" y="407"/>
                    <a:pt x="280" y="407"/>
                    <a:pt x="280" y="407"/>
                  </a:cubicBezTo>
                  <a:cubicBezTo>
                    <a:pt x="339" y="407"/>
                    <a:pt x="339" y="407"/>
                    <a:pt x="339" y="407"/>
                  </a:cubicBezTo>
                  <a:lnTo>
                    <a:pt x="339" y="442"/>
                  </a:lnTo>
                  <a:close/>
                  <a:moveTo>
                    <a:pt x="454" y="442"/>
                  </a:moveTo>
                  <a:cubicBezTo>
                    <a:pt x="396" y="442"/>
                    <a:pt x="396" y="442"/>
                    <a:pt x="396" y="442"/>
                  </a:cubicBezTo>
                  <a:cubicBezTo>
                    <a:pt x="396" y="407"/>
                    <a:pt x="396" y="407"/>
                    <a:pt x="396" y="407"/>
                  </a:cubicBezTo>
                  <a:cubicBezTo>
                    <a:pt x="454" y="407"/>
                    <a:pt x="454" y="407"/>
                    <a:pt x="454" y="407"/>
                  </a:cubicBezTo>
                  <a:lnTo>
                    <a:pt x="454" y="442"/>
                  </a:lnTo>
                  <a:close/>
                  <a:moveTo>
                    <a:pt x="569" y="442"/>
                  </a:moveTo>
                  <a:cubicBezTo>
                    <a:pt x="511" y="442"/>
                    <a:pt x="511" y="442"/>
                    <a:pt x="511" y="442"/>
                  </a:cubicBezTo>
                  <a:cubicBezTo>
                    <a:pt x="511" y="407"/>
                    <a:pt x="511" y="407"/>
                    <a:pt x="511" y="407"/>
                  </a:cubicBezTo>
                  <a:cubicBezTo>
                    <a:pt x="569" y="407"/>
                    <a:pt x="569" y="407"/>
                    <a:pt x="569" y="407"/>
                  </a:cubicBezTo>
                  <a:lnTo>
                    <a:pt x="569" y="442"/>
                  </a:lnTo>
                  <a:close/>
                  <a:moveTo>
                    <a:pt x="684" y="442"/>
                  </a:moveTo>
                  <a:cubicBezTo>
                    <a:pt x="626" y="442"/>
                    <a:pt x="626" y="442"/>
                    <a:pt x="626" y="442"/>
                  </a:cubicBezTo>
                  <a:cubicBezTo>
                    <a:pt x="626" y="407"/>
                    <a:pt x="626" y="407"/>
                    <a:pt x="626" y="407"/>
                  </a:cubicBezTo>
                  <a:cubicBezTo>
                    <a:pt x="684" y="407"/>
                    <a:pt x="684" y="407"/>
                    <a:pt x="684" y="407"/>
                  </a:cubicBezTo>
                  <a:lnTo>
                    <a:pt x="684" y="442"/>
                  </a:lnTo>
                  <a:close/>
                  <a:moveTo>
                    <a:pt x="800" y="442"/>
                  </a:moveTo>
                  <a:cubicBezTo>
                    <a:pt x="741" y="442"/>
                    <a:pt x="741" y="442"/>
                    <a:pt x="741" y="442"/>
                  </a:cubicBezTo>
                  <a:cubicBezTo>
                    <a:pt x="741" y="407"/>
                    <a:pt x="741" y="407"/>
                    <a:pt x="741" y="407"/>
                  </a:cubicBezTo>
                  <a:cubicBezTo>
                    <a:pt x="800" y="407"/>
                    <a:pt x="800" y="407"/>
                    <a:pt x="800" y="407"/>
                  </a:cubicBezTo>
                  <a:lnTo>
                    <a:pt x="800" y="4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599" name="Group 181"/>
          <p:cNvGrpSpPr>
            <a:grpSpLocks/>
          </p:cNvGrpSpPr>
          <p:nvPr/>
        </p:nvGrpSpPr>
        <p:grpSpPr bwMode="auto">
          <a:xfrm>
            <a:off x="1728788" y="4138613"/>
            <a:ext cx="252412" cy="250825"/>
            <a:chOff x="1811427" y="2243772"/>
            <a:chExt cx="365760" cy="365760"/>
          </a:xfrm>
        </p:grpSpPr>
        <p:sp>
          <p:nvSpPr>
            <p:cNvPr id="156" name="Oval 155">
              <a:extLst>
                <a:ext uri="{FF2B5EF4-FFF2-40B4-BE49-F238E27FC236}"/>
              </a:extLst>
            </p:cNvPr>
            <p:cNvSpPr/>
            <p:nvPr/>
          </p:nvSpPr>
          <p:spPr bwMode="ltGray">
            <a:xfrm>
              <a:off x="1811427" y="2243772"/>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65655" name="Group 183"/>
            <p:cNvGrpSpPr>
              <a:grpSpLocks/>
            </p:cNvGrpSpPr>
            <p:nvPr/>
          </p:nvGrpSpPr>
          <p:grpSpPr bwMode="auto">
            <a:xfrm>
              <a:off x="1814307" y="2256272"/>
              <a:ext cx="360000" cy="288000"/>
              <a:chOff x="-1446400" y="518583"/>
              <a:chExt cx="1799938" cy="1729899"/>
            </a:xfrm>
          </p:grpSpPr>
          <p:sp>
            <p:nvSpPr>
              <p:cNvPr id="158" name="Freeform 28">
                <a:extLst>
                  <a:ext uri="{FF2B5EF4-FFF2-40B4-BE49-F238E27FC236}"/>
                </a:extLst>
              </p:cNvPr>
              <p:cNvSpPr>
                <a:spLocks noEditPoints="1"/>
              </p:cNvSpPr>
              <p:nvPr/>
            </p:nvSpPr>
            <p:spPr bwMode="auto">
              <a:xfrm>
                <a:off x="-1449298" y="513021"/>
                <a:ext cx="1805741" cy="1738115"/>
              </a:xfrm>
              <a:custGeom>
                <a:avLst/>
                <a:gdLst>
                  <a:gd name="T0" fmla="*/ 859703720 w 162"/>
                  <a:gd name="T1" fmla="*/ 2147483646 h 171"/>
                  <a:gd name="T2" fmla="*/ 2147483646 w 162"/>
                  <a:gd name="T3" fmla="*/ 2147483646 h 171"/>
                  <a:gd name="T4" fmla="*/ 2147483646 w 162"/>
                  <a:gd name="T5" fmla="*/ 2147483646 h 171"/>
                  <a:gd name="T6" fmla="*/ 859703720 w 162"/>
                  <a:gd name="T7" fmla="*/ 2147483646 h 171"/>
                  <a:gd name="T8" fmla="*/ 859703720 w 162"/>
                  <a:gd name="T9" fmla="*/ 2147483646 h 171"/>
                  <a:gd name="T10" fmla="*/ 2147483646 w 162"/>
                  <a:gd name="T11" fmla="*/ 2147483646 h 171"/>
                  <a:gd name="T12" fmla="*/ 2147483646 w 162"/>
                  <a:gd name="T13" fmla="*/ 2147483646 h 171"/>
                  <a:gd name="T14" fmla="*/ 1468660522 w 162"/>
                  <a:gd name="T15" fmla="*/ 2147483646 h 171"/>
                  <a:gd name="T16" fmla="*/ 1397018545 w 162"/>
                  <a:gd name="T17" fmla="*/ 2147483646 h 171"/>
                  <a:gd name="T18" fmla="*/ 1397018545 w 162"/>
                  <a:gd name="T19" fmla="*/ 2147483646 h 171"/>
                  <a:gd name="T20" fmla="*/ 1468660522 w 162"/>
                  <a:gd name="T21" fmla="*/ 2147483646 h 171"/>
                  <a:gd name="T22" fmla="*/ 2147483646 w 162"/>
                  <a:gd name="T23" fmla="*/ 2147483646 h 171"/>
                  <a:gd name="T24" fmla="*/ 2147483646 w 162"/>
                  <a:gd name="T25" fmla="*/ 2147483646 h 171"/>
                  <a:gd name="T26" fmla="*/ 2147483646 w 162"/>
                  <a:gd name="T27" fmla="*/ 2147483646 h 171"/>
                  <a:gd name="T28" fmla="*/ 1397018545 w 162"/>
                  <a:gd name="T29" fmla="*/ 2147483646 h 171"/>
                  <a:gd name="T30" fmla="*/ 1468660522 w 162"/>
                  <a:gd name="T31" fmla="*/ 2147483646 h 171"/>
                  <a:gd name="T32" fmla="*/ 2147483646 w 162"/>
                  <a:gd name="T33" fmla="*/ 2147483646 h 171"/>
                  <a:gd name="T34" fmla="*/ 2147483646 w 162"/>
                  <a:gd name="T35" fmla="*/ 2147483646 h 171"/>
                  <a:gd name="T36" fmla="*/ 2147483646 w 162"/>
                  <a:gd name="T37" fmla="*/ 2147483646 h 171"/>
                  <a:gd name="T38" fmla="*/ 2147483646 w 162"/>
                  <a:gd name="T39" fmla="*/ 2147483646 h 171"/>
                  <a:gd name="T40" fmla="*/ 1468660522 w 162"/>
                  <a:gd name="T41" fmla="*/ 2147483646 h 171"/>
                  <a:gd name="T42" fmla="*/ 1397018545 w 162"/>
                  <a:gd name="T43" fmla="*/ 2147483646 h 171"/>
                  <a:gd name="T44" fmla="*/ 1397018545 w 162"/>
                  <a:gd name="T45" fmla="*/ 2147483646 h 171"/>
                  <a:gd name="T46" fmla="*/ 1361197557 w 162"/>
                  <a:gd name="T47" fmla="*/ 2147483646 h 171"/>
                  <a:gd name="T48" fmla="*/ 1432839534 w 162"/>
                  <a:gd name="T49" fmla="*/ 2147483646 h 171"/>
                  <a:gd name="T50" fmla="*/ 2147483646 w 162"/>
                  <a:gd name="T51" fmla="*/ 2147483646 h 171"/>
                  <a:gd name="T52" fmla="*/ 2147483646 w 162"/>
                  <a:gd name="T53" fmla="*/ 2147483646 h 171"/>
                  <a:gd name="T54" fmla="*/ 2147483646 w 162"/>
                  <a:gd name="T55" fmla="*/ 2147483646 h 171"/>
                  <a:gd name="T56" fmla="*/ 2147483646 w 162"/>
                  <a:gd name="T57" fmla="*/ 2147483646 h 171"/>
                  <a:gd name="T58" fmla="*/ 1432839534 w 162"/>
                  <a:gd name="T59" fmla="*/ 2147483646 h 171"/>
                  <a:gd name="T60" fmla="*/ 1361197557 w 162"/>
                  <a:gd name="T61" fmla="*/ 2147483646 h 171"/>
                  <a:gd name="T62" fmla="*/ 1361197557 w 162"/>
                  <a:gd name="T63" fmla="*/ 2147483646 h 171"/>
                  <a:gd name="T64" fmla="*/ 2147483646 w 162"/>
                  <a:gd name="T65" fmla="*/ 0 h 171"/>
                  <a:gd name="T66" fmla="*/ 0 w 162"/>
                  <a:gd name="T67" fmla="*/ 2147483646 h 171"/>
                  <a:gd name="T68" fmla="*/ 2147483646 w 162"/>
                  <a:gd name="T69" fmla="*/ 2147483646 h 171"/>
                  <a:gd name="T70" fmla="*/ 2147483646 w 162"/>
                  <a:gd name="T71" fmla="*/ 0 h 171"/>
                  <a:gd name="T72" fmla="*/ 2147483646 w 162"/>
                  <a:gd name="T73" fmla="*/ 1830243258 h 171"/>
                  <a:gd name="T74" fmla="*/ 2147483646 w 162"/>
                  <a:gd name="T75" fmla="*/ 2147483646 h 171"/>
                  <a:gd name="T76" fmla="*/ 2147483646 w 162"/>
                  <a:gd name="T77" fmla="*/ 2147483646 h 171"/>
                  <a:gd name="T78" fmla="*/ 2147483646 w 162"/>
                  <a:gd name="T79" fmla="*/ 1830243258 h 171"/>
                  <a:gd name="T80" fmla="*/ 2113438312 w 162"/>
                  <a:gd name="T81" fmla="*/ 1830243258 h 171"/>
                  <a:gd name="T82" fmla="*/ 2113438312 w 162"/>
                  <a:gd name="T83" fmla="*/ 1405365901 h 171"/>
                  <a:gd name="T84" fmla="*/ 2147483646 w 162"/>
                  <a:gd name="T85" fmla="*/ 1405365901 h 171"/>
                  <a:gd name="T86" fmla="*/ 2147483646 w 162"/>
                  <a:gd name="T87" fmla="*/ 915126687 h 171"/>
                  <a:gd name="T88" fmla="*/ 2147483646 w 162"/>
                  <a:gd name="T89" fmla="*/ 915126687 h 171"/>
                  <a:gd name="T90" fmla="*/ 2147483646 w 162"/>
                  <a:gd name="T91" fmla="*/ 1405365901 h 171"/>
                  <a:gd name="T92" fmla="*/ 2147483646 w 162"/>
                  <a:gd name="T93" fmla="*/ 1405365901 h 171"/>
                  <a:gd name="T94" fmla="*/ 2147483646 w 162"/>
                  <a:gd name="T95" fmla="*/ 1830243258 h 171"/>
                  <a:gd name="T96" fmla="*/ 2147483646 w 162"/>
                  <a:gd name="T97" fmla="*/ 1830243258 h 1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sp>
            <p:nvSpPr>
              <p:cNvPr id="159" name="Rectangle 158">
                <a:extLst>
                  <a:ext uri="{FF2B5EF4-FFF2-40B4-BE49-F238E27FC236}"/>
                </a:extLst>
              </p:cNvPr>
              <p:cNvSpPr/>
              <p:nvPr/>
            </p:nvSpPr>
            <p:spPr>
              <a:xfrm>
                <a:off x="-793708" y="846738"/>
                <a:ext cx="552073" cy="444956"/>
              </a:xfrm>
              <a:prstGeom prst="rect">
                <a:avLst/>
              </a:prstGeom>
              <a:solidFill>
                <a:srgbClr val="FFFFFF"/>
              </a:solidFill>
              <a:ln w="9525" cap="flat" cmpd="sng" algn="ctr">
                <a:solidFill>
                  <a:srgbClr val="FFFFFF"/>
                </a:solidFill>
                <a:prstDash val="solid"/>
              </a:ln>
              <a:effectLst/>
            </p:spPr>
            <p:txBody>
              <a:bodyPr anchor="ctr"/>
              <a:lstStyle>
                <a:lvl1pPr>
                  <a:defRPr sz="1400">
                    <a:solidFill>
                      <a:srgbClr val="000000"/>
                    </a:solidFill>
                    <a:latin typeface="Arial" charset="0"/>
                    <a:ea typeface="Arial" charset="0"/>
                    <a:cs typeface="Arial" charset="0"/>
                    <a:sym typeface="Arial" charset="0"/>
                  </a:defRPr>
                </a:lvl1pPr>
                <a:lvl2pPr marL="742950" indent="-285750">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200" kern="0"/>
              </a:p>
            </p:txBody>
          </p:sp>
          <p:sp>
            <p:nvSpPr>
              <p:cNvPr id="160" name="Moon 159">
                <a:extLst>
                  <a:ext uri="{FF2B5EF4-FFF2-40B4-BE49-F238E27FC236}"/>
                </a:extLst>
              </p:cNvPr>
              <p:cNvSpPr/>
              <p:nvPr/>
            </p:nvSpPr>
            <p:spPr>
              <a:xfrm rot="11572288">
                <a:off x="-655690" y="749408"/>
                <a:ext cx="310537" cy="556195"/>
              </a:xfrm>
              <a:prstGeom prst="moon">
                <a:avLst>
                  <a:gd name="adj" fmla="val 37675"/>
                </a:avLst>
              </a:prstGeom>
              <a:solidFill>
                <a:srgbClr val="FF0000"/>
              </a:solidFill>
              <a:ln w="9525" cap="flat" cmpd="sng" algn="ctr">
                <a:solidFill>
                  <a:srgbClr val="FF0000"/>
                </a:solidFill>
                <a:prstDash val="solid"/>
              </a:ln>
              <a:effectLst/>
            </p:spPr>
            <p:txBody>
              <a:bodyPr anchor="ctr"/>
              <a:lstStyle>
                <a:lvl1pPr>
                  <a:defRPr sz="1400">
                    <a:solidFill>
                      <a:srgbClr val="000000"/>
                    </a:solidFill>
                    <a:latin typeface="Arial" charset="0"/>
                    <a:ea typeface="Arial" charset="0"/>
                    <a:cs typeface="Arial" charset="0"/>
                    <a:sym typeface="Arial" charset="0"/>
                  </a:defRPr>
                </a:lvl1pPr>
                <a:lvl2pPr marL="742950" indent="-285750">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200" kern="0"/>
              </a:p>
            </p:txBody>
          </p:sp>
        </p:grpSp>
      </p:grpSp>
      <p:grpSp>
        <p:nvGrpSpPr>
          <p:cNvPr id="65600" name="Group 187"/>
          <p:cNvGrpSpPr>
            <a:grpSpLocks/>
          </p:cNvGrpSpPr>
          <p:nvPr/>
        </p:nvGrpSpPr>
        <p:grpSpPr bwMode="auto">
          <a:xfrm>
            <a:off x="3132138" y="5211763"/>
            <a:ext cx="268287" cy="266700"/>
            <a:chOff x="3215739" y="4597725"/>
            <a:chExt cx="365760" cy="365760"/>
          </a:xfrm>
        </p:grpSpPr>
        <p:sp>
          <p:nvSpPr>
            <p:cNvPr id="162" name="Oval 161">
              <a:extLst>
                <a:ext uri="{FF2B5EF4-FFF2-40B4-BE49-F238E27FC236}"/>
              </a:extLst>
            </p:cNvPr>
            <p:cNvSpPr/>
            <p:nvPr/>
          </p:nvSpPr>
          <p:spPr bwMode="ltGray">
            <a:xfrm>
              <a:off x="3215739" y="4597725"/>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63" name="Freeform 62">
              <a:extLst>
                <a:ext uri="{FF2B5EF4-FFF2-40B4-BE49-F238E27FC236}"/>
              </a:extLst>
            </p:cNvPr>
            <p:cNvSpPr>
              <a:spLocks noEditPoints="1"/>
            </p:cNvSpPr>
            <p:nvPr/>
          </p:nvSpPr>
          <p:spPr bwMode="auto">
            <a:xfrm>
              <a:off x="3274173" y="4682633"/>
              <a:ext cx="253220" cy="178526"/>
            </a:xfrm>
            <a:custGeom>
              <a:avLst/>
              <a:gdLst>
                <a:gd name="T0" fmla="*/ 783 w 783"/>
                <a:gd name="T1" fmla="*/ 572 h 572"/>
                <a:gd name="T2" fmla="*/ 750 w 783"/>
                <a:gd name="T3" fmla="*/ 539 h 572"/>
                <a:gd name="T4" fmla="*/ 750 w 783"/>
                <a:gd name="T5" fmla="*/ 33 h 572"/>
                <a:gd name="T6" fmla="*/ 674 w 783"/>
                <a:gd name="T7" fmla="*/ 338 h 572"/>
                <a:gd name="T8" fmla="*/ 669 w 783"/>
                <a:gd name="T9" fmla="*/ 364 h 572"/>
                <a:gd name="T10" fmla="*/ 653 w 783"/>
                <a:gd name="T11" fmla="*/ 387 h 572"/>
                <a:gd name="T12" fmla="*/ 639 w 783"/>
                <a:gd name="T13" fmla="*/ 398 h 572"/>
                <a:gd name="T14" fmla="*/ 639 w 783"/>
                <a:gd name="T15" fmla="*/ 507 h 572"/>
                <a:gd name="T16" fmla="*/ 569 w 783"/>
                <a:gd name="T17" fmla="*/ 399 h 572"/>
                <a:gd name="T18" fmla="*/ 569 w 783"/>
                <a:gd name="T19" fmla="*/ 398 h 572"/>
                <a:gd name="T20" fmla="*/ 549 w 783"/>
                <a:gd name="T21" fmla="*/ 380 h 572"/>
                <a:gd name="T22" fmla="*/ 536 w 783"/>
                <a:gd name="T23" fmla="*/ 356 h 572"/>
                <a:gd name="T24" fmla="*/ 534 w 783"/>
                <a:gd name="T25" fmla="*/ 338 h 572"/>
                <a:gd name="T26" fmla="*/ 536 w 783"/>
                <a:gd name="T27" fmla="*/ 316 h 572"/>
                <a:gd name="T28" fmla="*/ 554 w 783"/>
                <a:gd name="T29" fmla="*/ 287 h 572"/>
                <a:gd name="T30" fmla="*/ 583 w 783"/>
                <a:gd name="T31" fmla="*/ 269 h 572"/>
                <a:gd name="T32" fmla="*/ 603 w 783"/>
                <a:gd name="T33" fmla="*/ 267 h 572"/>
                <a:gd name="T34" fmla="*/ 619 w 783"/>
                <a:gd name="T35" fmla="*/ 268 h 572"/>
                <a:gd name="T36" fmla="*/ 644 w 783"/>
                <a:gd name="T37" fmla="*/ 278 h 572"/>
                <a:gd name="T38" fmla="*/ 669 w 783"/>
                <a:gd name="T39" fmla="*/ 310 h 572"/>
                <a:gd name="T40" fmla="*/ 674 w 783"/>
                <a:gd name="T41" fmla="*/ 329 h 572"/>
                <a:gd name="T42" fmla="*/ 87 w 783"/>
                <a:gd name="T43" fmla="*/ 119 h 572"/>
                <a:gd name="T44" fmla="*/ 90 w 783"/>
                <a:gd name="T45" fmla="*/ 112 h 572"/>
                <a:gd name="T46" fmla="*/ 668 w 783"/>
                <a:gd name="T47" fmla="*/ 108 h 572"/>
                <a:gd name="T48" fmla="*/ 676 w 783"/>
                <a:gd name="T49" fmla="*/ 112 h 572"/>
                <a:gd name="T50" fmla="*/ 679 w 783"/>
                <a:gd name="T51" fmla="*/ 119 h 572"/>
                <a:gd name="T52" fmla="*/ 673 w 783"/>
                <a:gd name="T53" fmla="*/ 129 h 572"/>
                <a:gd name="T54" fmla="*/ 98 w 783"/>
                <a:gd name="T55" fmla="*/ 130 h 572"/>
                <a:gd name="T56" fmla="*/ 88 w 783"/>
                <a:gd name="T57" fmla="*/ 123 h 572"/>
                <a:gd name="T58" fmla="*/ 585 w 783"/>
                <a:gd name="T59" fmla="*/ 215 h 572"/>
                <a:gd name="T60" fmla="*/ 146 w 783"/>
                <a:gd name="T61" fmla="*/ 214 h 572"/>
                <a:gd name="T62" fmla="*/ 140 w 783"/>
                <a:gd name="T63" fmla="*/ 203 h 572"/>
                <a:gd name="T64" fmla="*/ 142 w 783"/>
                <a:gd name="T65" fmla="*/ 195 h 572"/>
                <a:gd name="T66" fmla="*/ 585 w 783"/>
                <a:gd name="T67" fmla="*/ 192 h 572"/>
                <a:gd name="T68" fmla="*/ 592 w 783"/>
                <a:gd name="T69" fmla="*/ 195 h 572"/>
                <a:gd name="T70" fmla="*/ 595 w 783"/>
                <a:gd name="T71" fmla="*/ 203 h 572"/>
                <a:gd name="T72" fmla="*/ 588 w 783"/>
                <a:gd name="T73" fmla="*/ 214 h 572"/>
                <a:gd name="T74" fmla="*/ 428 w 783"/>
                <a:gd name="T75" fmla="*/ 343 h 572"/>
                <a:gd name="T76" fmla="*/ 424 w 783"/>
                <a:gd name="T77" fmla="*/ 351 h 572"/>
                <a:gd name="T78" fmla="*/ 169 w 783"/>
                <a:gd name="T79" fmla="*/ 355 h 572"/>
                <a:gd name="T80" fmla="*/ 161 w 783"/>
                <a:gd name="T81" fmla="*/ 351 h 572"/>
                <a:gd name="T82" fmla="*/ 157 w 783"/>
                <a:gd name="T83" fmla="*/ 343 h 572"/>
                <a:gd name="T84" fmla="*/ 164 w 783"/>
                <a:gd name="T85" fmla="*/ 334 h 572"/>
                <a:gd name="T86" fmla="*/ 416 w 783"/>
                <a:gd name="T87" fmla="*/ 333 h 572"/>
                <a:gd name="T88" fmla="*/ 427 w 783"/>
                <a:gd name="T89" fmla="*/ 340 h 572"/>
                <a:gd name="T90" fmla="*/ 428 w 783"/>
                <a:gd name="T91" fmla="*/ 426 h 572"/>
                <a:gd name="T92" fmla="*/ 424 w 783"/>
                <a:gd name="T93" fmla="*/ 434 h 572"/>
                <a:gd name="T94" fmla="*/ 169 w 783"/>
                <a:gd name="T95" fmla="*/ 437 h 572"/>
                <a:gd name="T96" fmla="*/ 161 w 783"/>
                <a:gd name="T97" fmla="*/ 434 h 572"/>
                <a:gd name="T98" fmla="*/ 157 w 783"/>
                <a:gd name="T99" fmla="*/ 426 h 572"/>
                <a:gd name="T100" fmla="*/ 164 w 783"/>
                <a:gd name="T101" fmla="*/ 415 h 572"/>
                <a:gd name="T102" fmla="*/ 416 w 783"/>
                <a:gd name="T103" fmla="*/ 415 h 572"/>
                <a:gd name="T104" fmla="*/ 427 w 783"/>
                <a:gd name="T105" fmla="*/ 42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3" h="572">
                  <a:moveTo>
                    <a:pt x="0" y="0"/>
                  </a:moveTo>
                  <a:lnTo>
                    <a:pt x="0" y="572"/>
                  </a:lnTo>
                  <a:lnTo>
                    <a:pt x="783" y="572"/>
                  </a:lnTo>
                  <a:lnTo>
                    <a:pt x="783" y="0"/>
                  </a:lnTo>
                  <a:lnTo>
                    <a:pt x="0" y="0"/>
                  </a:lnTo>
                  <a:close/>
                  <a:moveTo>
                    <a:pt x="750" y="539"/>
                  </a:moveTo>
                  <a:lnTo>
                    <a:pt x="31" y="539"/>
                  </a:lnTo>
                  <a:lnTo>
                    <a:pt x="31" y="33"/>
                  </a:lnTo>
                  <a:lnTo>
                    <a:pt x="750" y="33"/>
                  </a:lnTo>
                  <a:lnTo>
                    <a:pt x="750" y="539"/>
                  </a:lnTo>
                  <a:close/>
                  <a:moveTo>
                    <a:pt x="674" y="338"/>
                  </a:moveTo>
                  <a:lnTo>
                    <a:pt x="674" y="338"/>
                  </a:lnTo>
                  <a:lnTo>
                    <a:pt x="674" y="347"/>
                  </a:lnTo>
                  <a:lnTo>
                    <a:pt x="672" y="356"/>
                  </a:lnTo>
                  <a:lnTo>
                    <a:pt x="669" y="364"/>
                  </a:lnTo>
                  <a:lnTo>
                    <a:pt x="665" y="372"/>
                  </a:lnTo>
                  <a:lnTo>
                    <a:pt x="659" y="380"/>
                  </a:lnTo>
                  <a:lnTo>
                    <a:pt x="653" y="387"/>
                  </a:lnTo>
                  <a:lnTo>
                    <a:pt x="646" y="393"/>
                  </a:lnTo>
                  <a:lnTo>
                    <a:pt x="639" y="398"/>
                  </a:lnTo>
                  <a:lnTo>
                    <a:pt x="639" y="398"/>
                  </a:lnTo>
                  <a:lnTo>
                    <a:pt x="639" y="399"/>
                  </a:lnTo>
                  <a:lnTo>
                    <a:pt x="639" y="399"/>
                  </a:lnTo>
                  <a:lnTo>
                    <a:pt x="639" y="507"/>
                  </a:lnTo>
                  <a:lnTo>
                    <a:pt x="603" y="459"/>
                  </a:lnTo>
                  <a:lnTo>
                    <a:pt x="569" y="507"/>
                  </a:lnTo>
                  <a:lnTo>
                    <a:pt x="569" y="399"/>
                  </a:lnTo>
                  <a:lnTo>
                    <a:pt x="569" y="399"/>
                  </a:lnTo>
                  <a:lnTo>
                    <a:pt x="569" y="398"/>
                  </a:lnTo>
                  <a:lnTo>
                    <a:pt x="569" y="398"/>
                  </a:lnTo>
                  <a:lnTo>
                    <a:pt x="562" y="393"/>
                  </a:lnTo>
                  <a:lnTo>
                    <a:pt x="555" y="387"/>
                  </a:lnTo>
                  <a:lnTo>
                    <a:pt x="549" y="380"/>
                  </a:lnTo>
                  <a:lnTo>
                    <a:pt x="543" y="372"/>
                  </a:lnTo>
                  <a:lnTo>
                    <a:pt x="539" y="364"/>
                  </a:lnTo>
                  <a:lnTo>
                    <a:pt x="536" y="356"/>
                  </a:lnTo>
                  <a:lnTo>
                    <a:pt x="534" y="347"/>
                  </a:lnTo>
                  <a:lnTo>
                    <a:pt x="534" y="338"/>
                  </a:lnTo>
                  <a:lnTo>
                    <a:pt x="534" y="338"/>
                  </a:lnTo>
                  <a:lnTo>
                    <a:pt x="534" y="329"/>
                  </a:lnTo>
                  <a:lnTo>
                    <a:pt x="535" y="323"/>
                  </a:lnTo>
                  <a:lnTo>
                    <a:pt x="536" y="316"/>
                  </a:lnTo>
                  <a:lnTo>
                    <a:pt x="539" y="310"/>
                  </a:lnTo>
                  <a:lnTo>
                    <a:pt x="546" y="297"/>
                  </a:lnTo>
                  <a:lnTo>
                    <a:pt x="554" y="287"/>
                  </a:lnTo>
                  <a:lnTo>
                    <a:pt x="564" y="278"/>
                  </a:lnTo>
                  <a:lnTo>
                    <a:pt x="577" y="272"/>
                  </a:lnTo>
                  <a:lnTo>
                    <a:pt x="583" y="269"/>
                  </a:lnTo>
                  <a:lnTo>
                    <a:pt x="590" y="268"/>
                  </a:lnTo>
                  <a:lnTo>
                    <a:pt x="597" y="267"/>
                  </a:lnTo>
                  <a:lnTo>
                    <a:pt x="603" y="267"/>
                  </a:lnTo>
                  <a:lnTo>
                    <a:pt x="603" y="267"/>
                  </a:lnTo>
                  <a:lnTo>
                    <a:pt x="612" y="267"/>
                  </a:lnTo>
                  <a:lnTo>
                    <a:pt x="619" y="268"/>
                  </a:lnTo>
                  <a:lnTo>
                    <a:pt x="625" y="269"/>
                  </a:lnTo>
                  <a:lnTo>
                    <a:pt x="631" y="272"/>
                  </a:lnTo>
                  <a:lnTo>
                    <a:pt x="644" y="278"/>
                  </a:lnTo>
                  <a:lnTo>
                    <a:pt x="654" y="287"/>
                  </a:lnTo>
                  <a:lnTo>
                    <a:pt x="662" y="297"/>
                  </a:lnTo>
                  <a:lnTo>
                    <a:pt x="669" y="310"/>
                  </a:lnTo>
                  <a:lnTo>
                    <a:pt x="672" y="316"/>
                  </a:lnTo>
                  <a:lnTo>
                    <a:pt x="673" y="323"/>
                  </a:lnTo>
                  <a:lnTo>
                    <a:pt x="674" y="329"/>
                  </a:lnTo>
                  <a:lnTo>
                    <a:pt x="674" y="338"/>
                  </a:lnTo>
                  <a:lnTo>
                    <a:pt x="674" y="338"/>
                  </a:lnTo>
                  <a:close/>
                  <a:moveTo>
                    <a:pt x="87" y="119"/>
                  </a:moveTo>
                  <a:lnTo>
                    <a:pt x="87" y="119"/>
                  </a:lnTo>
                  <a:lnTo>
                    <a:pt x="88" y="115"/>
                  </a:lnTo>
                  <a:lnTo>
                    <a:pt x="90" y="112"/>
                  </a:lnTo>
                  <a:lnTo>
                    <a:pt x="94" y="109"/>
                  </a:lnTo>
                  <a:lnTo>
                    <a:pt x="98" y="108"/>
                  </a:lnTo>
                  <a:lnTo>
                    <a:pt x="668" y="108"/>
                  </a:lnTo>
                  <a:lnTo>
                    <a:pt x="668" y="108"/>
                  </a:lnTo>
                  <a:lnTo>
                    <a:pt x="673" y="109"/>
                  </a:lnTo>
                  <a:lnTo>
                    <a:pt x="676" y="112"/>
                  </a:lnTo>
                  <a:lnTo>
                    <a:pt x="679" y="115"/>
                  </a:lnTo>
                  <a:lnTo>
                    <a:pt x="679" y="119"/>
                  </a:lnTo>
                  <a:lnTo>
                    <a:pt x="679" y="119"/>
                  </a:lnTo>
                  <a:lnTo>
                    <a:pt x="679" y="123"/>
                  </a:lnTo>
                  <a:lnTo>
                    <a:pt x="676" y="127"/>
                  </a:lnTo>
                  <a:lnTo>
                    <a:pt x="673" y="129"/>
                  </a:lnTo>
                  <a:lnTo>
                    <a:pt x="668" y="130"/>
                  </a:lnTo>
                  <a:lnTo>
                    <a:pt x="98" y="130"/>
                  </a:lnTo>
                  <a:lnTo>
                    <a:pt x="98" y="130"/>
                  </a:lnTo>
                  <a:lnTo>
                    <a:pt x="94" y="129"/>
                  </a:lnTo>
                  <a:lnTo>
                    <a:pt x="90" y="127"/>
                  </a:lnTo>
                  <a:lnTo>
                    <a:pt x="88" y="123"/>
                  </a:lnTo>
                  <a:lnTo>
                    <a:pt x="87" y="119"/>
                  </a:lnTo>
                  <a:lnTo>
                    <a:pt x="87" y="119"/>
                  </a:lnTo>
                  <a:close/>
                  <a:moveTo>
                    <a:pt x="585" y="215"/>
                  </a:moveTo>
                  <a:lnTo>
                    <a:pt x="150" y="215"/>
                  </a:lnTo>
                  <a:lnTo>
                    <a:pt x="150" y="215"/>
                  </a:lnTo>
                  <a:lnTo>
                    <a:pt x="146" y="214"/>
                  </a:lnTo>
                  <a:lnTo>
                    <a:pt x="142" y="211"/>
                  </a:lnTo>
                  <a:lnTo>
                    <a:pt x="140" y="208"/>
                  </a:lnTo>
                  <a:lnTo>
                    <a:pt x="140" y="203"/>
                  </a:lnTo>
                  <a:lnTo>
                    <a:pt x="140" y="203"/>
                  </a:lnTo>
                  <a:lnTo>
                    <a:pt x="140" y="198"/>
                  </a:lnTo>
                  <a:lnTo>
                    <a:pt x="142" y="195"/>
                  </a:lnTo>
                  <a:lnTo>
                    <a:pt x="146" y="193"/>
                  </a:lnTo>
                  <a:lnTo>
                    <a:pt x="150" y="192"/>
                  </a:lnTo>
                  <a:lnTo>
                    <a:pt x="585" y="192"/>
                  </a:lnTo>
                  <a:lnTo>
                    <a:pt x="585" y="192"/>
                  </a:lnTo>
                  <a:lnTo>
                    <a:pt x="588" y="193"/>
                  </a:lnTo>
                  <a:lnTo>
                    <a:pt x="592" y="195"/>
                  </a:lnTo>
                  <a:lnTo>
                    <a:pt x="595" y="198"/>
                  </a:lnTo>
                  <a:lnTo>
                    <a:pt x="595" y="203"/>
                  </a:lnTo>
                  <a:lnTo>
                    <a:pt x="595" y="203"/>
                  </a:lnTo>
                  <a:lnTo>
                    <a:pt x="595" y="208"/>
                  </a:lnTo>
                  <a:lnTo>
                    <a:pt x="592" y="211"/>
                  </a:lnTo>
                  <a:lnTo>
                    <a:pt x="588" y="214"/>
                  </a:lnTo>
                  <a:lnTo>
                    <a:pt x="585" y="215"/>
                  </a:lnTo>
                  <a:lnTo>
                    <a:pt x="585" y="215"/>
                  </a:lnTo>
                  <a:close/>
                  <a:moveTo>
                    <a:pt x="428" y="343"/>
                  </a:moveTo>
                  <a:lnTo>
                    <a:pt x="428" y="343"/>
                  </a:lnTo>
                  <a:lnTo>
                    <a:pt x="427" y="348"/>
                  </a:lnTo>
                  <a:lnTo>
                    <a:pt x="424" y="351"/>
                  </a:lnTo>
                  <a:lnTo>
                    <a:pt x="421" y="354"/>
                  </a:lnTo>
                  <a:lnTo>
                    <a:pt x="416" y="355"/>
                  </a:lnTo>
                  <a:lnTo>
                    <a:pt x="169" y="355"/>
                  </a:lnTo>
                  <a:lnTo>
                    <a:pt x="169" y="355"/>
                  </a:lnTo>
                  <a:lnTo>
                    <a:pt x="164" y="354"/>
                  </a:lnTo>
                  <a:lnTo>
                    <a:pt x="161" y="351"/>
                  </a:lnTo>
                  <a:lnTo>
                    <a:pt x="158" y="348"/>
                  </a:lnTo>
                  <a:lnTo>
                    <a:pt x="157" y="343"/>
                  </a:lnTo>
                  <a:lnTo>
                    <a:pt x="157" y="343"/>
                  </a:lnTo>
                  <a:lnTo>
                    <a:pt x="158" y="340"/>
                  </a:lnTo>
                  <a:lnTo>
                    <a:pt x="161" y="336"/>
                  </a:lnTo>
                  <a:lnTo>
                    <a:pt x="164" y="334"/>
                  </a:lnTo>
                  <a:lnTo>
                    <a:pt x="169" y="333"/>
                  </a:lnTo>
                  <a:lnTo>
                    <a:pt x="416" y="333"/>
                  </a:lnTo>
                  <a:lnTo>
                    <a:pt x="416" y="333"/>
                  </a:lnTo>
                  <a:lnTo>
                    <a:pt x="421" y="334"/>
                  </a:lnTo>
                  <a:lnTo>
                    <a:pt x="424" y="336"/>
                  </a:lnTo>
                  <a:lnTo>
                    <a:pt x="427" y="340"/>
                  </a:lnTo>
                  <a:lnTo>
                    <a:pt x="428" y="343"/>
                  </a:lnTo>
                  <a:lnTo>
                    <a:pt x="428" y="343"/>
                  </a:lnTo>
                  <a:close/>
                  <a:moveTo>
                    <a:pt x="428" y="426"/>
                  </a:moveTo>
                  <a:lnTo>
                    <a:pt x="428" y="426"/>
                  </a:lnTo>
                  <a:lnTo>
                    <a:pt x="427" y="430"/>
                  </a:lnTo>
                  <a:lnTo>
                    <a:pt x="424" y="434"/>
                  </a:lnTo>
                  <a:lnTo>
                    <a:pt x="421" y="436"/>
                  </a:lnTo>
                  <a:lnTo>
                    <a:pt x="416" y="437"/>
                  </a:lnTo>
                  <a:lnTo>
                    <a:pt x="169" y="437"/>
                  </a:lnTo>
                  <a:lnTo>
                    <a:pt x="169" y="437"/>
                  </a:lnTo>
                  <a:lnTo>
                    <a:pt x="164" y="436"/>
                  </a:lnTo>
                  <a:lnTo>
                    <a:pt x="161" y="434"/>
                  </a:lnTo>
                  <a:lnTo>
                    <a:pt x="158" y="430"/>
                  </a:lnTo>
                  <a:lnTo>
                    <a:pt x="157" y="426"/>
                  </a:lnTo>
                  <a:lnTo>
                    <a:pt x="157" y="426"/>
                  </a:lnTo>
                  <a:lnTo>
                    <a:pt x="158" y="422"/>
                  </a:lnTo>
                  <a:lnTo>
                    <a:pt x="161" y="419"/>
                  </a:lnTo>
                  <a:lnTo>
                    <a:pt x="164" y="415"/>
                  </a:lnTo>
                  <a:lnTo>
                    <a:pt x="169" y="415"/>
                  </a:lnTo>
                  <a:lnTo>
                    <a:pt x="416" y="415"/>
                  </a:lnTo>
                  <a:lnTo>
                    <a:pt x="416" y="415"/>
                  </a:lnTo>
                  <a:lnTo>
                    <a:pt x="421" y="415"/>
                  </a:lnTo>
                  <a:lnTo>
                    <a:pt x="424" y="419"/>
                  </a:lnTo>
                  <a:lnTo>
                    <a:pt x="427" y="422"/>
                  </a:lnTo>
                  <a:lnTo>
                    <a:pt x="428" y="426"/>
                  </a:lnTo>
                  <a:lnTo>
                    <a:pt x="428" y="4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nvGrpSpPr>
          <p:cNvPr id="65601" name="Group 190"/>
          <p:cNvGrpSpPr>
            <a:grpSpLocks/>
          </p:cNvGrpSpPr>
          <p:nvPr/>
        </p:nvGrpSpPr>
        <p:grpSpPr bwMode="auto">
          <a:xfrm>
            <a:off x="3132138" y="4156075"/>
            <a:ext cx="268287" cy="266700"/>
            <a:chOff x="3215739" y="1684543"/>
            <a:chExt cx="365760" cy="365760"/>
          </a:xfrm>
        </p:grpSpPr>
        <p:sp>
          <p:nvSpPr>
            <p:cNvPr id="165" name="Oval 164">
              <a:extLst>
                <a:ext uri="{FF2B5EF4-FFF2-40B4-BE49-F238E27FC236}"/>
              </a:extLst>
            </p:cNvPr>
            <p:cNvSpPr/>
            <p:nvPr/>
          </p:nvSpPr>
          <p:spPr bwMode="ltGray">
            <a:xfrm>
              <a:off x="3215739" y="1684543"/>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66" name="Freeform 25">
              <a:extLst>
                <a:ext uri="{FF2B5EF4-FFF2-40B4-BE49-F238E27FC236}"/>
              </a:extLst>
            </p:cNvPr>
            <p:cNvSpPr>
              <a:spLocks noEditPoints="1"/>
            </p:cNvSpPr>
            <p:nvPr/>
          </p:nvSpPr>
          <p:spPr bwMode="auto">
            <a:xfrm>
              <a:off x="3235217" y="1719377"/>
              <a:ext cx="287848" cy="287383"/>
            </a:xfrm>
            <a:custGeom>
              <a:avLst/>
              <a:gdLst>
                <a:gd name="T0" fmla="*/ 759665898 w 177"/>
                <a:gd name="T1" fmla="*/ 5078557 h 183"/>
                <a:gd name="T2" fmla="*/ 733470915 w 177"/>
                <a:gd name="T3" fmla="*/ 30471344 h 183"/>
                <a:gd name="T4" fmla="*/ 681079322 w 177"/>
                <a:gd name="T5" fmla="*/ 233616787 h 183"/>
                <a:gd name="T6" fmla="*/ 560581424 w 177"/>
                <a:gd name="T7" fmla="*/ 172674098 h 183"/>
                <a:gd name="T8" fmla="*/ 581537085 w 177"/>
                <a:gd name="T9" fmla="*/ 208224000 h 183"/>
                <a:gd name="T10" fmla="*/ 172889492 w 177"/>
                <a:gd name="T11" fmla="*/ 644986230 h 183"/>
                <a:gd name="T12" fmla="*/ 162410847 w 177"/>
                <a:gd name="T13" fmla="*/ 711009049 h 183"/>
                <a:gd name="T14" fmla="*/ 26194983 w 177"/>
                <a:gd name="T15" fmla="*/ 878604590 h 183"/>
                <a:gd name="T16" fmla="*/ 0 w 177"/>
                <a:gd name="T17" fmla="*/ 924311607 h 183"/>
                <a:gd name="T18" fmla="*/ 10478644 w 177"/>
                <a:gd name="T19" fmla="*/ 929390164 h 183"/>
                <a:gd name="T20" fmla="*/ 214802441 w 177"/>
                <a:gd name="T21" fmla="*/ 761794623 h 183"/>
                <a:gd name="T22" fmla="*/ 277671051 w 177"/>
                <a:gd name="T23" fmla="*/ 746558951 h 183"/>
                <a:gd name="T24" fmla="*/ 717752949 w 177"/>
                <a:gd name="T25" fmla="*/ 335189508 h 183"/>
                <a:gd name="T26" fmla="*/ 754426576 w 177"/>
                <a:gd name="T27" fmla="*/ 355503738 h 183"/>
                <a:gd name="T28" fmla="*/ 696797288 w 177"/>
                <a:gd name="T29" fmla="*/ 248852459 h 183"/>
                <a:gd name="T30" fmla="*/ 901121085 w 177"/>
                <a:gd name="T31" fmla="*/ 182831213 h 183"/>
                <a:gd name="T32" fmla="*/ 922076746 w 177"/>
                <a:gd name="T33" fmla="*/ 157438426 h 183"/>
                <a:gd name="T34" fmla="*/ 26194983 w 177"/>
                <a:gd name="T35" fmla="*/ 883683148 h 183"/>
                <a:gd name="T36" fmla="*/ 183368136 w 177"/>
                <a:gd name="T37" fmla="*/ 731323279 h 183"/>
                <a:gd name="T38" fmla="*/ 15717966 w 177"/>
                <a:gd name="T39" fmla="*/ 914154492 h 183"/>
                <a:gd name="T40" fmla="*/ 178128814 w 177"/>
                <a:gd name="T41" fmla="*/ 711009049 h 183"/>
                <a:gd name="T42" fmla="*/ 246236746 w 177"/>
                <a:gd name="T43" fmla="*/ 711009049 h 183"/>
                <a:gd name="T44" fmla="*/ 351018305 w 177"/>
                <a:gd name="T45" fmla="*/ 644986230 h 183"/>
                <a:gd name="T46" fmla="*/ 392931254 w 177"/>
                <a:gd name="T47" fmla="*/ 584043541 h 183"/>
                <a:gd name="T48" fmla="*/ 335300339 w 177"/>
                <a:gd name="T49" fmla="*/ 523099279 h 183"/>
                <a:gd name="T50" fmla="*/ 445321220 w 177"/>
                <a:gd name="T51" fmla="*/ 528177836 h 183"/>
                <a:gd name="T52" fmla="*/ 413886915 w 177"/>
                <a:gd name="T53" fmla="*/ 487549377 h 183"/>
                <a:gd name="T54" fmla="*/ 497712814 w 177"/>
                <a:gd name="T55" fmla="*/ 477392262 h 183"/>
                <a:gd name="T56" fmla="*/ 351018305 w 177"/>
                <a:gd name="T57" fmla="*/ 644986230 h 183"/>
                <a:gd name="T58" fmla="*/ 539624136 w 177"/>
                <a:gd name="T59" fmla="*/ 492627934 h 183"/>
                <a:gd name="T60" fmla="*/ 518668475 w 177"/>
                <a:gd name="T61" fmla="*/ 477392262 h 183"/>
                <a:gd name="T62" fmla="*/ 508189831 w 177"/>
                <a:gd name="T63" fmla="*/ 467235148 h 183"/>
                <a:gd name="T64" fmla="*/ 592015729 w 177"/>
                <a:gd name="T65" fmla="*/ 218381115 h 1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7" h="183">
                  <a:moveTo>
                    <a:pt x="176" y="31"/>
                  </a:moveTo>
                  <a:cubicBezTo>
                    <a:pt x="145" y="1"/>
                    <a:pt x="145" y="1"/>
                    <a:pt x="145" y="1"/>
                  </a:cubicBezTo>
                  <a:cubicBezTo>
                    <a:pt x="144" y="0"/>
                    <a:pt x="142" y="0"/>
                    <a:pt x="141" y="2"/>
                  </a:cubicBezTo>
                  <a:cubicBezTo>
                    <a:pt x="140" y="3"/>
                    <a:pt x="140" y="5"/>
                    <a:pt x="140" y="6"/>
                  </a:cubicBezTo>
                  <a:cubicBezTo>
                    <a:pt x="155" y="20"/>
                    <a:pt x="155" y="20"/>
                    <a:pt x="155" y="20"/>
                  </a:cubicBezTo>
                  <a:cubicBezTo>
                    <a:pt x="130" y="46"/>
                    <a:pt x="130" y="46"/>
                    <a:pt x="130" y="46"/>
                  </a:cubicBezTo>
                  <a:cubicBezTo>
                    <a:pt x="112" y="28"/>
                    <a:pt x="112" y="28"/>
                    <a:pt x="112" y="28"/>
                  </a:cubicBezTo>
                  <a:cubicBezTo>
                    <a:pt x="107" y="34"/>
                    <a:pt x="107" y="34"/>
                    <a:pt x="107" y="34"/>
                  </a:cubicBezTo>
                  <a:cubicBezTo>
                    <a:pt x="113" y="40"/>
                    <a:pt x="113" y="40"/>
                    <a:pt x="113" y="40"/>
                  </a:cubicBezTo>
                  <a:cubicBezTo>
                    <a:pt x="112" y="40"/>
                    <a:pt x="112" y="41"/>
                    <a:pt x="111" y="41"/>
                  </a:cubicBezTo>
                  <a:cubicBezTo>
                    <a:pt x="34" y="120"/>
                    <a:pt x="34" y="120"/>
                    <a:pt x="34" y="120"/>
                  </a:cubicBezTo>
                  <a:cubicBezTo>
                    <a:pt x="32" y="123"/>
                    <a:pt x="31" y="125"/>
                    <a:pt x="33" y="127"/>
                  </a:cubicBezTo>
                  <a:cubicBezTo>
                    <a:pt x="38" y="132"/>
                    <a:pt x="38" y="132"/>
                    <a:pt x="38" y="132"/>
                  </a:cubicBezTo>
                  <a:cubicBezTo>
                    <a:pt x="31" y="140"/>
                    <a:pt x="31" y="140"/>
                    <a:pt x="31" y="140"/>
                  </a:cubicBezTo>
                  <a:cubicBezTo>
                    <a:pt x="34" y="143"/>
                    <a:pt x="34" y="143"/>
                    <a:pt x="34" y="143"/>
                  </a:cubicBezTo>
                  <a:cubicBezTo>
                    <a:pt x="5" y="173"/>
                    <a:pt x="5" y="173"/>
                    <a:pt x="5" y="173"/>
                  </a:cubicBezTo>
                  <a:cubicBezTo>
                    <a:pt x="4" y="173"/>
                    <a:pt x="4" y="173"/>
                    <a:pt x="4" y="173"/>
                  </a:cubicBezTo>
                  <a:cubicBezTo>
                    <a:pt x="0" y="182"/>
                    <a:pt x="0" y="182"/>
                    <a:pt x="0" y="182"/>
                  </a:cubicBezTo>
                  <a:cubicBezTo>
                    <a:pt x="1" y="183"/>
                    <a:pt x="1" y="183"/>
                    <a:pt x="1" y="183"/>
                  </a:cubicBezTo>
                  <a:cubicBezTo>
                    <a:pt x="2" y="183"/>
                    <a:pt x="2" y="183"/>
                    <a:pt x="2" y="183"/>
                  </a:cubicBezTo>
                  <a:cubicBezTo>
                    <a:pt x="37" y="146"/>
                    <a:pt x="37" y="146"/>
                    <a:pt x="37" y="146"/>
                  </a:cubicBezTo>
                  <a:cubicBezTo>
                    <a:pt x="41" y="150"/>
                    <a:pt x="41" y="150"/>
                    <a:pt x="41" y="150"/>
                  </a:cubicBezTo>
                  <a:cubicBezTo>
                    <a:pt x="48" y="142"/>
                    <a:pt x="48" y="142"/>
                    <a:pt x="48" y="142"/>
                  </a:cubicBezTo>
                  <a:cubicBezTo>
                    <a:pt x="53" y="147"/>
                    <a:pt x="53" y="147"/>
                    <a:pt x="53" y="147"/>
                  </a:cubicBezTo>
                  <a:cubicBezTo>
                    <a:pt x="55" y="148"/>
                    <a:pt x="58" y="148"/>
                    <a:pt x="60" y="145"/>
                  </a:cubicBezTo>
                  <a:cubicBezTo>
                    <a:pt x="137" y="66"/>
                    <a:pt x="137" y="66"/>
                    <a:pt x="137" y="66"/>
                  </a:cubicBezTo>
                  <a:cubicBezTo>
                    <a:pt x="137" y="66"/>
                    <a:pt x="138" y="65"/>
                    <a:pt x="138" y="65"/>
                  </a:cubicBezTo>
                  <a:cubicBezTo>
                    <a:pt x="144" y="70"/>
                    <a:pt x="144" y="70"/>
                    <a:pt x="144" y="70"/>
                  </a:cubicBezTo>
                  <a:cubicBezTo>
                    <a:pt x="149" y="65"/>
                    <a:pt x="149" y="65"/>
                    <a:pt x="149" y="65"/>
                  </a:cubicBezTo>
                  <a:cubicBezTo>
                    <a:pt x="133" y="49"/>
                    <a:pt x="133" y="49"/>
                    <a:pt x="133" y="49"/>
                  </a:cubicBezTo>
                  <a:cubicBezTo>
                    <a:pt x="158" y="23"/>
                    <a:pt x="158" y="23"/>
                    <a:pt x="158" y="23"/>
                  </a:cubicBezTo>
                  <a:cubicBezTo>
                    <a:pt x="172" y="36"/>
                    <a:pt x="172" y="36"/>
                    <a:pt x="172" y="36"/>
                  </a:cubicBezTo>
                  <a:cubicBezTo>
                    <a:pt x="173" y="37"/>
                    <a:pt x="175" y="37"/>
                    <a:pt x="176" y="36"/>
                  </a:cubicBezTo>
                  <a:cubicBezTo>
                    <a:pt x="177" y="34"/>
                    <a:pt x="177" y="32"/>
                    <a:pt x="176" y="31"/>
                  </a:cubicBezTo>
                  <a:close/>
                  <a:moveTo>
                    <a:pt x="3" y="180"/>
                  </a:moveTo>
                  <a:cubicBezTo>
                    <a:pt x="5" y="174"/>
                    <a:pt x="5" y="174"/>
                    <a:pt x="5" y="174"/>
                  </a:cubicBezTo>
                  <a:cubicBezTo>
                    <a:pt x="6" y="174"/>
                    <a:pt x="6" y="174"/>
                    <a:pt x="6" y="174"/>
                  </a:cubicBezTo>
                  <a:cubicBezTo>
                    <a:pt x="35" y="144"/>
                    <a:pt x="35" y="144"/>
                    <a:pt x="35" y="144"/>
                  </a:cubicBezTo>
                  <a:cubicBezTo>
                    <a:pt x="36" y="145"/>
                    <a:pt x="36" y="145"/>
                    <a:pt x="36" y="145"/>
                  </a:cubicBezTo>
                  <a:lnTo>
                    <a:pt x="3" y="180"/>
                  </a:lnTo>
                  <a:close/>
                  <a:moveTo>
                    <a:pt x="41" y="146"/>
                  </a:moveTo>
                  <a:cubicBezTo>
                    <a:pt x="40" y="145"/>
                    <a:pt x="35" y="141"/>
                    <a:pt x="34" y="140"/>
                  </a:cubicBezTo>
                  <a:cubicBezTo>
                    <a:pt x="34" y="139"/>
                    <a:pt x="37" y="136"/>
                    <a:pt x="40" y="134"/>
                  </a:cubicBezTo>
                  <a:cubicBezTo>
                    <a:pt x="47" y="140"/>
                    <a:pt x="47" y="140"/>
                    <a:pt x="47" y="140"/>
                  </a:cubicBezTo>
                  <a:cubicBezTo>
                    <a:pt x="44" y="143"/>
                    <a:pt x="41" y="146"/>
                    <a:pt x="41" y="146"/>
                  </a:cubicBezTo>
                  <a:close/>
                  <a:moveTo>
                    <a:pt x="67" y="127"/>
                  </a:moveTo>
                  <a:cubicBezTo>
                    <a:pt x="65" y="125"/>
                    <a:pt x="65" y="125"/>
                    <a:pt x="65" y="125"/>
                  </a:cubicBezTo>
                  <a:cubicBezTo>
                    <a:pt x="75" y="115"/>
                    <a:pt x="75" y="115"/>
                    <a:pt x="75" y="115"/>
                  </a:cubicBezTo>
                  <a:cubicBezTo>
                    <a:pt x="63" y="104"/>
                    <a:pt x="63" y="104"/>
                    <a:pt x="63" y="104"/>
                  </a:cubicBezTo>
                  <a:cubicBezTo>
                    <a:pt x="64" y="103"/>
                    <a:pt x="64" y="103"/>
                    <a:pt x="64" y="103"/>
                  </a:cubicBezTo>
                  <a:cubicBezTo>
                    <a:pt x="76" y="114"/>
                    <a:pt x="76" y="114"/>
                    <a:pt x="76" y="114"/>
                  </a:cubicBezTo>
                  <a:cubicBezTo>
                    <a:pt x="85" y="104"/>
                    <a:pt x="85" y="104"/>
                    <a:pt x="85" y="104"/>
                  </a:cubicBezTo>
                  <a:cubicBezTo>
                    <a:pt x="78" y="97"/>
                    <a:pt x="78" y="97"/>
                    <a:pt x="78" y="97"/>
                  </a:cubicBezTo>
                  <a:cubicBezTo>
                    <a:pt x="79" y="96"/>
                    <a:pt x="79" y="96"/>
                    <a:pt x="79" y="96"/>
                  </a:cubicBezTo>
                  <a:cubicBezTo>
                    <a:pt x="86" y="103"/>
                    <a:pt x="86" y="103"/>
                    <a:pt x="86" y="103"/>
                  </a:cubicBezTo>
                  <a:cubicBezTo>
                    <a:pt x="95" y="94"/>
                    <a:pt x="95" y="94"/>
                    <a:pt x="95" y="94"/>
                  </a:cubicBezTo>
                  <a:cubicBezTo>
                    <a:pt x="97" y="96"/>
                    <a:pt x="97" y="96"/>
                    <a:pt x="97" y="96"/>
                  </a:cubicBezTo>
                  <a:lnTo>
                    <a:pt x="67" y="127"/>
                  </a:lnTo>
                  <a:close/>
                  <a:moveTo>
                    <a:pt x="135" y="64"/>
                  </a:moveTo>
                  <a:cubicBezTo>
                    <a:pt x="103" y="97"/>
                    <a:pt x="103" y="97"/>
                    <a:pt x="103" y="97"/>
                  </a:cubicBezTo>
                  <a:cubicBezTo>
                    <a:pt x="99" y="94"/>
                    <a:pt x="99" y="94"/>
                    <a:pt x="99" y="94"/>
                  </a:cubicBezTo>
                  <a:cubicBezTo>
                    <a:pt x="99" y="94"/>
                    <a:pt x="99" y="94"/>
                    <a:pt x="99" y="94"/>
                  </a:cubicBezTo>
                  <a:cubicBezTo>
                    <a:pt x="97" y="92"/>
                    <a:pt x="97" y="92"/>
                    <a:pt x="97" y="92"/>
                  </a:cubicBezTo>
                  <a:cubicBezTo>
                    <a:pt x="97" y="92"/>
                    <a:pt x="97" y="92"/>
                    <a:pt x="97" y="92"/>
                  </a:cubicBezTo>
                  <a:cubicBezTo>
                    <a:pt x="81" y="76"/>
                    <a:pt x="81" y="76"/>
                    <a:pt x="81" y="76"/>
                  </a:cubicBezTo>
                  <a:cubicBezTo>
                    <a:pt x="113" y="43"/>
                    <a:pt x="113" y="43"/>
                    <a:pt x="113" y="43"/>
                  </a:cubicBezTo>
                  <a:lnTo>
                    <a:pt x="13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602" name="Group 193"/>
          <p:cNvGrpSpPr>
            <a:grpSpLocks/>
          </p:cNvGrpSpPr>
          <p:nvPr/>
        </p:nvGrpSpPr>
        <p:grpSpPr bwMode="auto">
          <a:xfrm>
            <a:off x="3116263" y="5910263"/>
            <a:ext cx="268287" cy="266700"/>
            <a:chOff x="3235509" y="4077693"/>
            <a:chExt cx="365760" cy="365760"/>
          </a:xfrm>
        </p:grpSpPr>
        <p:sp>
          <p:nvSpPr>
            <p:cNvPr id="168" name="Oval 167">
              <a:extLst>
                <a:ext uri="{FF2B5EF4-FFF2-40B4-BE49-F238E27FC236}"/>
              </a:extLst>
            </p:cNvPr>
            <p:cNvSpPr/>
            <p:nvPr/>
          </p:nvSpPr>
          <p:spPr bwMode="ltGray">
            <a:xfrm>
              <a:off x="3235509" y="4077693"/>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69" name="Freeform 161">
              <a:extLst>
                <a:ext uri="{FF2B5EF4-FFF2-40B4-BE49-F238E27FC236}"/>
              </a:extLst>
            </p:cNvPr>
            <p:cNvSpPr>
              <a:spLocks noEditPoints="1"/>
            </p:cNvSpPr>
            <p:nvPr/>
          </p:nvSpPr>
          <p:spPr bwMode="auto">
            <a:xfrm>
              <a:off x="3302601" y="4086402"/>
              <a:ext cx="251055" cy="324394"/>
            </a:xfrm>
            <a:custGeom>
              <a:avLst/>
              <a:gdLst>
                <a:gd name="T0" fmla="*/ 165177076 w 706"/>
                <a:gd name="T1" fmla="*/ 57275436 h 893"/>
                <a:gd name="T2" fmla="*/ 66542992 w 706"/>
                <a:gd name="T3" fmla="*/ 144382092 h 893"/>
                <a:gd name="T4" fmla="*/ 57575932 w 706"/>
                <a:gd name="T5" fmla="*/ 145575050 h 893"/>
                <a:gd name="T6" fmla="*/ 1887858 w 706"/>
                <a:gd name="T7" fmla="*/ 115982929 h 893"/>
                <a:gd name="T8" fmla="*/ 0 w 706"/>
                <a:gd name="T9" fmla="*/ 113596287 h 893"/>
                <a:gd name="T10" fmla="*/ 0 w 706"/>
                <a:gd name="T11" fmla="*/ 167053384 h 893"/>
                <a:gd name="T12" fmla="*/ 1887858 w 706"/>
                <a:gd name="T13" fmla="*/ 169678764 h 893"/>
                <a:gd name="T14" fmla="*/ 57575932 w 706"/>
                <a:gd name="T15" fmla="*/ 211680484 h 893"/>
                <a:gd name="T16" fmla="*/ 66542992 w 706"/>
                <a:gd name="T17" fmla="*/ 210487525 h 893"/>
                <a:gd name="T18" fmla="*/ 165177076 w 706"/>
                <a:gd name="T19" fmla="*/ 95697917 h 893"/>
                <a:gd name="T20" fmla="*/ 166593059 w 706"/>
                <a:gd name="T21" fmla="*/ 93311274 h 893"/>
                <a:gd name="T22" fmla="*/ 166593059 w 706"/>
                <a:gd name="T23" fmla="*/ 54889156 h 893"/>
                <a:gd name="T24" fmla="*/ 165177076 w 706"/>
                <a:gd name="T25" fmla="*/ 57275436 h 893"/>
                <a:gd name="T26" fmla="*/ 32563683 w 706"/>
                <a:gd name="T27" fmla="*/ 81378786 h 893"/>
                <a:gd name="T28" fmla="*/ 37518731 w 706"/>
                <a:gd name="T29" fmla="*/ 81378786 h 893"/>
                <a:gd name="T30" fmla="*/ 40114402 w 706"/>
                <a:gd name="T31" fmla="*/ 84242540 h 893"/>
                <a:gd name="T32" fmla="*/ 40114402 w 706"/>
                <a:gd name="T33" fmla="*/ 90686258 h 893"/>
                <a:gd name="T34" fmla="*/ 62531337 w 706"/>
                <a:gd name="T35" fmla="*/ 78992506 h 893"/>
                <a:gd name="T36" fmla="*/ 62531337 w 706"/>
                <a:gd name="T37" fmla="*/ 78992506 h 893"/>
                <a:gd name="T38" fmla="*/ 99342255 w 706"/>
                <a:gd name="T39" fmla="*/ 59662078 h 893"/>
                <a:gd name="T40" fmla="*/ 98870380 w 706"/>
                <a:gd name="T41" fmla="*/ 55843740 h 893"/>
                <a:gd name="T42" fmla="*/ 74329649 w 706"/>
                <a:gd name="T43" fmla="*/ 49400022 h 893"/>
                <a:gd name="T44" fmla="*/ 67958618 w 706"/>
                <a:gd name="T45" fmla="*/ 36751686 h 893"/>
                <a:gd name="T46" fmla="*/ 65834822 w 706"/>
                <a:gd name="T47" fmla="*/ 34842517 h 893"/>
                <a:gd name="T48" fmla="*/ 52384946 w 706"/>
                <a:gd name="T49" fmla="*/ 30069595 h 893"/>
                <a:gd name="T50" fmla="*/ 52148652 w 706"/>
                <a:gd name="T51" fmla="*/ 30069595 h 893"/>
                <a:gd name="T52" fmla="*/ 52148652 w 706"/>
                <a:gd name="T53" fmla="*/ 30069595 h 893"/>
                <a:gd name="T54" fmla="*/ 38698776 w 706"/>
                <a:gd name="T55" fmla="*/ 34842517 h 893"/>
                <a:gd name="T56" fmla="*/ 36339042 w 706"/>
                <a:gd name="T57" fmla="*/ 36751686 h 893"/>
                <a:gd name="T58" fmla="*/ 29732074 w 706"/>
                <a:gd name="T59" fmla="*/ 52979987 h 893"/>
                <a:gd name="T60" fmla="*/ 29732074 w 706"/>
                <a:gd name="T61" fmla="*/ 78753769 h 893"/>
                <a:gd name="T62" fmla="*/ 32563683 w 706"/>
                <a:gd name="T63" fmla="*/ 81378786 h 893"/>
                <a:gd name="T64" fmla="*/ 52148652 w 706"/>
                <a:gd name="T65" fmla="*/ 28160426 h 893"/>
                <a:gd name="T66" fmla="*/ 66070759 w 706"/>
                <a:gd name="T67" fmla="*/ 14080394 h 893"/>
                <a:gd name="T68" fmla="*/ 52148652 w 706"/>
                <a:gd name="T69" fmla="*/ 0 h 893"/>
                <a:gd name="T70" fmla="*/ 38226901 w 706"/>
                <a:gd name="T71" fmla="*/ 14080394 h 893"/>
                <a:gd name="T72" fmla="*/ 52148652 w 706"/>
                <a:gd name="T73" fmla="*/ 28160426 h 8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06" h="893">
                  <a:moveTo>
                    <a:pt x="700" y="240"/>
                  </a:moveTo>
                  <a:cubicBezTo>
                    <a:pt x="282" y="605"/>
                    <a:pt x="282" y="605"/>
                    <a:pt x="282" y="605"/>
                  </a:cubicBezTo>
                  <a:cubicBezTo>
                    <a:pt x="272" y="613"/>
                    <a:pt x="255" y="616"/>
                    <a:pt x="244" y="610"/>
                  </a:cubicBezTo>
                  <a:cubicBezTo>
                    <a:pt x="8" y="486"/>
                    <a:pt x="8" y="486"/>
                    <a:pt x="8" y="486"/>
                  </a:cubicBezTo>
                  <a:cubicBezTo>
                    <a:pt x="3" y="484"/>
                    <a:pt x="0" y="480"/>
                    <a:pt x="0" y="476"/>
                  </a:cubicBezTo>
                  <a:cubicBezTo>
                    <a:pt x="0" y="700"/>
                    <a:pt x="0" y="700"/>
                    <a:pt x="0" y="700"/>
                  </a:cubicBezTo>
                  <a:cubicBezTo>
                    <a:pt x="0" y="704"/>
                    <a:pt x="2" y="708"/>
                    <a:pt x="8" y="711"/>
                  </a:cubicBezTo>
                  <a:cubicBezTo>
                    <a:pt x="244" y="887"/>
                    <a:pt x="244" y="887"/>
                    <a:pt x="244" y="887"/>
                  </a:cubicBezTo>
                  <a:cubicBezTo>
                    <a:pt x="255" y="893"/>
                    <a:pt x="272" y="891"/>
                    <a:pt x="282" y="882"/>
                  </a:cubicBezTo>
                  <a:cubicBezTo>
                    <a:pt x="700" y="401"/>
                    <a:pt x="700" y="401"/>
                    <a:pt x="700" y="401"/>
                  </a:cubicBezTo>
                  <a:cubicBezTo>
                    <a:pt x="703" y="398"/>
                    <a:pt x="705" y="394"/>
                    <a:pt x="706" y="391"/>
                  </a:cubicBezTo>
                  <a:cubicBezTo>
                    <a:pt x="706" y="230"/>
                    <a:pt x="706" y="230"/>
                    <a:pt x="706" y="230"/>
                  </a:cubicBezTo>
                  <a:cubicBezTo>
                    <a:pt x="705" y="233"/>
                    <a:pt x="703" y="237"/>
                    <a:pt x="700" y="240"/>
                  </a:cubicBezTo>
                  <a:close/>
                  <a:moveTo>
                    <a:pt x="138" y="341"/>
                  </a:moveTo>
                  <a:cubicBezTo>
                    <a:pt x="159" y="341"/>
                    <a:pt x="159" y="341"/>
                    <a:pt x="159" y="341"/>
                  </a:cubicBezTo>
                  <a:cubicBezTo>
                    <a:pt x="165" y="341"/>
                    <a:pt x="170" y="347"/>
                    <a:pt x="170" y="353"/>
                  </a:cubicBezTo>
                  <a:cubicBezTo>
                    <a:pt x="170" y="380"/>
                    <a:pt x="170" y="380"/>
                    <a:pt x="170" y="380"/>
                  </a:cubicBezTo>
                  <a:cubicBezTo>
                    <a:pt x="265" y="331"/>
                    <a:pt x="265" y="331"/>
                    <a:pt x="265" y="331"/>
                  </a:cubicBezTo>
                  <a:cubicBezTo>
                    <a:pt x="265" y="331"/>
                    <a:pt x="265" y="331"/>
                    <a:pt x="265" y="331"/>
                  </a:cubicBezTo>
                  <a:cubicBezTo>
                    <a:pt x="421" y="250"/>
                    <a:pt x="421" y="250"/>
                    <a:pt x="421" y="250"/>
                  </a:cubicBezTo>
                  <a:cubicBezTo>
                    <a:pt x="433" y="244"/>
                    <a:pt x="432" y="237"/>
                    <a:pt x="419" y="234"/>
                  </a:cubicBezTo>
                  <a:cubicBezTo>
                    <a:pt x="315" y="207"/>
                    <a:pt x="315" y="207"/>
                    <a:pt x="315" y="207"/>
                  </a:cubicBezTo>
                  <a:cubicBezTo>
                    <a:pt x="312" y="187"/>
                    <a:pt x="303" y="169"/>
                    <a:pt x="288" y="154"/>
                  </a:cubicBezTo>
                  <a:cubicBezTo>
                    <a:pt x="285" y="151"/>
                    <a:pt x="282" y="149"/>
                    <a:pt x="279" y="146"/>
                  </a:cubicBezTo>
                  <a:cubicBezTo>
                    <a:pt x="262" y="133"/>
                    <a:pt x="243" y="126"/>
                    <a:pt x="222" y="126"/>
                  </a:cubicBezTo>
                  <a:cubicBezTo>
                    <a:pt x="221" y="126"/>
                    <a:pt x="221" y="126"/>
                    <a:pt x="221" y="126"/>
                  </a:cubicBezTo>
                  <a:cubicBezTo>
                    <a:pt x="221" y="126"/>
                    <a:pt x="221" y="126"/>
                    <a:pt x="221" y="126"/>
                  </a:cubicBezTo>
                  <a:cubicBezTo>
                    <a:pt x="199" y="126"/>
                    <a:pt x="180" y="133"/>
                    <a:pt x="164" y="146"/>
                  </a:cubicBezTo>
                  <a:cubicBezTo>
                    <a:pt x="160" y="149"/>
                    <a:pt x="157" y="151"/>
                    <a:pt x="154" y="154"/>
                  </a:cubicBezTo>
                  <a:cubicBezTo>
                    <a:pt x="136" y="173"/>
                    <a:pt x="126" y="195"/>
                    <a:pt x="126" y="222"/>
                  </a:cubicBezTo>
                  <a:cubicBezTo>
                    <a:pt x="126" y="330"/>
                    <a:pt x="126" y="330"/>
                    <a:pt x="126" y="330"/>
                  </a:cubicBezTo>
                  <a:cubicBezTo>
                    <a:pt x="126" y="336"/>
                    <a:pt x="131" y="341"/>
                    <a:pt x="138" y="341"/>
                  </a:cubicBezTo>
                  <a:close/>
                  <a:moveTo>
                    <a:pt x="221" y="118"/>
                  </a:moveTo>
                  <a:cubicBezTo>
                    <a:pt x="253" y="118"/>
                    <a:pt x="280" y="92"/>
                    <a:pt x="280" y="59"/>
                  </a:cubicBezTo>
                  <a:cubicBezTo>
                    <a:pt x="280" y="26"/>
                    <a:pt x="253" y="0"/>
                    <a:pt x="221" y="0"/>
                  </a:cubicBezTo>
                  <a:cubicBezTo>
                    <a:pt x="188" y="0"/>
                    <a:pt x="162" y="26"/>
                    <a:pt x="162" y="59"/>
                  </a:cubicBezTo>
                  <a:cubicBezTo>
                    <a:pt x="162" y="92"/>
                    <a:pt x="188" y="118"/>
                    <a:pt x="221"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603" name="Group 196"/>
          <p:cNvGrpSpPr>
            <a:grpSpLocks/>
          </p:cNvGrpSpPr>
          <p:nvPr/>
        </p:nvGrpSpPr>
        <p:grpSpPr bwMode="auto">
          <a:xfrm>
            <a:off x="3132138" y="6254750"/>
            <a:ext cx="268287" cy="268288"/>
            <a:chOff x="3237709" y="5006680"/>
            <a:chExt cx="365760" cy="365760"/>
          </a:xfrm>
        </p:grpSpPr>
        <p:sp>
          <p:nvSpPr>
            <p:cNvPr id="171" name="Oval 170">
              <a:extLst>
                <a:ext uri="{FF2B5EF4-FFF2-40B4-BE49-F238E27FC236}"/>
              </a:extLst>
            </p:cNvPr>
            <p:cNvSpPr/>
            <p:nvPr/>
          </p:nvSpPr>
          <p:spPr bwMode="ltGray">
            <a:xfrm>
              <a:off x="3237709" y="5006680"/>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172" name="Group 171">
              <a:extLst>
                <a:ext uri="{FF2B5EF4-FFF2-40B4-BE49-F238E27FC236}"/>
              </a:extLst>
            </p:cNvPr>
            <p:cNvGrpSpPr/>
            <p:nvPr/>
          </p:nvGrpSpPr>
          <p:grpSpPr>
            <a:xfrm>
              <a:off x="3294589" y="5037284"/>
              <a:ext cx="252000" cy="324000"/>
              <a:chOff x="2522582" y="5685530"/>
              <a:chExt cx="296863" cy="396875"/>
            </a:xfrm>
            <a:solidFill>
              <a:srgbClr val="FFFFFF"/>
            </a:solidFill>
          </p:grpSpPr>
          <p:sp>
            <p:nvSpPr>
              <p:cNvPr id="173" name="Oval 433">
                <a:extLst>
                  <a:ext uri="{FF2B5EF4-FFF2-40B4-BE49-F238E27FC236}"/>
                </a:extLst>
              </p:cNvPr>
              <p:cNvSpPr>
                <a:spLocks noChangeArrowheads="1"/>
              </p:cNvSpPr>
              <p:nvPr/>
            </p:nvSpPr>
            <p:spPr bwMode="auto">
              <a:xfrm>
                <a:off x="2616638" y="5685530"/>
                <a:ext cx="108752" cy="1085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4" name="Line 434">
                <a:extLst>
                  <a:ext uri="{FF2B5EF4-FFF2-40B4-BE49-F238E27FC236}"/>
                </a:extLst>
              </p:cNvPr>
              <p:cNvSpPr>
                <a:spLocks noChangeShapeType="1"/>
              </p:cNvSpPr>
              <p:nvPr/>
            </p:nvSpPr>
            <p:spPr bwMode="auto">
              <a:xfrm>
                <a:off x="2670524" y="5740271"/>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5" name="Line 435">
                <a:extLst>
                  <a:ext uri="{FF2B5EF4-FFF2-40B4-BE49-F238E27FC236}"/>
                </a:extLst>
              </p:cNvPr>
              <p:cNvSpPr>
                <a:spLocks noChangeShapeType="1"/>
              </p:cNvSpPr>
              <p:nvPr/>
            </p:nvSpPr>
            <p:spPr bwMode="auto">
              <a:xfrm>
                <a:off x="2670524" y="5740271"/>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6" name="Freeform 436">
                <a:extLst>
                  <a:ext uri="{FF2B5EF4-FFF2-40B4-BE49-F238E27FC236}"/>
                </a:extLst>
              </p:cNvPr>
              <p:cNvSpPr>
                <a:spLocks/>
              </p:cNvSpPr>
              <p:nvPr/>
            </p:nvSpPr>
            <p:spPr bwMode="auto">
              <a:xfrm>
                <a:off x="2522582" y="5802833"/>
                <a:ext cx="296863" cy="127078"/>
              </a:xfrm>
              <a:custGeom>
                <a:avLst/>
                <a:gdLst>
                  <a:gd name="T0" fmla="*/ 152 w 1303"/>
                  <a:gd name="T1" fmla="*/ 107 h 562"/>
                  <a:gd name="T2" fmla="*/ 93 w 1303"/>
                  <a:gd name="T3" fmla="*/ 107 h 562"/>
                  <a:gd name="T4" fmla="*/ 93 w 1303"/>
                  <a:gd name="T5" fmla="*/ 65 h 562"/>
                  <a:gd name="T6" fmla="*/ 48 w 1303"/>
                  <a:gd name="T7" fmla="*/ 110 h 562"/>
                  <a:gd name="T8" fmla="*/ 20 w 1303"/>
                  <a:gd name="T9" fmla="*/ 84 h 562"/>
                  <a:gd name="T10" fmla="*/ 95 w 1303"/>
                  <a:gd name="T11" fmla="*/ 10 h 562"/>
                  <a:gd name="T12" fmla="*/ 118 w 1303"/>
                  <a:gd name="T13" fmla="*/ 0 h 562"/>
                  <a:gd name="T14" fmla="*/ 152 w 1303"/>
                  <a:gd name="T15" fmla="*/ 0 h 562"/>
                  <a:gd name="T16" fmla="*/ 152 w 1303"/>
                  <a:gd name="T17" fmla="*/ 0 h 562"/>
                  <a:gd name="T18" fmla="*/ 185 w 1303"/>
                  <a:gd name="T19" fmla="*/ 0 h 562"/>
                  <a:gd name="T20" fmla="*/ 208 w 1303"/>
                  <a:gd name="T21" fmla="*/ 10 h 562"/>
                  <a:gd name="T22" fmla="*/ 284 w 1303"/>
                  <a:gd name="T23" fmla="*/ 85 h 562"/>
                  <a:gd name="T24" fmla="*/ 256 w 1303"/>
                  <a:gd name="T25" fmla="*/ 111 h 562"/>
                  <a:gd name="T26" fmla="*/ 210 w 1303"/>
                  <a:gd name="T27" fmla="*/ 65 h 562"/>
                  <a:gd name="T28" fmla="*/ 210 w 1303"/>
                  <a:gd name="T29" fmla="*/ 107 h 562"/>
                  <a:gd name="T30" fmla="*/ 152 w 1303"/>
                  <a:gd name="T31" fmla="*/ 107 h 5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03" h="562">
                    <a:moveTo>
                      <a:pt x="652" y="463"/>
                    </a:moveTo>
                    <a:cubicBezTo>
                      <a:pt x="399" y="463"/>
                      <a:pt x="399" y="463"/>
                      <a:pt x="399" y="463"/>
                    </a:cubicBezTo>
                    <a:cubicBezTo>
                      <a:pt x="399" y="280"/>
                      <a:pt x="399" y="280"/>
                      <a:pt x="399" y="280"/>
                    </a:cubicBezTo>
                    <a:cubicBezTo>
                      <a:pt x="206" y="475"/>
                      <a:pt x="206" y="475"/>
                      <a:pt x="206" y="475"/>
                    </a:cubicBezTo>
                    <a:cubicBezTo>
                      <a:pt x="118" y="562"/>
                      <a:pt x="0" y="450"/>
                      <a:pt x="87" y="362"/>
                    </a:cubicBezTo>
                    <a:cubicBezTo>
                      <a:pt x="408" y="42"/>
                      <a:pt x="408" y="42"/>
                      <a:pt x="408" y="42"/>
                    </a:cubicBezTo>
                    <a:cubicBezTo>
                      <a:pt x="433" y="16"/>
                      <a:pt x="462" y="0"/>
                      <a:pt x="507" y="0"/>
                    </a:cubicBezTo>
                    <a:cubicBezTo>
                      <a:pt x="652" y="0"/>
                      <a:pt x="652" y="0"/>
                      <a:pt x="652" y="0"/>
                    </a:cubicBezTo>
                    <a:cubicBezTo>
                      <a:pt x="652" y="0"/>
                      <a:pt x="652" y="0"/>
                      <a:pt x="652" y="0"/>
                    </a:cubicBezTo>
                    <a:cubicBezTo>
                      <a:pt x="794" y="0"/>
                      <a:pt x="794" y="0"/>
                      <a:pt x="794" y="0"/>
                    </a:cubicBezTo>
                    <a:cubicBezTo>
                      <a:pt x="839" y="0"/>
                      <a:pt x="870" y="16"/>
                      <a:pt x="896" y="42"/>
                    </a:cubicBezTo>
                    <a:cubicBezTo>
                      <a:pt x="1220" y="366"/>
                      <a:pt x="1220" y="366"/>
                      <a:pt x="1220" y="366"/>
                    </a:cubicBezTo>
                    <a:cubicBezTo>
                      <a:pt x="1303" y="449"/>
                      <a:pt x="1181" y="562"/>
                      <a:pt x="1101" y="478"/>
                    </a:cubicBezTo>
                    <a:cubicBezTo>
                      <a:pt x="903" y="279"/>
                      <a:pt x="903" y="279"/>
                      <a:pt x="903" y="279"/>
                    </a:cubicBezTo>
                    <a:cubicBezTo>
                      <a:pt x="903" y="463"/>
                      <a:pt x="903" y="463"/>
                      <a:pt x="903" y="463"/>
                    </a:cubicBezTo>
                    <a:cubicBezTo>
                      <a:pt x="652" y="463"/>
                      <a:pt x="652" y="463"/>
                      <a:pt x="652" y="4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7" name="Freeform 437">
                <a:extLst>
                  <a:ext uri="{FF2B5EF4-FFF2-40B4-BE49-F238E27FC236}"/>
                </a:extLst>
              </p:cNvPr>
              <p:cNvSpPr>
                <a:spLocks/>
              </p:cNvSpPr>
              <p:nvPr/>
            </p:nvSpPr>
            <p:spPr bwMode="auto">
              <a:xfrm>
                <a:off x="2664645" y="5928934"/>
                <a:ext cx="111691" cy="153471"/>
              </a:xfrm>
              <a:custGeom>
                <a:avLst/>
                <a:gdLst>
                  <a:gd name="T0" fmla="*/ 64 w 492"/>
                  <a:gd name="T1" fmla="*/ 0 h 677"/>
                  <a:gd name="T2" fmla="*/ 20 w 492"/>
                  <a:gd name="T3" fmla="*/ 44 h 677"/>
                  <a:gd name="T4" fmla="*/ 53 w 492"/>
                  <a:gd name="T5" fmla="*/ 76 h 677"/>
                  <a:gd name="T6" fmla="*/ 20 w 492"/>
                  <a:gd name="T7" fmla="*/ 109 h 677"/>
                  <a:gd name="T8" fmla="*/ 47 w 492"/>
                  <a:gd name="T9" fmla="*/ 137 h 677"/>
                  <a:gd name="T10" fmla="*/ 100 w 492"/>
                  <a:gd name="T11" fmla="*/ 82 h 677"/>
                  <a:gd name="T12" fmla="*/ 102 w 492"/>
                  <a:gd name="T13" fmla="*/ 38 h 677"/>
                  <a:gd name="T14" fmla="*/ 64 w 492"/>
                  <a:gd name="T15" fmla="*/ 0 h 6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677">
                    <a:moveTo>
                      <a:pt x="278" y="0"/>
                    </a:moveTo>
                    <a:cubicBezTo>
                      <a:pt x="88" y="190"/>
                      <a:pt x="88" y="190"/>
                      <a:pt x="88" y="190"/>
                    </a:cubicBezTo>
                    <a:cubicBezTo>
                      <a:pt x="227" y="329"/>
                      <a:pt x="227" y="329"/>
                      <a:pt x="227" y="329"/>
                    </a:cubicBezTo>
                    <a:cubicBezTo>
                      <a:pt x="85" y="472"/>
                      <a:pt x="85" y="472"/>
                      <a:pt x="85" y="472"/>
                    </a:cubicBezTo>
                    <a:cubicBezTo>
                      <a:pt x="0" y="557"/>
                      <a:pt x="117" y="677"/>
                      <a:pt x="204" y="590"/>
                    </a:cubicBezTo>
                    <a:cubicBezTo>
                      <a:pt x="430" y="355"/>
                      <a:pt x="430" y="355"/>
                      <a:pt x="430" y="355"/>
                    </a:cubicBezTo>
                    <a:cubicBezTo>
                      <a:pt x="478" y="306"/>
                      <a:pt x="492" y="214"/>
                      <a:pt x="440" y="162"/>
                    </a:cubicBezTo>
                    <a:cubicBezTo>
                      <a:pt x="440" y="162"/>
                      <a:pt x="278" y="0"/>
                      <a:pt x="2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8" name="Freeform 438">
                <a:extLst>
                  <a:ext uri="{FF2B5EF4-FFF2-40B4-BE49-F238E27FC236}"/>
                </a:extLst>
              </p:cNvPr>
              <p:cNvSpPr>
                <a:spLocks/>
              </p:cNvSpPr>
              <p:nvPr/>
            </p:nvSpPr>
            <p:spPr bwMode="auto">
              <a:xfrm>
                <a:off x="2564711" y="5928934"/>
                <a:ext cx="111691" cy="153471"/>
              </a:xfrm>
              <a:custGeom>
                <a:avLst/>
                <a:gdLst>
                  <a:gd name="T0" fmla="*/ 50 w 492"/>
                  <a:gd name="T1" fmla="*/ 0 h 677"/>
                  <a:gd name="T2" fmla="*/ 94 w 492"/>
                  <a:gd name="T3" fmla="*/ 44 h 677"/>
                  <a:gd name="T4" fmla="*/ 61 w 492"/>
                  <a:gd name="T5" fmla="*/ 76 h 677"/>
                  <a:gd name="T6" fmla="*/ 94 w 492"/>
                  <a:gd name="T7" fmla="*/ 109 h 677"/>
                  <a:gd name="T8" fmla="*/ 67 w 492"/>
                  <a:gd name="T9" fmla="*/ 137 h 677"/>
                  <a:gd name="T10" fmla="*/ 14 w 492"/>
                  <a:gd name="T11" fmla="*/ 82 h 677"/>
                  <a:gd name="T12" fmla="*/ 12 w 492"/>
                  <a:gd name="T13" fmla="*/ 38 h 677"/>
                  <a:gd name="T14" fmla="*/ 50 w 492"/>
                  <a:gd name="T15" fmla="*/ 0 h 6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677">
                    <a:moveTo>
                      <a:pt x="214" y="0"/>
                    </a:moveTo>
                    <a:cubicBezTo>
                      <a:pt x="404" y="190"/>
                      <a:pt x="404" y="190"/>
                      <a:pt x="404" y="190"/>
                    </a:cubicBezTo>
                    <a:cubicBezTo>
                      <a:pt x="265" y="329"/>
                      <a:pt x="265" y="329"/>
                      <a:pt x="265" y="329"/>
                    </a:cubicBezTo>
                    <a:cubicBezTo>
                      <a:pt x="407" y="472"/>
                      <a:pt x="407" y="472"/>
                      <a:pt x="407" y="472"/>
                    </a:cubicBezTo>
                    <a:cubicBezTo>
                      <a:pt x="492" y="557"/>
                      <a:pt x="375" y="677"/>
                      <a:pt x="288" y="590"/>
                    </a:cubicBezTo>
                    <a:cubicBezTo>
                      <a:pt x="62" y="355"/>
                      <a:pt x="62" y="355"/>
                      <a:pt x="62" y="355"/>
                    </a:cubicBezTo>
                    <a:cubicBezTo>
                      <a:pt x="14" y="306"/>
                      <a:pt x="0" y="214"/>
                      <a:pt x="52" y="162"/>
                    </a:cubicBezTo>
                    <a:cubicBezTo>
                      <a:pt x="52" y="162"/>
                      <a:pt x="214"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grpSp>
      </p:grpSp>
      <p:grpSp>
        <p:nvGrpSpPr>
          <p:cNvPr id="65604" name="Group 205"/>
          <p:cNvGrpSpPr>
            <a:grpSpLocks/>
          </p:cNvGrpSpPr>
          <p:nvPr/>
        </p:nvGrpSpPr>
        <p:grpSpPr bwMode="auto">
          <a:xfrm>
            <a:off x="3132138" y="4503738"/>
            <a:ext cx="268287" cy="268287"/>
            <a:chOff x="3215739" y="2355509"/>
            <a:chExt cx="365760" cy="365760"/>
          </a:xfrm>
        </p:grpSpPr>
        <p:sp>
          <p:nvSpPr>
            <p:cNvPr id="180" name="Oval 179">
              <a:extLst>
                <a:ext uri="{FF2B5EF4-FFF2-40B4-BE49-F238E27FC236}"/>
              </a:extLst>
            </p:cNvPr>
            <p:cNvSpPr/>
            <p:nvPr/>
          </p:nvSpPr>
          <p:spPr bwMode="ltGray">
            <a:xfrm>
              <a:off x="3215739" y="2355509"/>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181" name="Group 180">
              <a:extLst>
                <a:ext uri="{FF2B5EF4-FFF2-40B4-BE49-F238E27FC236}"/>
              </a:extLst>
            </p:cNvPr>
            <p:cNvGrpSpPr/>
            <p:nvPr/>
          </p:nvGrpSpPr>
          <p:grpSpPr>
            <a:xfrm>
              <a:off x="3250367" y="2388708"/>
              <a:ext cx="288000" cy="288000"/>
              <a:chOff x="1425123" y="5491855"/>
              <a:chExt cx="704850" cy="652462"/>
            </a:xfrm>
            <a:solidFill>
              <a:srgbClr val="FFFFFF"/>
            </a:solidFill>
          </p:grpSpPr>
          <p:sp>
            <p:nvSpPr>
              <p:cNvPr id="182" name="Rectangle 421">
                <a:extLst>
                  <a:ext uri="{FF2B5EF4-FFF2-40B4-BE49-F238E27FC236}"/>
                </a:extLst>
              </p:cNvPr>
              <p:cNvSpPr>
                <a:spLocks noChangeArrowheads="1"/>
              </p:cNvSpPr>
              <p:nvPr/>
            </p:nvSpPr>
            <p:spPr bwMode="auto">
              <a:xfrm>
                <a:off x="1768257" y="5496817"/>
                <a:ext cx="59460" cy="6350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3" name="Line 422">
                <a:extLst>
                  <a:ext uri="{FF2B5EF4-FFF2-40B4-BE49-F238E27FC236}"/>
                </a:extLst>
              </p:cNvPr>
              <p:cNvSpPr>
                <a:spLocks noChangeShapeType="1"/>
              </p:cNvSpPr>
              <p:nvPr/>
            </p:nvSpPr>
            <p:spPr bwMode="auto">
              <a:xfrm>
                <a:off x="1797987" y="581436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4" name="Line 423">
                <a:extLst>
                  <a:ext uri="{FF2B5EF4-FFF2-40B4-BE49-F238E27FC236}"/>
                </a:extLst>
              </p:cNvPr>
              <p:cNvSpPr>
                <a:spLocks noChangeShapeType="1"/>
              </p:cNvSpPr>
              <p:nvPr/>
            </p:nvSpPr>
            <p:spPr bwMode="auto">
              <a:xfrm>
                <a:off x="1797987" y="581436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5" name="Oval 424">
                <a:extLst>
                  <a:ext uri="{FF2B5EF4-FFF2-40B4-BE49-F238E27FC236}"/>
                </a:extLst>
              </p:cNvPr>
              <p:cNvSpPr>
                <a:spLocks noChangeArrowheads="1"/>
              </p:cNvSpPr>
              <p:nvPr/>
            </p:nvSpPr>
            <p:spPr bwMode="auto">
              <a:xfrm>
                <a:off x="1527939" y="5491855"/>
                <a:ext cx="104055" cy="1041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6" name="Line 425">
                <a:extLst>
                  <a:ext uri="{FF2B5EF4-FFF2-40B4-BE49-F238E27FC236}"/>
                </a:extLst>
              </p:cNvPr>
              <p:cNvSpPr>
                <a:spLocks noChangeShapeType="1"/>
              </p:cNvSpPr>
              <p:nvPr/>
            </p:nvSpPr>
            <p:spPr bwMode="auto">
              <a:xfrm>
                <a:off x="157996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7" name="Line 426">
                <a:extLst>
                  <a:ext uri="{FF2B5EF4-FFF2-40B4-BE49-F238E27FC236}"/>
                </a:extLst>
              </p:cNvPr>
              <p:cNvSpPr>
                <a:spLocks noChangeShapeType="1"/>
              </p:cNvSpPr>
              <p:nvPr/>
            </p:nvSpPr>
            <p:spPr bwMode="auto">
              <a:xfrm>
                <a:off x="157996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8" name="Freeform 427">
                <a:extLst>
                  <a:ext uri="{FF2B5EF4-FFF2-40B4-BE49-F238E27FC236}"/>
                </a:extLst>
              </p:cNvPr>
              <p:cNvSpPr>
                <a:spLocks/>
              </p:cNvSpPr>
              <p:nvPr/>
            </p:nvSpPr>
            <p:spPr bwMode="auto">
              <a:xfrm>
                <a:off x="1425123" y="5610936"/>
                <a:ext cx="309688" cy="532141"/>
              </a:xfrm>
              <a:custGeom>
                <a:avLst/>
                <a:gdLst>
                  <a:gd name="T0" fmla="*/ 119 w 771"/>
                  <a:gd name="T1" fmla="*/ 255 h 1320"/>
                  <a:gd name="T2" fmla="*/ 119 w 771"/>
                  <a:gd name="T3" fmla="*/ 403 h 1320"/>
                  <a:gd name="T4" fmla="*/ 79 w 771"/>
                  <a:gd name="T5" fmla="*/ 403 h 1320"/>
                  <a:gd name="T6" fmla="*/ 79 w 771"/>
                  <a:gd name="T7" fmla="*/ 255 h 1320"/>
                  <a:gd name="T8" fmla="*/ 27 w 771"/>
                  <a:gd name="T9" fmla="*/ 255 h 1320"/>
                  <a:gd name="T10" fmla="*/ 83 w 771"/>
                  <a:gd name="T11" fmla="*/ 60 h 1320"/>
                  <a:gd name="T12" fmla="*/ 74 w 771"/>
                  <a:gd name="T13" fmla="*/ 60 h 1320"/>
                  <a:gd name="T14" fmla="*/ 41 w 771"/>
                  <a:gd name="T15" fmla="*/ 171 h 1320"/>
                  <a:gd name="T16" fmla="*/ 7 w 771"/>
                  <a:gd name="T17" fmla="*/ 160 h 1320"/>
                  <a:gd name="T18" fmla="*/ 44 w 771"/>
                  <a:gd name="T19" fmla="*/ 38 h 1320"/>
                  <a:gd name="T20" fmla="*/ 96 w 771"/>
                  <a:gd name="T21" fmla="*/ 0 h 1320"/>
                  <a:gd name="T22" fmla="*/ 124 w 771"/>
                  <a:gd name="T23" fmla="*/ 0 h 1320"/>
                  <a:gd name="T24" fmla="*/ 124 w 771"/>
                  <a:gd name="T25" fmla="*/ 0 h 1320"/>
                  <a:gd name="T26" fmla="*/ 154 w 771"/>
                  <a:gd name="T27" fmla="*/ 0 h 1320"/>
                  <a:gd name="T28" fmla="*/ 206 w 771"/>
                  <a:gd name="T29" fmla="*/ 38 h 1320"/>
                  <a:gd name="T30" fmla="*/ 243 w 771"/>
                  <a:gd name="T31" fmla="*/ 160 h 1320"/>
                  <a:gd name="T32" fmla="*/ 209 w 771"/>
                  <a:gd name="T33" fmla="*/ 171 h 1320"/>
                  <a:gd name="T34" fmla="*/ 176 w 771"/>
                  <a:gd name="T35" fmla="*/ 60 h 1320"/>
                  <a:gd name="T36" fmla="*/ 166 w 771"/>
                  <a:gd name="T37" fmla="*/ 60 h 1320"/>
                  <a:gd name="T38" fmla="*/ 223 w 771"/>
                  <a:gd name="T39" fmla="*/ 255 h 1320"/>
                  <a:gd name="T40" fmla="*/ 170 w 771"/>
                  <a:gd name="T41" fmla="*/ 255 h 1320"/>
                  <a:gd name="T42" fmla="*/ 170 w 771"/>
                  <a:gd name="T43" fmla="*/ 403 h 1320"/>
                  <a:gd name="T44" fmla="*/ 131 w 771"/>
                  <a:gd name="T45" fmla="*/ 403 h 1320"/>
                  <a:gd name="T46" fmla="*/ 131 w 771"/>
                  <a:gd name="T47" fmla="*/ 255 h 1320"/>
                  <a:gd name="T48" fmla="*/ 119 w 771"/>
                  <a:gd name="T49" fmla="*/ 255 h 132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71" h="1320">
                    <a:moveTo>
                      <a:pt x="367" y="785"/>
                    </a:moveTo>
                    <a:cubicBezTo>
                      <a:pt x="367" y="1239"/>
                      <a:pt x="367" y="1239"/>
                      <a:pt x="367" y="1239"/>
                    </a:cubicBezTo>
                    <a:cubicBezTo>
                      <a:pt x="367" y="1320"/>
                      <a:pt x="245" y="1320"/>
                      <a:pt x="245" y="1239"/>
                    </a:cubicBezTo>
                    <a:cubicBezTo>
                      <a:pt x="245" y="785"/>
                      <a:pt x="245" y="785"/>
                      <a:pt x="245" y="785"/>
                    </a:cubicBezTo>
                    <a:cubicBezTo>
                      <a:pt x="83" y="785"/>
                      <a:pt x="83" y="785"/>
                      <a:pt x="83" y="785"/>
                    </a:cubicBezTo>
                    <a:cubicBezTo>
                      <a:pt x="256" y="184"/>
                      <a:pt x="256" y="184"/>
                      <a:pt x="256" y="184"/>
                    </a:cubicBezTo>
                    <a:cubicBezTo>
                      <a:pt x="229" y="184"/>
                      <a:pt x="229" y="184"/>
                      <a:pt x="229" y="184"/>
                    </a:cubicBezTo>
                    <a:cubicBezTo>
                      <a:pt x="127" y="527"/>
                      <a:pt x="127" y="527"/>
                      <a:pt x="127" y="527"/>
                    </a:cubicBezTo>
                    <a:cubicBezTo>
                      <a:pt x="103" y="602"/>
                      <a:pt x="0" y="571"/>
                      <a:pt x="23" y="491"/>
                    </a:cubicBezTo>
                    <a:cubicBezTo>
                      <a:pt x="137" y="118"/>
                      <a:pt x="137" y="118"/>
                      <a:pt x="137" y="118"/>
                    </a:cubicBezTo>
                    <a:cubicBezTo>
                      <a:pt x="149" y="75"/>
                      <a:pt x="203" y="0"/>
                      <a:pt x="296" y="0"/>
                    </a:cubicBezTo>
                    <a:cubicBezTo>
                      <a:pt x="382" y="0"/>
                      <a:pt x="382" y="0"/>
                      <a:pt x="382" y="0"/>
                    </a:cubicBezTo>
                    <a:cubicBezTo>
                      <a:pt x="382" y="0"/>
                      <a:pt x="382" y="0"/>
                      <a:pt x="382" y="0"/>
                    </a:cubicBezTo>
                    <a:cubicBezTo>
                      <a:pt x="474" y="0"/>
                      <a:pt x="474" y="0"/>
                      <a:pt x="474" y="0"/>
                    </a:cubicBezTo>
                    <a:cubicBezTo>
                      <a:pt x="567" y="0"/>
                      <a:pt x="621" y="76"/>
                      <a:pt x="635" y="118"/>
                    </a:cubicBezTo>
                    <a:cubicBezTo>
                      <a:pt x="748" y="491"/>
                      <a:pt x="748" y="491"/>
                      <a:pt x="748" y="491"/>
                    </a:cubicBezTo>
                    <a:cubicBezTo>
                      <a:pt x="771" y="571"/>
                      <a:pt x="669" y="604"/>
                      <a:pt x="644" y="526"/>
                    </a:cubicBezTo>
                    <a:cubicBezTo>
                      <a:pt x="542" y="184"/>
                      <a:pt x="542" y="184"/>
                      <a:pt x="542" y="184"/>
                    </a:cubicBezTo>
                    <a:cubicBezTo>
                      <a:pt x="513" y="184"/>
                      <a:pt x="513" y="184"/>
                      <a:pt x="513" y="184"/>
                    </a:cubicBezTo>
                    <a:cubicBezTo>
                      <a:pt x="688" y="785"/>
                      <a:pt x="688" y="785"/>
                      <a:pt x="688" y="785"/>
                    </a:cubicBezTo>
                    <a:cubicBezTo>
                      <a:pt x="525" y="785"/>
                      <a:pt x="525" y="785"/>
                      <a:pt x="525" y="785"/>
                    </a:cubicBezTo>
                    <a:cubicBezTo>
                      <a:pt x="525" y="1239"/>
                      <a:pt x="525" y="1239"/>
                      <a:pt x="525" y="1239"/>
                    </a:cubicBezTo>
                    <a:cubicBezTo>
                      <a:pt x="525" y="1320"/>
                      <a:pt x="404" y="1320"/>
                      <a:pt x="404" y="1239"/>
                    </a:cubicBezTo>
                    <a:cubicBezTo>
                      <a:pt x="404" y="785"/>
                      <a:pt x="404" y="785"/>
                      <a:pt x="404" y="785"/>
                    </a:cubicBezTo>
                    <a:lnTo>
                      <a:pt x="367" y="7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9" name="Freeform 428">
                <a:extLst>
                  <a:ext uri="{FF2B5EF4-FFF2-40B4-BE49-F238E27FC236}"/>
                </a:extLst>
              </p:cNvPr>
              <p:cNvSpPr>
                <a:spLocks/>
              </p:cNvSpPr>
              <p:nvPr/>
            </p:nvSpPr>
            <p:spPr bwMode="auto">
              <a:xfrm>
                <a:off x="1887178" y="5610936"/>
                <a:ext cx="242795" cy="533381"/>
              </a:xfrm>
              <a:custGeom>
                <a:avLst/>
                <a:gdLst>
                  <a:gd name="T0" fmla="*/ 54 w 604"/>
                  <a:gd name="T1" fmla="*/ 0 h 1325"/>
                  <a:gd name="T2" fmla="*/ 0 w 604"/>
                  <a:gd name="T3" fmla="*/ 55 h 1325"/>
                  <a:gd name="T4" fmla="*/ 0 w 604"/>
                  <a:gd name="T5" fmla="*/ 185 h 1325"/>
                  <a:gd name="T6" fmla="*/ 37 w 604"/>
                  <a:gd name="T7" fmla="*/ 185 h 1325"/>
                  <a:gd name="T8" fmla="*/ 37 w 604"/>
                  <a:gd name="T9" fmla="*/ 66 h 1325"/>
                  <a:gd name="T10" fmla="*/ 45 w 604"/>
                  <a:gd name="T11" fmla="*/ 66 h 1325"/>
                  <a:gd name="T12" fmla="*/ 45 w 604"/>
                  <a:gd name="T13" fmla="*/ 396 h 1325"/>
                  <a:gd name="T14" fmla="*/ 94 w 604"/>
                  <a:gd name="T15" fmla="*/ 396 h 1325"/>
                  <a:gd name="T16" fmla="*/ 94 w 604"/>
                  <a:gd name="T17" fmla="*/ 203 h 1325"/>
                  <a:gd name="T18" fmla="*/ 102 w 604"/>
                  <a:gd name="T19" fmla="*/ 203 h 1325"/>
                  <a:gd name="T20" fmla="*/ 102 w 604"/>
                  <a:gd name="T21" fmla="*/ 396 h 1325"/>
                  <a:gd name="T22" fmla="*/ 151 w 604"/>
                  <a:gd name="T23" fmla="*/ 396 h 1325"/>
                  <a:gd name="T24" fmla="*/ 151 w 604"/>
                  <a:gd name="T25" fmla="*/ 66 h 1325"/>
                  <a:gd name="T26" fmla="*/ 160 w 604"/>
                  <a:gd name="T27" fmla="*/ 66 h 1325"/>
                  <a:gd name="T28" fmla="*/ 160 w 604"/>
                  <a:gd name="T29" fmla="*/ 185 h 1325"/>
                  <a:gd name="T30" fmla="*/ 196 w 604"/>
                  <a:gd name="T31" fmla="*/ 185 h 1325"/>
                  <a:gd name="T32" fmla="*/ 196 w 604"/>
                  <a:gd name="T33" fmla="*/ 56 h 1325"/>
                  <a:gd name="T34" fmla="*/ 142 w 604"/>
                  <a:gd name="T35" fmla="*/ 0 h 1325"/>
                  <a:gd name="T36" fmla="*/ 54 w 604"/>
                  <a:gd name="T37" fmla="*/ 0 h 13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4" h="1325">
                    <a:moveTo>
                      <a:pt x="165" y="0"/>
                    </a:moveTo>
                    <a:cubicBezTo>
                      <a:pt x="73" y="0"/>
                      <a:pt x="0" y="76"/>
                      <a:pt x="0" y="170"/>
                    </a:cubicBezTo>
                    <a:cubicBezTo>
                      <a:pt x="0" y="571"/>
                      <a:pt x="0" y="571"/>
                      <a:pt x="0" y="571"/>
                    </a:cubicBezTo>
                    <a:cubicBezTo>
                      <a:pt x="0" y="649"/>
                      <a:pt x="113" y="649"/>
                      <a:pt x="113" y="571"/>
                    </a:cubicBezTo>
                    <a:cubicBezTo>
                      <a:pt x="113" y="204"/>
                      <a:pt x="113" y="204"/>
                      <a:pt x="113" y="204"/>
                    </a:cubicBezTo>
                    <a:cubicBezTo>
                      <a:pt x="139" y="204"/>
                      <a:pt x="139" y="204"/>
                      <a:pt x="139" y="204"/>
                    </a:cubicBezTo>
                    <a:cubicBezTo>
                      <a:pt x="139" y="1221"/>
                      <a:pt x="139" y="1221"/>
                      <a:pt x="139" y="1221"/>
                    </a:cubicBezTo>
                    <a:cubicBezTo>
                      <a:pt x="139" y="1325"/>
                      <a:pt x="289" y="1322"/>
                      <a:pt x="289" y="1221"/>
                    </a:cubicBezTo>
                    <a:cubicBezTo>
                      <a:pt x="289" y="626"/>
                      <a:pt x="289" y="626"/>
                      <a:pt x="289" y="626"/>
                    </a:cubicBezTo>
                    <a:cubicBezTo>
                      <a:pt x="315" y="626"/>
                      <a:pt x="315" y="626"/>
                      <a:pt x="315" y="626"/>
                    </a:cubicBezTo>
                    <a:cubicBezTo>
                      <a:pt x="315" y="1221"/>
                      <a:pt x="315" y="1221"/>
                      <a:pt x="315" y="1221"/>
                    </a:cubicBezTo>
                    <a:cubicBezTo>
                      <a:pt x="315" y="1322"/>
                      <a:pt x="466" y="1325"/>
                      <a:pt x="466" y="1221"/>
                    </a:cubicBezTo>
                    <a:cubicBezTo>
                      <a:pt x="466" y="204"/>
                      <a:pt x="466" y="204"/>
                      <a:pt x="466" y="204"/>
                    </a:cubicBezTo>
                    <a:cubicBezTo>
                      <a:pt x="492" y="204"/>
                      <a:pt x="492" y="204"/>
                      <a:pt x="492" y="204"/>
                    </a:cubicBezTo>
                    <a:cubicBezTo>
                      <a:pt x="492" y="571"/>
                      <a:pt x="492" y="571"/>
                      <a:pt x="492" y="571"/>
                    </a:cubicBezTo>
                    <a:cubicBezTo>
                      <a:pt x="492" y="650"/>
                      <a:pt x="604" y="650"/>
                      <a:pt x="603" y="571"/>
                    </a:cubicBezTo>
                    <a:cubicBezTo>
                      <a:pt x="603" y="172"/>
                      <a:pt x="603" y="172"/>
                      <a:pt x="603" y="172"/>
                    </a:cubicBezTo>
                    <a:cubicBezTo>
                      <a:pt x="603" y="86"/>
                      <a:pt x="537" y="1"/>
                      <a:pt x="437" y="1"/>
                    </a:cubicBez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90" name="Oval 429">
                <a:extLst>
                  <a:ext uri="{FF2B5EF4-FFF2-40B4-BE49-F238E27FC236}"/>
                </a:extLst>
              </p:cNvPr>
              <p:cNvSpPr>
                <a:spLocks noChangeArrowheads="1"/>
              </p:cNvSpPr>
              <p:nvPr/>
            </p:nvSpPr>
            <p:spPr bwMode="auto">
              <a:xfrm>
                <a:off x="1956548" y="5491855"/>
                <a:ext cx="104055" cy="1041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91" name="Line 430">
                <a:extLst>
                  <a:ext uri="{FF2B5EF4-FFF2-40B4-BE49-F238E27FC236}"/>
                </a:extLst>
              </p:cNvPr>
              <p:cNvSpPr>
                <a:spLocks noChangeShapeType="1"/>
              </p:cNvSpPr>
              <p:nvPr/>
            </p:nvSpPr>
            <p:spPr bwMode="auto">
              <a:xfrm>
                <a:off x="200733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92" name="Line 431">
                <a:extLst>
                  <a:ext uri="{FF2B5EF4-FFF2-40B4-BE49-F238E27FC236}"/>
                </a:extLst>
              </p:cNvPr>
              <p:cNvSpPr>
                <a:spLocks noChangeShapeType="1"/>
              </p:cNvSpPr>
              <p:nvPr/>
            </p:nvSpPr>
            <p:spPr bwMode="auto">
              <a:xfrm>
                <a:off x="200733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grpSp>
      </p:grpSp>
      <p:grpSp>
        <p:nvGrpSpPr>
          <p:cNvPr id="65605" name="Group 219"/>
          <p:cNvGrpSpPr>
            <a:grpSpLocks/>
          </p:cNvGrpSpPr>
          <p:nvPr/>
        </p:nvGrpSpPr>
        <p:grpSpPr bwMode="auto">
          <a:xfrm>
            <a:off x="3132138" y="4883150"/>
            <a:ext cx="268287" cy="266700"/>
            <a:chOff x="3219537" y="2969545"/>
            <a:chExt cx="365760" cy="365760"/>
          </a:xfrm>
        </p:grpSpPr>
        <p:sp>
          <p:nvSpPr>
            <p:cNvPr id="194" name="Oval 193">
              <a:extLst>
                <a:ext uri="{FF2B5EF4-FFF2-40B4-BE49-F238E27FC236}"/>
              </a:extLst>
            </p:cNvPr>
            <p:cNvSpPr/>
            <p:nvPr/>
          </p:nvSpPr>
          <p:spPr bwMode="ltGray">
            <a:xfrm>
              <a:off x="3219537" y="2969545"/>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195" name="Group 194">
              <a:extLst>
                <a:ext uri="{FF2B5EF4-FFF2-40B4-BE49-F238E27FC236}"/>
              </a:extLst>
            </p:cNvPr>
            <p:cNvGrpSpPr/>
            <p:nvPr/>
          </p:nvGrpSpPr>
          <p:grpSpPr>
            <a:xfrm>
              <a:off x="3300261" y="2974700"/>
              <a:ext cx="164763" cy="360001"/>
              <a:chOff x="3300261" y="2930304"/>
              <a:chExt cx="164763" cy="461642"/>
            </a:xfrm>
            <a:solidFill>
              <a:srgbClr val="FFFFFF"/>
            </a:solidFill>
          </p:grpSpPr>
          <p:sp>
            <p:nvSpPr>
              <p:cNvPr id="196" name="Freeform 1442">
                <a:extLst>
                  <a:ext uri="{FF2B5EF4-FFF2-40B4-BE49-F238E27FC236}"/>
                </a:extLst>
              </p:cNvPr>
              <p:cNvSpPr>
                <a:spLocks/>
              </p:cNvSpPr>
              <p:nvPr/>
            </p:nvSpPr>
            <p:spPr bwMode="auto">
              <a:xfrm>
                <a:off x="3300261" y="3039377"/>
                <a:ext cx="163611" cy="352569"/>
              </a:xfrm>
              <a:custGeom>
                <a:avLst/>
                <a:gdLst>
                  <a:gd name="T0" fmla="*/ 420 w 1278"/>
                  <a:gd name="T1" fmla="*/ 2270 h 2755"/>
                  <a:gd name="T2" fmla="*/ 311 w 1278"/>
                  <a:gd name="T3" fmla="*/ 2223 h 2755"/>
                  <a:gd name="T4" fmla="*/ 213 w 1278"/>
                  <a:gd name="T5" fmla="*/ 2153 h 2755"/>
                  <a:gd name="T6" fmla="*/ 131 w 1278"/>
                  <a:gd name="T7" fmla="*/ 2063 h 2755"/>
                  <a:gd name="T8" fmla="*/ 67 w 1278"/>
                  <a:gd name="T9" fmla="*/ 1956 h 2755"/>
                  <a:gd name="T10" fmla="*/ 23 w 1278"/>
                  <a:gd name="T11" fmla="*/ 1833 h 2755"/>
                  <a:gd name="T12" fmla="*/ 1 w 1278"/>
                  <a:gd name="T13" fmla="*/ 1698 h 2755"/>
                  <a:gd name="T14" fmla="*/ 7 w 1278"/>
                  <a:gd name="T15" fmla="*/ 1551 h 2755"/>
                  <a:gd name="T16" fmla="*/ 41 w 1278"/>
                  <a:gd name="T17" fmla="*/ 1395 h 2755"/>
                  <a:gd name="T18" fmla="*/ 107 w 1278"/>
                  <a:gd name="T19" fmla="*/ 1235 h 2755"/>
                  <a:gd name="T20" fmla="*/ 170 w 1278"/>
                  <a:gd name="T21" fmla="*/ 1124 h 2755"/>
                  <a:gd name="T22" fmla="*/ 227 w 1278"/>
                  <a:gd name="T23" fmla="*/ 1042 h 2755"/>
                  <a:gd name="T24" fmla="*/ 294 w 1278"/>
                  <a:gd name="T25" fmla="*/ 959 h 2755"/>
                  <a:gd name="T26" fmla="*/ 250 w 1278"/>
                  <a:gd name="T27" fmla="*/ 883 h 2755"/>
                  <a:gd name="T28" fmla="*/ 220 w 1278"/>
                  <a:gd name="T29" fmla="*/ 815 h 2755"/>
                  <a:gd name="T30" fmla="*/ 215 w 1278"/>
                  <a:gd name="T31" fmla="*/ 779 h 2755"/>
                  <a:gd name="T32" fmla="*/ 219 w 1278"/>
                  <a:gd name="T33" fmla="*/ 743 h 2755"/>
                  <a:gd name="T34" fmla="*/ 234 w 1278"/>
                  <a:gd name="T35" fmla="*/ 703 h 2755"/>
                  <a:gd name="T36" fmla="*/ 261 w 1278"/>
                  <a:gd name="T37" fmla="*/ 659 h 2755"/>
                  <a:gd name="T38" fmla="*/ 322 w 1278"/>
                  <a:gd name="T39" fmla="*/ 592 h 2755"/>
                  <a:gd name="T40" fmla="*/ 818 w 1278"/>
                  <a:gd name="T41" fmla="*/ 68 h 2755"/>
                  <a:gd name="T42" fmla="*/ 840 w 1278"/>
                  <a:gd name="T43" fmla="*/ 42 h 2755"/>
                  <a:gd name="T44" fmla="*/ 891 w 1278"/>
                  <a:gd name="T45" fmla="*/ 15 h 2755"/>
                  <a:gd name="T46" fmla="*/ 956 w 1278"/>
                  <a:gd name="T47" fmla="*/ 1 h 2755"/>
                  <a:gd name="T48" fmla="*/ 1025 w 1278"/>
                  <a:gd name="T49" fmla="*/ 4 h 2755"/>
                  <a:gd name="T50" fmla="*/ 1091 w 1278"/>
                  <a:gd name="T51" fmla="*/ 23 h 2755"/>
                  <a:gd name="T52" fmla="*/ 1128 w 1278"/>
                  <a:gd name="T53" fmla="*/ 45 h 2755"/>
                  <a:gd name="T54" fmla="*/ 1167 w 1278"/>
                  <a:gd name="T55" fmla="*/ 80 h 2755"/>
                  <a:gd name="T56" fmla="*/ 1203 w 1278"/>
                  <a:gd name="T57" fmla="*/ 123 h 2755"/>
                  <a:gd name="T58" fmla="*/ 1230 w 1278"/>
                  <a:gd name="T59" fmla="*/ 173 h 2755"/>
                  <a:gd name="T60" fmla="*/ 1252 w 1278"/>
                  <a:gd name="T61" fmla="*/ 232 h 2755"/>
                  <a:gd name="T62" fmla="*/ 1270 w 1278"/>
                  <a:gd name="T63" fmla="*/ 317 h 2755"/>
                  <a:gd name="T64" fmla="*/ 1278 w 1278"/>
                  <a:gd name="T65" fmla="*/ 458 h 2755"/>
                  <a:gd name="T66" fmla="*/ 1262 w 1278"/>
                  <a:gd name="T67" fmla="*/ 608 h 2755"/>
                  <a:gd name="T68" fmla="*/ 1237 w 1278"/>
                  <a:gd name="T69" fmla="*/ 708 h 2755"/>
                  <a:gd name="T70" fmla="*/ 1182 w 1278"/>
                  <a:gd name="T71" fmla="*/ 879 h 2755"/>
                  <a:gd name="T72" fmla="*/ 1152 w 1278"/>
                  <a:gd name="T73" fmla="*/ 1056 h 2755"/>
                  <a:gd name="T74" fmla="*/ 1145 w 1278"/>
                  <a:gd name="T75" fmla="*/ 1238 h 2755"/>
                  <a:gd name="T76" fmla="*/ 1162 w 1278"/>
                  <a:gd name="T77" fmla="*/ 1417 h 2755"/>
                  <a:gd name="T78" fmla="*/ 1199 w 1278"/>
                  <a:gd name="T79" fmla="*/ 1594 h 2755"/>
                  <a:gd name="T80" fmla="*/ 1226 w 1278"/>
                  <a:gd name="T81" fmla="*/ 1698 h 2755"/>
                  <a:gd name="T82" fmla="*/ 1241 w 1278"/>
                  <a:gd name="T83" fmla="*/ 1829 h 2755"/>
                  <a:gd name="T84" fmla="*/ 1234 w 1278"/>
                  <a:gd name="T85" fmla="*/ 1953 h 2755"/>
                  <a:gd name="T86" fmla="*/ 1210 w 1278"/>
                  <a:gd name="T87" fmla="*/ 2075 h 2755"/>
                  <a:gd name="T88" fmla="*/ 1141 w 1278"/>
                  <a:gd name="T89" fmla="*/ 2337 h 2755"/>
                  <a:gd name="T90" fmla="*/ 501 w 1278"/>
                  <a:gd name="T91" fmla="*/ 2748 h 2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8" h="2755">
                    <a:moveTo>
                      <a:pt x="501" y="2748"/>
                    </a:moveTo>
                    <a:lnTo>
                      <a:pt x="420" y="2270"/>
                    </a:lnTo>
                    <a:lnTo>
                      <a:pt x="420" y="2270"/>
                    </a:lnTo>
                    <a:lnTo>
                      <a:pt x="383" y="2257"/>
                    </a:lnTo>
                    <a:lnTo>
                      <a:pt x="346" y="2241"/>
                    </a:lnTo>
                    <a:lnTo>
                      <a:pt x="311" y="2223"/>
                    </a:lnTo>
                    <a:lnTo>
                      <a:pt x="278" y="2201"/>
                    </a:lnTo>
                    <a:lnTo>
                      <a:pt x="245" y="2178"/>
                    </a:lnTo>
                    <a:lnTo>
                      <a:pt x="213" y="2153"/>
                    </a:lnTo>
                    <a:lnTo>
                      <a:pt x="185" y="2125"/>
                    </a:lnTo>
                    <a:lnTo>
                      <a:pt x="157" y="2096"/>
                    </a:lnTo>
                    <a:lnTo>
                      <a:pt x="131" y="2063"/>
                    </a:lnTo>
                    <a:lnTo>
                      <a:pt x="108" y="2029"/>
                    </a:lnTo>
                    <a:lnTo>
                      <a:pt x="86" y="1993"/>
                    </a:lnTo>
                    <a:lnTo>
                      <a:pt x="67" y="1956"/>
                    </a:lnTo>
                    <a:lnTo>
                      <a:pt x="49" y="1917"/>
                    </a:lnTo>
                    <a:lnTo>
                      <a:pt x="36" y="1875"/>
                    </a:lnTo>
                    <a:lnTo>
                      <a:pt x="23" y="1833"/>
                    </a:lnTo>
                    <a:lnTo>
                      <a:pt x="12" y="1789"/>
                    </a:lnTo>
                    <a:lnTo>
                      <a:pt x="6" y="1744"/>
                    </a:lnTo>
                    <a:lnTo>
                      <a:pt x="1" y="1698"/>
                    </a:lnTo>
                    <a:lnTo>
                      <a:pt x="0" y="1650"/>
                    </a:lnTo>
                    <a:lnTo>
                      <a:pt x="1" y="1600"/>
                    </a:lnTo>
                    <a:lnTo>
                      <a:pt x="7" y="1551"/>
                    </a:lnTo>
                    <a:lnTo>
                      <a:pt x="15" y="1501"/>
                    </a:lnTo>
                    <a:lnTo>
                      <a:pt x="26" y="1449"/>
                    </a:lnTo>
                    <a:lnTo>
                      <a:pt x="41" y="1395"/>
                    </a:lnTo>
                    <a:lnTo>
                      <a:pt x="59" y="1343"/>
                    </a:lnTo>
                    <a:lnTo>
                      <a:pt x="81" y="1288"/>
                    </a:lnTo>
                    <a:lnTo>
                      <a:pt x="107" y="1235"/>
                    </a:lnTo>
                    <a:lnTo>
                      <a:pt x="136" y="1180"/>
                    </a:lnTo>
                    <a:lnTo>
                      <a:pt x="152" y="1153"/>
                    </a:lnTo>
                    <a:lnTo>
                      <a:pt x="170" y="1124"/>
                    </a:lnTo>
                    <a:lnTo>
                      <a:pt x="187" y="1097"/>
                    </a:lnTo>
                    <a:lnTo>
                      <a:pt x="207" y="1070"/>
                    </a:lnTo>
                    <a:lnTo>
                      <a:pt x="227" y="1042"/>
                    </a:lnTo>
                    <a:lnTo>
                      <a:pt x="249" y="1013"/>
                    </a:lnTo>
                    <a:lnTo>
                      <a:pt x="271" y="986"/>
                    </a:lnTo>
                    <a:lnTo>
                      <a:pt x="294" y="959"/>
                    </a:lnTo>
                    <a:lnTo>
                      <a:pt x="294" y="959"/>
                    </a:lnTo>
                    <a:lnTo>
                      <a:pt x="264" y="907"/>
                    </a:lnTo>
                    <a:lnTo>
                      <a:pt x="250" y="883"/>
                    </a:lnTo>
                    <a:lnTo>
                      <a:pt x="238" y="860"/>
                    </a:lnTo>
                    <a:lnTo>
                      <a:pt x="227" y="837"/>
                    </a:lnTo>
                    <a:lnTo>
                      <a:pt x="220" y="815"/>
                    </a:lnTo>
                    <a:lnTo>
                      <a:pt x="218" y="803"/>
                    </a:lnTo>
                    <a:lnTo>
                      <a:pt x="216" y="792"/>
                    </a:lnTo>
                    <a:lnTo>
                      <a:pt x="215" y="779"/>
                    </a:lnTo>
                    <a:lnTo>
                      <a:pt x="215" y="769"/>
                    </a:lnTo>
                    <a:lnTo>
                      <a:pt x="216" y="756"/>
                    </a:lnTo>
                    <a:lnTo>
                      <a:pt x="219" y="743"/>
                    </a:lnTo>
                    <a:lnTo>
                      <a:pt x="223" y="730"/>
                    </a:lnTo>
                    <a:lnTo>
                      <a:pt x="227" y="717"/>
                    </a:lnTo>
                    <a:lnTo>
                      <a:pt x="234" y="703"/>
                    </a:lnTo>
                    <a:lnTo>
                      <a:pt x="242" y="689"/>
                    </a:lnTo>
                    <a:lnTo>
                      <a:pt x="250" y="674"/>
                    </a:lnTo>
                    <a:lnTo>
                      <a:pt x="261" y="659"/>
                    </a:lnTo>
                    <a:lnTo>
                      <a:pt x="274" y="644"/>
                    </a:lnTo>
                    <a:lnTo>
                      <a:pt x="289" y="628"/>
                    </a:lnTo>
                    <a:lnTo>
                      <a:pt x="322" y="592"/>
                    </a:lnTo>
                    <a:lnTo>
                      <a:pt x="363" y="554"/>
                    </a:lnTo>
                    <a:lnTo>
                      <a:pt x="412" y="513"/>
                    </a:lnTo>
                    <a:lnTo>
                      <a:pt x="818" y="68"/>
                    </a:lnTo>
                    <a:lnTo>
                      <a:pt x="818" y="68"/>
                    </a:lnTo>
                    <a:lnTo>
                      <a:pt x="828" y="54"/>
                    </a:lnTo>
                    <a:lnTo>
                      <a:pt x="840" y="42"/>
                    </a:lnTo>
                    <a:lnTo>
                      <a:pt x="855" y="31"/>
                    </a:lnTo>
                    <a:lnTo>
                      <a:pt x="872" y="21"/>
                    </a:lnTo>
                    <a:lnTo>
                      <a:pt x="891" y="15"/>
                    </a:lnTo>
                    <a:lnTo>
                      <a:pt x="911" y="8"/>
                    </a:lnTo>
                    <a:lnTo>
                      <a:pt x="933" y="4"/>
                    </a:lnTo>
                    <a:lnTo>
                      <a:pt x="956" y="1"/>
                    </a:lnTo>
                    <a:lnTo>
                      <a:pt x="978" y="0"/>
                    </a:lnTo>
                    <a:lnTo>
                      <a:pt x="1002" y="1"/>
                    </a:lnTo>
                    <a:lnTo>
                      <a:pt x="1025" y="4"/>
                    </a:lnTo>
                    <a:lnTo>
                      <a:pt x="1048" y="8"/>
                    </a:lnTo>
                    <a:lnTo>
                      <a:pt x="1070" y="15"/>
                    </a:lnTo>
                    <a:lnTo>
                      <a:pt x="1091" y="23"/>
                    </a:lnTo>
                    <a:lnTo>
                      <a:pt x="1110" y="32"/>
                    </a:lnTo>
                    <a:lnTo>
                      <a:pt x="1128" y="45"/>
                    </a:lnTo>
                    <a:lnTo>
                      <a:pt x="1128" y="45"/>
                    </a:lnTo>
                    <a:lnTo>
                      <a:pt x="1141" y="56"/>
                    </a:lnTo>
                    <a:lnTo>
                      <a:pt x="1155" y="67"/>
                    </a:lnTo>
                    <a:lnTo>
                      <a:pt x="1167" y="80"/>
                    </a:lnTo>
                    <a:lnTo>
                      <a:pt x="1180" y="93"/>
                    </a:lnTo>
                    <a:lnTo>
                      <a:pt x="1192" y="108"/>
                    </a:lnTo>
                    <a:lnTo>
                      <a:pt x="1203" y="123"/>
                    </a:lnTo>
                    <a:lnTo>
                      <a:pt x="1212" y="139"/>
                    </a:lnTo>
                    <a:lnTo>
                      <a:pt x="1222" y="156"/>
                    </a:lnTo>
                    <a:lnTo>
                      <a:pt x="1230" y="173"/>
                    </a:lnTo>
                    <a:lnTo>
                      <a:pt x="1238" y="192"/>
                    </a:lnTo>
                    <a:lnTo>
                      <a:pt x="1245" y="212"/>
                    </a:lnTo>
                    <a:lnTo>
                      <a:pt x="1252" y="232"/>
                    </a:lnTo>
                    <a:lnTo>
                      <a:pt x="1257" y="253"/>
                    </a:lnTo>
                    <a:lnTo>
                      <a:pt x="1262" y="273"/>
                    </a:lnTo>
                    <a:lnTo>
                      <a:pt x="1270" y="317"/>
                    </a:lnTo>
                    <a:lnTo>
                      <a:pt x="1275" y="362"/>
                    </a:lnTo>
                    <a:lnTo>
                      <a:pt x="1278" y="410"/>
                    </a:lnTo>
                    <a:lnTo>
                      <a:pt x="1278" y="458"/>
                    </a:lnTo>
                    <a:lnTo>
                      <a:pt x="1275" y="507"/>
                    </a:lnTo>
                    <a:lnTo>
                      <a:pt x="1270" y="558"/>
                    </a:lnTo>
                    <a:lnTo>
                      <a:pt x="1262" y="608"/>
                    </a:lnTo>
                    <a:lnTo>
                      <a:pt x="1251" y="658"/>
                    </a:lnTo>
                    <a:lnTo>
                      <a:pt x="1237" y="708"/>
                    </a:lnTo>
                    <a:lnTo>
                      <a:pt x="1237" y="708"/>
                    </a:lnTo>
                    <a:lnTo>
                      <a:pt x="1216" y="764"/>
                    </a:lnTo>
                    <a:lnTo>
                      <a:pt x="1197" y="821"/>
                    </a:lnTo>
                    <a:lnTo>
                      <a:pt x="1182" y="879"/>
                    </a:lnTo>
                    <a:lnTo>
                      <a:pt x="1170" y="937"/>
                    </a:lnTo>
                    <a:lnTo>
                      <a:pt x="1159" y="997"/>
                    </a:lnTo>
                    <a:lnTo>
                      <a:pt x="1152" y="1056"/>
                    </a:lnTo>
                    <a:lnTo>
                      <a:pt x="1147" y="1116"/>
                    </a:lnTo>
                    <a:lnTo>
                      <a:pt x="1145" y="1176"/>
                    </a:lnTo>
                    <a:lnTo>
                      <a:pt x="1145" y="1238"/>
                    </a:lnTo>
                    <a:lnTo>
                      <a:pt x="1148" y="1298"/>
                    </a:lnTo>
                    <a:lnTo>
                      <a:pt x="1154" y="1358"/>
                    </a:lnTo>
                    <a:lnTo>
                      <a:pt x="1162" y="1417"/>
                    </a:lnTo>
                    <a:lnTo>
                      <a:pt x="1171" y="1477"/>
                    </a:lnTo>
                    <a:lnTo>
                      <a:pt x="1184" y="1536"/>
                    </a:lnTo>
                    <a:lnTo>
                      <a:pt x="1199" y="1594"/>
                    </a:lnTo>
                    <a:lnTo>
                      <a:pt x="1215" y="1651"/>
                    </a:lnTo>
                    <a:lnTo>
                      <a:pt x="1215" y="1651"/>
                    </a:lnTo>
                    <a:lnTo>
                      <a:pt x="1226" y="1698"/>
                    </a:lnTo>
                    <a:lnTo>
                      <a:pt x="1234" y="1743"/>
                    </a:lnTo>
                    <a:lnTo>
                      <a:pt x="1240" y="1787"/>
                    </a:lnTo>
                    <a:lnTo>
                      <a:pt x="1241" y="1829"/>
                    </a:lnTo>
                    <a:lnTo>
                      <a:pt x="1241" y="1871"/>
                    </a:lnTo>
                    <a:lnTo>
                      <a:pt x="1238" y="1912"/>
                    </a:lnTo>
                    <a:lnTo>
                      <a:pt x="1234" y="1953"/>
                    </a:lnTo>
                    <a:lnTo>
                      <a:pt x="1227" y="1993"/>
                    </a:lnTo>
                    <a:lnTo>
                      <a:pt x="1219" y="2034"/>
                    </a:lnTo>
                    <a:lnTo>
                      <a:pt x="1210" y="2075"/>
                    </a:lnTo>
                    <a:lnTo>
                      <a:pt x="1189" y="2157"/>
                    </a:lnTo>
                    <a:lnTo>
                      <a:pt x="1166" y="2245"/>
                    </a:lnTo>
                    <a:lnTo>
                      <a:pt x="1141" y="2337"/>
                    </a:lnTo>
                    <a:lnTo>
                      <a:pt x="1060" y="2755"/>
                    </a:lnTo>
                    <a:lnTo>
                      <a:pt x="501" y="2748"/>
                    </a:lnTo>
                    <a:lnTo>
                      <a:pt x="501" y="27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sp>
            <p:nvSpPr>
              <p:cNvPr id="197" name="Freeform 1444">
                <a:extLst>
                  <a:ext uri="{FF2B5EF4-FFF2-40B4-BE49-F238E27FC236}"/>
                </a:extLst>
              </p:cNvPr>
              <p:cNvSpPr>
                <a:spLocks/>
              </p:cNvSpPr>
              <p:nvPr/>
            </p:nvSpPr>
            <p:spPr bwMode="auto">
              <a:xfrm>
                <a:off x="3380530" y="2930304"/>
                <a:ext cx="84494" cy="104849"/>
              </a:xfrm>
              <a:custGeom>
                <a:avLst/>
                <a:gdLst>
                  <a:gd name="T0" fmla="*/ 660 w 660"/>
                  <a:gd name="T1" fmla="*/ 409 h 817"/>
                  <a:gd name="T2" fmla="*/ 657 w 660"/>
                  <a:gd name="T3" fmla="*/ 450 h 817"/>
                  <a:gd name="T4" fmla="*/ 653 w 660"/>
                  <a:gd name="T5" fmla="*/ 491 h 817"/>
                  <a:gd name="T6" fmla="*/ 645 w 660"/>
                  <a:gd name="T7" fmla="*/ 529 h 817"/>
                  <a:gd name="T8" fmla="*/ 620 w 660"/>
                  <a:gd name="T9" fmla="*/ 603 h 817"/>
                  <a:gd name="T10" fmla="*/ 585 w 660"/>
                  <a:gd name="T11" fmla="*/ 668 h 817"/>
                  <a:gd name="T12" fmla="*/ 563 w 660"/>
                  <a:gd name="T13" fmla="*/ 696 h 817"/>
                  <a:gd name="T14" fmla="*/ 539 w 660"/>
                  <a:gd name="T15" fmla="*/ 724 h 817"/>
                  <a:gd name="T16" fmla="*/ 515 w 660"/>
                  <a:gd name="T17" fmla="*/ 747 h 817"/>
                  <a:gd name="T18" fmla="*/ 487 w 660"/>
                  <a:gd name="T19" fmla="*/ 767 h 817"/>
                  <a:gd name="T20" fmla="*/ 459 w 660"/>
                  <a:gd name="T21" fmla="*/ 784 h 817"/>
                  <a:gd name="T22" fmla="*/ 429 w 660"/>
                  <a:gd name="T23" fmla="*/ 798 h 817"/>
                  <a:gd name="T24" fmla="*/ 396 w 660"/>
                  <a:gd name="T25" fmla="*/ 809 h 817"/>
                  <a:gd name="T26" fmla="*/ 364 w 660"/>
                  <a:gd name="T27" fmla="*/ 814 h 817"/>
                  <a:gd name="T28" fmla="*/ 330 w 660"/>
                  <a:gd name="T29" fmla="*/ 817 h 817"/>
                  <a:gd name="T30" fmla="*/ 314 w 660"/>
                  <a:gd name="T31" fmla="*/ 815 h 817"/>
                  <a:gd name="T32" fmla="*/ 279 w 660"/>
                  <a:gd name="T33" fmla="*/ 811 h 817"/>
                  <a:gd name="T34" fmla="*/ 248 w 660"/>
                  <a:gd name="T35" fmla="*/ 803 h 817"/>
                  <a:gd name="T36" fmla="*/ 217 w 660"/>
                  <a:gd name="T37" fmla="*/ 792 h 817"/>
                  <a:gd name="T38" fmla="*/ 188 w 660"/>
                  <a:gd name="T39" fmla="*/ 776 h 817"/>
                  <a:gd name="T40" fmla="*/ 159 w 660"/>
                  <a:gd name="T41" fmla="*/ 758 h 817"/>
                  <a:gd name="T42" fmla="*/ 133 w 660"/>
                  <a:gd name="T43" fmla="*/ 736 h 817"/>
                  <a:gd name="T44" fmla="*/ 108 w 660"/>
                  <a:gd name="T45" fmla="*/ 710 h 817"/>
                  <a:gd name="T46" fmla="*/ 87 w 660"/>
                  <a:gd name="T47" fmla="*/ 683 h 817"/>
                  <a:gd name="T48" fmla="*/ 56 w 660"/>
                  <a:gd name="T49" fmla="*/ 636 h 817"/>
                  <a:gd name="T50" fmla="*/ 26 w 660"/>
                  <a:gd name="T51" fmla="*/ 568 h 817"/>
                  <a:gd name="T52" fmla="*/ 11 w 660"/>
                  <a:gd name="T53" fmla="*/ 510 h 817"/>
                  <a:gd name="T54" fmla="*/ 4 w 660"/>
                  <a:gd name="T55" fmla="*/ 471 h 817"/>
                  <a:gd name="T56" fmla="*/ 2 w 660"/>
                  <a:gd name="T57" fmla="*/ 429 h 817"/>
                  <a:gd name="T58" fmla="*/ 0 w 660"/>
                  <a:gd name="T59" fmla="*/ 409 h 817"/>
                  <a:gd name="T60" fmla="*/ 3 w 660"/>
                  <a:gd name="T61" fmla="*/ 367 h 817"/>
                  <a:gd name="T62" fmla="*/ 7 w 660"/>
                  <a:gd name="T63" fmla="*/ 327 h 817"/>
                  <a:gd name="T64" fmla="*/ 15 w 660"/>
                  <a:gd name="T65" fmla="*/ 287 h 817"/>
                  <a:gd name="T66" fmla="*/ 40 w 660"/>
                  <a:gd name="T67" fmla="*/ 213 h 817"/>
                  <a:gd name="T68" fmla="*/ 76 w 660"/>
                  <a:gd name="T69" fmla="*/ 149 h 817"/>
                  <a:gd name="T70" fmla="*/ 97 w 660"/>
                  <a:gd name="T71" fmla="*/ 120 h 817"/>
                  <a:gd name="T72" fmla="*/ 121 w 660"/>
                  <a:gd name="T73" fmla="*/ 93 h 817"/>
                  <a:gd name="T74" fmla="*/ 145 w 660"/>
                  <a:gd name="T75" fmla="*/ 70 h 817"/>
                  <a:gd name="T76" fmla="*/ 173 w 660"/>
                  <a:gd name="T77" fmla="*/ 49 h 817"/>
                  <a:gd name="T78" fmla="*/ 201 w 660"/>
                  <a:gd name="T79" fmla="*/ 33 h 817"/>
                  <a:gd name="T80" fmla="*/ 232 w 660"/>
                  <a:gd name="T81" fmla="*/ 19 h 817"/>
                  <a:gd name="T82" fmla="*/ 264 w 660"/>
                  <a:gd name="T83" fmla="*/ 8 h 817"/>
                  <a:gd name="T84" fmla="*/ 296 w 660"/>
                  <a:gd name="T85" fmla="*/ 3 h 817"/>
                  <a:gd name="T86" fmla="*/ 330 w 660"/>
                  <a:gd name="T87" fmla="*/ 0 h 817"/>
                  <a:gd name="T88" fmla="*/ 347 w 660"/>
                  <a:gd name="T89" fmla="*/ 1 h 817"/>
                  <a:gd name="T90" fmla="*/ 381 w 660"/>
                  <a:gd name="T91" fmla="*/ 5 h 817"/>
                  <a:gd name="T92" fmla="*/ 412 w 660"/>
                  <a:gd name="T93" fmla="*/ 14 h 817"/>
                  <a:gd name="T94" fmla="*/ 444 w 660"/>
                  <a:gd name="T95" fmla="*/ 24 h 817"/>
                  <a:gd name="T96" fmla="*/ 472 w 660"/>
                  <a:gd name="T97" fmla="*/ 41 h 817"/>
                  <a:gd name="T98" fmla="*/ 501 w 660"/>
                  <a:gd name="T99" fmla="*/ 60 h 817"/>
                  <a:gd name="T100" fmla="*/ 527 w 660"/>
                  <a:gd name="T101" fmla="*/ 82 h 817"/>
                  <a:gd name="T102" fmla="*/ 552 w 660"/>
                  <a:gd name="T103" fmla="*/ 107 h 817"/>
                  <a:gd name="T104" fmla="*/ 574 w 660"/>
                  <a:gd name="T105" fmla="*/ 134 h 817"/>
                  <a:gd name="T106" fmla="*/ 604 w 660"/>
                  <a:gd name="T107" fmla="*/ 180 h 817"/>
                  <a:gd name="T108" fmla="*/ 634 w 660"/>
                  <a:gd name="T109" fmla="*/ 250 h 817"/>
                  <a:gd name="T110" fmla="*/ 649 w 660"/>
                  <a:gd name="T111" fmla="*/ 306 h 817"/>
                  <a:gd name="T112" fmla="*/ 656 w 660"/>
                  <a:gd name="T113" fmla="*/ 346 h 817"/>
                  <a:gd name="T114" fmla="*/ 658 w 660"/>
                  <a:gd name="T115" fmla="*/ 387 h 817"/>
                  <a:gd name="T116" fmla="*/ 660 w 660"/>
                  <a:gd name="T117" fmla="*/ 409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0" h="817">
                    <a:moveTo>
                      <a:pt x="660" y="409"/>
                    </a:moveTo>
                    <a:lnTo>
                      <a:pt x="660" y="409"/>
                    </a:lnTo>
                    <a:lnTo>
                      <a:pt x="658" y="429"/>
                    </a:lnTo>
                    <a:lnTo>
                      <a:pt x="657" y="450"/>
                    </a:lnTo>
                    <a:lnTo>
                      <a:pt x="656" y="471"/>
                    </a:lnTo>
                    <a:lnTo>
                      <a:pt x="653" y="491"/>
                    </a:lnTo>
                    <a:lnTo>
                      <a:pt x="649" y="510"/>
                    </a:lnTo>
                    <a:lnTo>
                      <a:pt x="645" y="529"/>
                    </a:lnTo>
                    <a:lnTo>
                      <a:pt x="634" y="568"/>
                    </a:lnTo>
                    <a:lnTo>
                      <a:pt x="620" y="603"/>
                    </a:lnTo>
                    <a:lnTo>
                      <a:pt x="604" y="636"/>
                    </a:lnTo>
                    <a:lnTo>
                      <a:pt x="585" y="668"/>
                    </a:lnTo>
                    <a:lnTo>
                      <a:pt x="574" y="683"/>
                    </a:lnTo>
                    <a:lnTo>
                      <a:pt x="563" y="696"/>
                    </a:lnTo>
                    <a:lnTo>
                      <a:pt x="552" y="710"/>
                    </a:lnTo>
                    <a:lnTo>
                      <a:pt x="539" y="724"/>
                    </a:lnTo>
                    <a:lnTo>
                      <a:pt x="527" y="736"/>
                    </a:lnTo>
                    <a:lnTo>
                      <a:pt x="515" y="747"/>
                    </a:lnTo>
                    <a:lnTo>
                      <a:pt x="501" y="758"/>
                    </a:lnTo>
                    <a:lnTo>
                      <a:pt x="487" y="767"/>
                    </a:lnTo>
                    <a:lnTo>
                      <a:pt x="472" y="776"/>
                    </a:lnTo>
                    <a:lnTo>
                      <a:pt x="459" y="784"/>
                    </a:lnTo>
                    <a:lnTo>
                      <a:pt x="444" y="792"/>
                    </a:lnTo>
                    <a:lnTo>
                      <a:pt x="429" y="798"/>
                    </a:lnTo>
                    <a:lnTo>
                      <a:pt x="412" y="803"/>
                    </a:lnTo>
                    <a:lnTo>
                      <a:pt x="396" y="809"/>
                    </a:lnTo>
                    <a:lnTo>
                      <a:pt x="381" y="811"/>
                    </a:lnTo>
                    <a:lnTo>
                      <a:pt x="364" y="814"/>
                    </a:lnTo>
                    <a:lnTo>
                      <a:pt x="347" y="815"/>
                    </a:lnTo>
                    <a:lnTo>
                      <a:pt x="330" y="817"/>
                    </a:lnTo>
                    <a:lnTo>
                      <a:pt x="330" y="817"/>
                    </a:lnTo>
                    <a:lnTo>
                      <a:pt x="314" y="815"/>
                    </a:lnTo>
                    <a:lnTo>
                      <a:pt x="296" y="814"/>
                    </a:lnTo>
                    <a:lnTo>
                      <a:pt x="279" y="811"/>
                    </a:lnTo>
                    <a:lnTo>
                      <a:pt x="264" y="809"/>
                    </a:lnTo>
                    <a:lnTo>
                      <a:pt x="248" y="803"/>
                    </a:lnTo>
                    <a:lnTo>
                      <a:pt x="232" y="798"/>
                    </a:lnTo>
                    <a:lnTo>
                      <a:pt x="217" y="792"/>
                    </a:lnTo>
                    <a:lnTo>
                      <a:pt x="201" y="784"/>
                    </a:lnTo>
                    <a:lnTo>
                      <a:pt x="188" y="776"/>
                    </a:lnTo>
                    <a:lnTo>
                      <a:pt x="173" y="767"/>
                    </a:lnTo>
                    <a:lnTo>
                      <a:pt x="159" y="758"/>
                    </a:lnTo>
                    <a:lnTo>
                      <a:pt x="145" y="747"/>
                    </a:lnTo>
                    <a:lnTo>
                      <a:pt x="133" y="736"/>
                    </a:lnTo>
                    <a:lnTo>
                      <a:pt x="121" y="724"/>
                    </a:lnTo>
                    <a:lnTo>
                      <a:pt x="108" y="710"/>
                    </a:lnTo>
                    <a:lnTo>
                      <a:pt x="97" y="696"/>
                    </a:lnTo>
                    <a:lnTo>
                      <a:pt x="87" y="683"/>
                    </a:lnTo>
                    <a:lnTo>
                      <a:pt x="76" y="668"/>
                    </a:lnTo>
                    <a:lnTo>
                      <a:pt x="56" y="636"/>
                    </a:lnTo>
                    <a:lnTo>
                      <a:pt x="40" y="603"/>
                    </a:lnTo>
                    <a:lnTo>
                      <a:pt x="26" y="568"/>
                    </a:lnTo>
                    <a:lnTo>
                      <a:pt x="15" y="529"/>
                    </a:lnTo>
                    <a:lnTo>
                      <a:pt x="11" y="510"/>
                    </a:lnTo>
                    <a:lnTo>
                      <a:pt x="7" y="491"/>
                    </a:lnTo>
                    <a:lnTo>
                      <a:pt x="4" y="471"/>
                    </a:lnTo>
                    <a:lnTo>
                      <a:pt x="3" y="450"/>
                    </a:lnTo>
                    <a:lnTo>
                      <a:pt x="2" y="429"/>
                    </a:lnTo>
                    <a:lnTo>
                      <a:pt x="0" y="409"/>
                    </a:lnTo>
                    <a:lnTo>
                      <a:pt x="0" y="409"/>
                    </a:lnTo>
                    <a:lnTo>
                      <a:pt x="2" y="387"/>
                    </a:lnTo>
                    <a:lnTo>
                      <a:pt x="3" y="367"/>
                    </a:lnTo>
                    <a:lnTo>
                      <a:pt x="4" y="346"/>
                    </a:lnTo>
                    <a:lnTo>
                      <a:pt x="7" y="327"/>
                    </a:lnTo>
                    <a:lnTo>
                      <a:pt x="11" y="306"/>
                    </a:lnTo>
                    <a:lnTo>
                      <a:pt x="15" y="287"/>
                    </a:lnTo>
                    <a:lnTo>
                      <a:pt x="26" y="250"/>
                    </a:lnTo>
                    <a:lnTo>
                      <a:pt x="40" y="213"/>
                    </a:lnTo>
                    <a:lnTo>
                      <a:pt x="56" y="180"/>
                    </a:lnTo>
                    <a:lnTo>
                      <a:pt x="76" y="149"/>
                    </a:lnTo>
                    <a:lnTo>
                      <a:pt x="87" y="134"/>
                    </a:lnTo>
                    <a:lnTo>
                      <a:pt x="97" y="120"/>
                    </a:lnTo>
                    <a:lnTo>
                      <a:pt x="108" y="107"/>
                    </a:lnTo>
                    <a:lnTo>
                      <a:pt x="121" y="93"/>
                    </a:lnTo>
                    <a:lnTo>
                      <a:pt x="133" y="82"/>
                    </a:lnTo>
                    <a:lnTo>
                      <a:pt x="145" y="70"/>
                    </a:lnTo>
                    <a:lnTo>
                      <a:pt x="159" y="60"/>
                    </a:lnTo>
                    <a:lnTo>
                      <a:pt x="173" y="49"/>
                    </a:lnTo>
                    <a:lnTo>
                      <a:pt x="188" y="41"/>
                    </a:lnTo>
                    <a:lnTo>
                      <a:pt x="201" y="33"/>
                    </a:lnTo>
                    <a:lnTo>
                      <a:pt x="217" y="24"/>
                    </a:lnTo>
                    <a:lnTo>
                      <a:pt x="232" y="19"/>
                    </a:lnTo>
                    <a:lnTo>
                      <a:pt x="248" y="14"/>
                    </a:lnTo>
                    <a:lnTo>
                      <a:pt x="264" y="8"/>
                    </a:lnTo>
                    <a:lnTo>
                      <a:pt x="279" y="5"/>
                    </a:lnTo>
                    <a:lnTo>
                      <a:pt x="296" y="3"/>
                    </a:lnTo>
                    <a:lnTo>
                      <a:pt x="314" y="1"/>
                    </a:lnTo>
                    <a:lnTo>
                      <a:pt x="330" y="0"/>
                    </a:lnTo>
                    <a:lnTo>
                      <a:pt x="330" y="0"/>
                    </a:lnTo>
                    <a:lnTo>
                      <a:pt x="347" y="1"/>
                    </a:lnTo>
                    <a:lnTo>
                      <a:pt x="364" y="3"/>
                    </a:lnTo>
                    <a:lnTo>
                      <a:pt x="381" y="5"/>
                    </a:lnTo>
                    <a:lnTo>
                      <a:pt x="396" y="8"/>
                    </a:lnTo>
                    <a:lnTo>
                      <a:pt x="412" y="14"/>
                    </a:lnTo>
                    <a:lnTo>
                      <a:pt x="429" y="19"/>
                    </a:lnTo>
                    <a:lnTo>
                      <a:pt x="444" y="24"/>
                    </a:lnTo>
                    <a:lnTo>
                      <a:pt x="459" y="33"/>
                    </a:lnTo>
                    <a:lnTo>
                      <a:pt x="472" y="41"/>
                    </a:lnTo>
                    <a:lnTo>
                      <a:pt x="487" y="49"/>
                    </a:lnTo>
                    <a:lnTo>
                      <a:pt x="501" y="60"/>
                    </a:lnTo>
                    <a:lnTo>
                      <a:pt x="515" y="70"/>
                    </a:lnTo>
                    <a:lnTo>
                      <a:pt x="527" y="82"/>
                    </a:lnTo>
                    <a:lnTo>
                      <a:pt x="539" y="93"/>
                    </a:lnTo>
                    <a:lnTo>
                      <a:pt x="552" y="107"/>
                    </a:lnTo>
                    <a:lnTo>
                      <a:pt x="563" y="120"/>
                    </a:lnTo>
                    <a:lnTo>
                      <a:pt x="574" y="134"/>
                    </a:lnTo>
                    <a:lnTo>
                      <a:pt x="585" y="149"/>
                    </a:lnTo>
                    <a:lnTo>
                      <a:pt x="604" y="180"/>
                    </a:lnTo>
                    <a:lnTo>
                      <a:pt x="620" y="213"/>
                    </a:lnTo>
                    <a:lnTo>
                      <a:pt x="634" y="250"/>
                    </a:lnTo>
                    <a:lnTo>
                      <a:pt x="645" y="287"/>
                    </a:lnTo>
                    <a:lnTo>
                      <a:pt x="649" y="306"/>
                    </a:lnTo>
                    <a:lnTo>
                      <a:pt x="653" y="327"/>
                    </a:lnTo>
                    <a:lnTo>
                      <a:pt x="656" y="346"/>
                    </a:lnTo>
                    <a:lnTo>
                      <a:pt x="657" y="367"/>
                    </a:lnTo>
                    <a:lnTo>
                      <a:pt x="658" y="387"/>
                    </a:lnTo>
                    <a:lnTo>
                      <a:pt x="660" y="409"/>
                    </a:lnTo>
                    <a:lnTo>
                      <a:pt x="660" y="4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grpSp>
        <p:nvGrpSpPr>
          <p:cNvPr id="65606" name="Group 224"/>
          <p:cNvGrpSpPr>
            <a:grpSpLocks/>
          </p:cNvGrpSpPr>
          <p:nvPr/>
        </p:nvGrpSpPr>
        <p:grpSpPr bwMode="auto">
          <a:xfrm>
            <a:off x="3138488" y="5568950"/>
            <a:ext cx="268287" cy="268288"/>
            <a:chOff x="3205770" y="5184600"/>
            <a:chExt cx="267801" cy="267801"/>
          </a:xfrm>
        </p:grpSpPr>
        <p:sp>
          <p:nvSpPr>
            <p:cNvPr id="199" name="Oval 198">
              <a:extLst>
                <a:ext uri="{FF2B5EF4-FFF2-40B4-BE49-F238E27FC236}"/>
              </a:extLst>
            </p:cNvPr>
            <p:cNvSpPr/>
            <p:nvPr/>
          </p:nvSpPr>
          <p:spPr bwMode="ltGray">
            <a:xfrm>
              <a:off x="3205770" y="5184600"/>
              <a:ext cx="267801" cy="267801"/>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65639" name="Group 226"/>
            <p:cNvGrpSpPr>
              <a:grpSpLocks/>
            </p:cNvGrpSpPr>
            <p:nvPr/>
          </p:nvGrpSpPr>
          <p:grpSpPr bwMode="auto">
            <a:xfrm>
              <a:off x="3244019" y="5226480"/>
              <a:ext cx="191998" cy="170665"/>
              <a:chOff x="3259310" y="3529577"/>
              <a:chExt cx="385024" cy="364141"/>
            </a:xfrm>
          </p:grpSpPr>
          <p:sp>
            <p:nvSpPr>
              <p:cNvPr id="201" name="Freeform 1596">
                <a:extLst>
                  <a:ext uri="{FF2B5EF4-FFF2-40B4-BE49-F238E27FC236}"/>
                </a:extLst>
              </p:cNvPr>
              <p:cNvSpPr>
                <a:spLocks noEditPoints="1"/>
              </p:cNvSpPr>
              <p:nvPr/>
            </p:nvSpPr>
            <p:spPr bwMode="auto">
              <a:xfrm>
                <a:off x="3258874" y="3528127"/>
                <a:ext cx="184309" cy="365153"/>
              </a:xfrm>
              <a:custGeom>
                <a:avLst/>
                <a:gdLst>
                  <a:gd name="T0" fmla="*/ 78 w 284"/>
                  <a:gd name="T1" fmla="*/ 118 h 558"/>
                  <a:gd name="T2" fmla="*/ 68 w 284"/>
                  <a:gd name="T3" fmla="*/ 130 h 558"/>
                  <a:gd name="T4" fmla="*/ 2 w 284"/>
                  <a:gd name="T5" fmla="*/ 296 h 558"/>
                  <a:gd name="T6" fmla="*/ 6 w 284"/>
                  <a:gd name="T7" fmla="*/ 318 h 558"/>
                  <a:gd name="T8" fmla="*/ 12 w 284"/>
                  <a:gd name="T9" fmla="*/ 322 h 558"/>
                  <a:gd name="T10" fmla="*/ 34 w 284"/>
                  <a:gd name="T11" fmla="*/ 316 h 558"/>
                  <a:gd name="T12" fmla="*/ 84 w 284"/>
                  <a:gd name="T13" fmla="*/ 188 h 558"/>
                  <a:gd name="T14" fmla="*/ 90 w 284"/>
                  <a:gd name="T15" fmla="*/ 182 h 558"/>
                  <a:gd name="T16" fmla="*/ 94 w 284"/>
                  <a:gd name="T17" fmla="*/ 188 h 558"/>
                  <a:gd name="T18" fmla="*/ 82 w 284"/>
                  <a:gd name="T19" fmla="*/ 362 h 558"/>
                  <a:gd name="T20" fmla="*/ 84 w 284"/>
                  <a:gd name="T21" fmla="*/ 542 h 558"/>
                  <a:gd name="T22" fmla="*/ 108 w 284"/>
                  <a:gd name="T23" fmla="*/ 558 h 558"/>
                  <a:gd name="T24" fmla="*/ 118 w 284"/>
                  <a:gd name="T25" fmla="*/ 556 h 558"/>
                  <a:gd name="T26" fmla="*/ 134 w 284"/>
                  <a:gd name="T27" fmla="*/ 532 h 558"/>
                  <a:gd name="T28" fmla="*/ 150 w 284"/>
                  <a:gd name="T29" fmla="*/ 532 h 558"/>
                  <a:gd name="T30" fmla="*/ 156 w 284"/>
                  <a:gd name="T31" fmla="*/ 550 h 558"/>
                  <a:gd name="T32" fmla="*/ 176 w 284"/>
                  <a:gd name="T33" fmla="*/ 558 h 558"/>
                  <a:gd name="T34" fmla="*/ 194 w 284"/>
                  <a:gd name="T35" fmla="*/ 550 h 558"/>
                  <a:gd name="T36" fmla="*/ 202 w 284"/>
                  <a:gd name="T37" fmla="*/ 362 h 558"/>
                  <a:gd name="T38" fmla="*/ 188 w 284"/>
                  <a:gd name="T39" fmla="*/ 188 h 558"/>
                  <a:gd name="T40" fmla="*/ 190 w 284"/>
                  <a:gd name="T41" fmla="*/ 184 h 558"/>
                  <a:gd name="T42" fmla="*/ 196 w 284"/>
                  <a:gd name="T43" fmla="*/ 184 h 558"/>
                  <a:gd name="T44" fmla="*/ 246 w 284"/>
                  <a:gd name="T45" fmla="*/ 310 h 558"/>
                  <a:gd name="T46" fmla="*/ 264 w 284"/>
                  <a:gd name="T47" fmla="*/ 322 h 558"/>
                  <a:gd name="T48" fmla="*/ 270 w 284"/>
                  <a:gd name="T49" fmla="*/ 322 h 558"/>
                  <a:gd name="T50" fmla="*/ 284 w 284"/>
                  <a:gd name="T51" fmla="*/ 304 h 558"/>
                  <a:gd name="T52" fmla="*/ 218 w 284"/>
                  <a:gd name="T53" fmla="*/ 132 h 558"/>
                  <a:gd name="T54" fmla="*/ 210 w 284"/>
                  <a:gd name="T55" fmla="*/ 120 h 558"/>
                  <a:gd name="T56" fmla="*/ 198 w 284"/>
                  <a:gd name="T57" fmla="*/ 116 h 558"/>
                  <a:gd name="T58" fmla="*/ 102 w 284"/>
                  <a:gd name="T59" fmla="*/ 116 h 558"/>
                  <a:gd name="T60" fmla="*/ 142 w 284"/>
                  <a:gd name="T61" fmla="*/ 0 h 558"/>
                  <a:gd name="T62" fmla="*/ 162 w 284"/>
                  <a:gd name="T63" fmla="*/ 4 h 558"/>
                  <a:gd name="T64" fmla="*/ 186 w 284"/>
                  <a:gd name="T65" fmla="*/ 24 h 558"/>
                  <a:gd name="T66" fmla="*/ 194 w 284"/>
                  <a:gd name="T67" fmla="*/ 52 h 558"/>
                  <a:gd name="T68" fmla="*/ 190 w 284"/>
                  <a:gd name="T69" fmla="*/ 72 h 558"/>
                  <a:gd name="T70" fmla="*/ 170 w 284"/>
                  <a:gd name="T71" fmla="*/ 96 h 558"/>
                  <a:gd name="T72" fmla="*/ 142 w 284"/>
                  <a:gd name="T73" fmla="*/ 104 h 558"/>
                  <a:gd name="T74" fmla="*/ 122 w 284"/>
                  <a:gd name="T75" fmla="*/ 100 h 558"/>
                  <a:gd name="T76" fmla="*/ 98 w 284"/>
                  <a:gd name="T77" fmla="*/ 82 h 558"/>
                  <a:gd name="T78" fmla="*/ 90 w 284"/>
                  <a:gd name="T79" fmla="*/ 52 h 558"/>
                  <a:gd name="T80" fmla="*/ 94 w 284"/>
                  <a:gd name="T81" fmla="*/ 32 h 558"/>
                  <a:gd name="T82" fmla="*/ 112 w 284"/>
                  <a:gd name="T83" fmla="*/ 10 h 558"/>
                  <a:gd name="T84" fmla="*/ 142 w 284"/>
                  <a:gd name="T85"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4" h="558">
                    <a:moveTo>
                      <a:pt x="82" y="116"/>
                    </a:moveTo>
                    <a:lnTo>
                      <a:pt x="82" y="116"/>
                    </a:lnTo>
                    <a:lnTo>
                      <a:pt x="78" y="118"/>
                    </a:lnTo>
                    <a:lnTo>
                      <a:pt x="74" y="120"/>
                    </a:lnTo>
                    <a:lnTo>
                      <a:pt x="70" y="124"/>
                    </a:lnTo>
                    <a:lnTo>
                      <a:pt x="68" y="130"/>
                    </a:lnTo>
                    <a:lnTo>
                      <a:pt x="68" y="130"/>
                    </a:lnTo>
                    <a:lnTo>
                      <a:pt x="2" y="296"/>
                    </a:lnTo>
                    <a:lnTo>
                      <a:pt x="2" y="296"/>
                    </a:lnTo>
                    <a:lnTo>
                      <a:pt x="0" y="304"/>
                    </a:lnTo>
                    <a:lnTo>
                      <a:pt x="2" y="312"/>
                    </a:lnTo>
                    <a:lnTo>
                      <a:pt x="6" y="318"/>
                    </a:lnTo>
                    <a:lnTo>
                      <a:pt x="12" y="322"/>
                    </a:lnTo>
                    <a:lnTo>
                      <a:pt x="12" y="322"/>
                    </a:lnTo>
                    <a:lnTo>
                      <a:pt x="12" y="322"/>
                    </a:lnTo>
                    <a:lnTo>
                      <a:pt x="20" y="322"/>
                    </a:lnTo>
                    <a:lnTo>
                      <a:pt x="28" y="320"/>
                    </a:lnTo>
                    <a:lnTo>
                      <a:pt x="34" y="316"/>
                    </a:lnTo>
                    <a:lnTo>
                      <a:pt x="38" y="310"/>
                    </a:lnTo>
                    <a:lnTo>
                      <a:pt x="84" y="188"/>
                    </a:lnTo>
                    <a:lnTo>
                      <a:pt x="84" y="188"/>
                    </a:lnTo>
                    <a:lnTo>
                      <a:pt x="86" y="184"/>
                    </a:lnTo>
                    <a:lnTo>
                      <a:pt x="90" y="182"/>
                    </a:lnTo>
                    <a:lnTo>
                      <a:pt x="90" y="182"/>
                    </a:lnTo>
                    <a:lnTo>
                      <a:pt x="94" y="184"/>
                    </a:lnTo>
                    <a:lnTo>
                      <a:pt x="94" y="186"/>
                    </a:lnTo>
                    <a:lnTo>
                      <a:pt x="94" y="188"/>
                    </a:lnTo>
                    <a:lnTo>
                      <a:pt x="36" y="360"/>
                    </a:lnTo>
                    <a:lnTo>
                      <a:pt x="80" y="362"/>
                    </a:lnTo>
                    <a:lnTo>
                      <a:pt x="82" y="362"/>
                    </a:lnTo>
                    <a:lnTo>
                      <a:pt x="82" y="532"/>
                    </a:lnTo>
                    <a:lnTo>
                      <a:pt x="82" y="532"/>
                    </a:lnTo>
                    <a:lnTo>
                      <a:pt x="84" y="542"/>
                    </a:lnTo>
                    <a:lnTo>
                      <a:pt x="90" y="550"/>
                    </a:lnTo>
                    <a:lnTo>
                      <a:pt x="98" y="556"/>
                    </a:lnTo>
                    <a:lnTo>
                      <a:pt x="108" y="558"/>
                    </a:lnTo>
                    <a:lnTo>
                      <a:pt x="108" y="558"/>
                    </a:lnTo>
                    <a:lnTo>
                      <a:pt x="108" y="558"/>
                    </a:lnTo>
                    <a:lnTo>
                      <a:pt x="118" y="556"/>
                    </a:lnTo>
                    <a:lnTo>
                      <a:pt x="126" y="550"/>
                    </a:lnTo>
                    <a:lnTo>
                      <a:pt x="132" y="542"/>
                    </a:lnTo>
                    <a:lnTo>
                      <a:pt x="134" y="532"/>
                    </a:lnTo>
                    <a:lnTo>
                      <a:pt x="134" y="362"/>
                    </a:lnTo>
                    <a:lnTo>
                      <a:pt x="150" y="362"/>
                    </a:lnTo>
                    <a:lnTo>
                      <a:pt x="150" y="532"/>
                    </a:lnTo>
                    <a:lnTo>
                      <a:pt x="150" y="532"/>
                    </a:lnTo>
                    <a:lnTo>
                      <a:pt x="152" y="542"/>
                    </a:lnTo>
                    <a:lnTo>
                      <a:pt x="156" y="550"/>
                    </a:lnTo>
                    <a:lnTo>
                      <a:pt x="166" y="556"/>
                    </a:lnTo>
                    <a:lnTo>
                      <a:pt x="176" y="558"/>
                    </a:lnTo>
                    <a:lnTo>
                      <a:pt x="176" y="558"/>
                    </a:lnTo>
                    <a:lnTo>
                      <a:pt x="176" y="558"/>
                    </a:lnTo>
                    <a:lnTo>
                      <a:pt x="186" y="556"/>
                    </a:lnTo>
                    <a:lnTo>
                      <a:pt x="194" y="550"/>
                    </a:lnTo>
                    <a:lnTo>
                      <a:pt x="200" y="542"/>
                    </a:lnTo>
                    <a:lnTo>
                      <a:pt x="202" y="532"/>
                    </a:lnTo>
                    <a:lnTo>
                      <a:pt x="202" y="362"/>
                    </a:lnTo>
                    <a:lnTo>
                      <a:pt x="202" y="362"/>
                    </a:lnTo>
                    <a:lnTo>
                      <a:pt x="248" y="360"/>
                    </a:lnTo>
                    <a:lnTo>
                      <a:pt x="188" y="188"/>
                    </a:lnTo>
                    <a:lnTo>
                      <a:pt x="188" y="188"/>
                    </a:lnTo>
                    <a:lnTo>
                      <a:pt x="188" y="186"/>
                    </a:lnTo>
                    <a:lnTo>
                      <a:pt x="190" y="184"/>
                    </a:lnTo>
                    <a:lnTo>
                      <a:pt x="194" y="182"/>
                    </a:lnTo>
                    <a:lnTo>
                      <a:pt x="194" y="182"/>
                    </a:lnTo>
                    <a:lnTo>
                      <a:pt x="196" y="184"/>
                    </a:lnTo>
                    <a:lnTo>
                      <a:pt x="198" y="188"/>
                    </a:lnTo>
                    <a:lnTo>
                      <a:pt x="246" y="310"/>
                    </a:lnTo>
                    <a:lnTo>
                      <a:pt x="246" y="310"/>
                    </a:lnTo>
                    <a:lnTo>
                      <a:pt x="250" y="316"/>
                    </a:lnTo>
                    <a:lnTo>
                      <a:pt x="256" y="320"/>
                    </a:lnTo>
                    <a:lnTo>
                      <a:pt x="264" y="322"/>
                    </a:lnTo>
                    <a:lnTo>
                      <a:pt x="270" y="322"/>
                    </a:lnTo>
                    <a:lnTo>
                      <a:pt x="270" y="322"/>
                    </a:lnTo>
                    <a:lnTo>
                      <a:pt x="270" y="322"/>
                    </a:lnTo>
                    <a:lnTo>
                      <a:pt x="278" y="318"/>
                    </a:lnTo>
                    <a:lnTo>
                      <a:pt x="282" y="312"/>
                    </a:lnTo>
                    <a:lnTo>
                      <a:pt x="284" y="304"/>
                    </a:lnTo>
                    <a:lnTo>
                      <a:pt x="282" y="296"/>
                    </a:lnTo>
                    <a:lnTo>
                      <a:pt x="282" y="296"/>
                    </a:lnTo>
                    <a:lnTo>
                      <a:pt x="218" y="132"/>
                    </a:lnTo>
                    <a:lnTo>
                      <a:pt x="218" y="132"/>
                    </a:lnTo>
                    <a:lnTo>
                      <a:pt x="216" y="126"/>
                    </a:lnTo>
                    <a:lnTo>
                      <a:pt x="210" y="120"/>
                    </a:lnTo>
                    <a:lnTo>
                      <a:pt x="204" y="118"/>
                    </a:lnTo>
                    <a:lnTo>
                      <a:pt x="198" y="116"/>
                    </a:lnTo>
                    <a:lnTo>
                      <a:pt x="198" y="116"/>
                    </a:lnTo>
                    <a:lnTo>
                      <a:pt x="198" y="116"/>
                    </a:lnTo>
                    <a:lnTo>
                      <a:pt x="138" y="116"/>
                    </a:lnTo>
                    <a:lnTo>
                      <a:pt x="102" y="116"/>
                    </a:lnTo>
                    <a:lnTo>
                      <a:pt x="82" y="116"/>
                    </a:lnTo>
                    <a:lnTo>
                      <a:pt x="82" y="116"/>
                    </a:lnTo>
                    <a:close/>
                    <a:moveTo>
                      <a:pt x="142" y="0"/>
                    </a:moveTo>
                    <a:lnTo>
                      <a:pt x="142" y="0"/>
                    </a:lnTo>
                    <a:lnTo>
                      <a:pt x="152" y="2"/>
                    </a:lnTo>
                    <a:lnTo>
                      <a:pt x="162" y="4"/>
                    </a:lnTo>
                    <a:lnTo>
                      <a:pt x="170" y="10"/>
                    </a:lnTo>
                    <a:lnTo>
                      <a:pt x="178" y="16"/>
                    </a:lnTo>
                    <a:lnTo>
                      <a:pt x="186" y="24"/>
                    </a:lnTo>
                    <a:lnTo>
                      <a:pt x="190" y="32"/>
                    </a:lnTo>
                    <a:lnTo>
                      <a:pt x="192" y="42"/>
                    </a:lnTo>
                    <a:lnTo>
                      <a:pt x="194" y="52"/>
                    </a:lnTo>
                    <a:lnTo>
                      <a:pt x="194" y="52"/>
                    </a:lnTo>
                    <a:lnTo>
                      <a:pt x="192" y="62"/>
                    </a:lnTo>
                    <a:lnTo>
                      <a:pt x="190" y="72"/>
                    </a:lnTo>
                    <a:lnTo>
                      <a:pt x="186" y="82"/>
                    </a:lnTo>
                    <a:lnTo>
                      <a:pt x="178" y="90"/>
                    </a:lnTo>
                    <a:lnTo>
                      <a:pt x="170" y="96"/>
                    </a:lnTo>
                    <a:lnTo>
                      <a:pt x="162" y="100"/>
                    </a:lnTo>
                    <a:lnTo>
                      <a:pt x="152" y="104"/>
                    </a:lnTo>
                    <a:lnTo>
                      <a:pt x="142" y="104"/>
                    </a:lnTo>
                    <a:lnTo>
                      <a:pt x="142" y="104"/>
                    </a:lnTo>
                    <a:lnTo>
                      <a:pt x="132" y="104"/>
                    </a:lnTo>
                    <a:lnTo>
                      <a:pt x="122" y="100"/>
                    </a:lnTo>
                    <a:lnTo>
                      <a:pt x="112" y="96"/>
                    </a:lnTo>
                    <a:lnTo>
                      <a:pt x="104" y="90"/>
                    </a:lnTo>
                    <a:lnTo>
                      <a:pt x="98" y="82"/>
                    </a:lnTo>
                    <a:lnTo>
                      <a:pt x="94" y="72"/>
                    </a:lnTo>
                    <a:lnTo>
                      <a:pt x="90" y="62"/>
                    </a:lnTo>
                    <a:lnTo>
                      <a:pt x="90" y="52"/>
                    </a:lnTo>
                    <a:lnTo>
                      <a:pt x="90" y="52"/>
                    </a:lnTo>
                    <a:lnTo>
                      <a:pt x="90" y="42"/>
                    </a:lnTo>
                    <a:lnTo>
                      <a:pt x="94" y="32"/>
                    </a:lnTo>
                    <a:lnTo>
                      <a:pt x="98" y="24"/>
                    </a:lnTo>
                    <a:lnTo>
                      <a:pt x="104" y="16"/>
                    </a:lnTo>
                    <a:lnTo>
                      <a:pt x="112" y="10"/>
                    </a:lnTo>
                    <a:lnTo>
                      <a:pt x="122" y="4"/>
                    </a:lnTo>
                    <a:lnTo>
                      <a:pt x="132" y="2"/>
                    </a:lnTo>
                    <a:lnTo>
                      <a:pt x="142" y="0"/>
                    </a:lnTo>
                    <a:lnTo>
                      <a:pt x="142" y="0"/>
                    </a:lnTo>
                    <a:close/>
                  </a:path>
                </a:pathLst>
              </a:custGeom>
              <a:solidFill>
                <a:srgbClr val="FFFFFF"/>
              </a:solidFill>
              <a:ln>
                <a:noFill/>
              </a:ln>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sp>
            <p:nvSpPr>
              <p:cNvPr id="202" name="Freeform 1597">
                <a:extLst>
                  <a:ext uri="{FF2B5EF4-FFF2-40B4-BE49-F238E27FC236}"/>
                </a:extLst>
              </p:cNvPr>
              <p:cNvSpPr>
                <a:spLocks noEditPoints="1"/>
              </p:cNvSpPr>
              <p:nvPr/>
            </p:nvSpPr>
            <p:spPr bwMode="auto">
              <a:xfrm>
                <a:off x="3452715" y="3643082"/>
                <a:ext cx="190664" cy="250197"/>
              </a:xfrm>
              <a:custGeom>
                <a:avLst/>
                <a:gdLst>
                  <a:gd name="T0" fmla="*/ 160 w 292"/>
                  <a:gd name="T1" fmla="*/ 0 h 382"/>
                  <a:gd name="T2" fmla="*/ 202 w 292"/>
                  <a:gd name="T3" fmla="*/ 12 h 382"/>
                  <a:gd name="T4" fmla="*/ 238 w 292"/>
                  <a:gd name="T5" fmla="*/ 34 h 382"/>
                  <a:gd name="T6" fmla="*/ 266 w 292"/>
                  <a:gd name="T7" fmla="*/ 64 h 382"/>
                  <a:gd name="T8" fmla="*/ 286 w 292"/>
                  <a:gd name="T9" fmla="*/ 102 h 382"/>
                  <a:gd name="T10" fmla="*/ 292 w 292"/>
                  <a:gd name="T11" fmla="*/ 146 h 382"/>
                  <a:gd name="T12" fmla="*/ 288 w 292"/>
                  <a:gd name="T13" fmla="*/ 176 h 382"/>
                  <a:gd name="T14" fmla="*/ 274 w 292"/>
                  <a:gd name="T15" fmla="*/ 216 h 382"/>
                  <a:gd name="T16" fmla="*/ 248 w 292"/>
                  <a:gd name="T17" fmla="*/ 250 h 382"/>
                  <a:gd name="T18" fmla="*/ 216 w 292"/>
                  <a:gd name="T19" fmla="*/ 274 h 382"/>
                  <a:gd name="T20" fmla="*/ 174 w 292"/>
                  <a:gd name="T21" fmla="*/ 290 h 382"/>
                  <a:gd name="T22" fmla="*/ 146 w 292"/>
                  <a:gd name="T23" fmla="*/ 292 h 382"/>
                  <a:gd name="T24" fmla="*/ 102 w 292"/>
                  <a:gd name="T25" fmla="*/ 286 h 382"/>
                  <a:gd name="T26" fmla="*/ 64 w 292"/>
                  <a:gd name="T27" fmla="*/ 268 h 382"/>
                  <a:gd name="T28" fmla="*/ 32 w 292"/>
                  <a:gd name="T29" fmla="*/ 238 h 382"/>
                  <a:gd name="T30" fmla="*/ 10 w 292"/>
                  <a:gd name="T31" fmla="*/ 202 h 382"/>
                  <a:gd name="T32" fmla="*/ 0 w 292"/>
                  <a:gd name="T33" fmla="*/ 160 h 382"/>
                  <a:gd name="T34" fmla="*/ 146 w 292"/>
                  <a:gd name="T35" fmla="*/ 0 h 382"/>
                  <a:gd name="T36" fmla="*/ 206 w 292"/>
                  <a:gd name="T37" fmla="*/ 296 h 382"/>
                  <a:gd name="T38" fmla="*/ 230 w 292"/>
                  <a:gd name="T39" fmla="*/ 302 h 382"/>
                  <a:gd name="T40" fmla="*/ 246 w 292"/>
                  <a:gd name="T41" fmla="*/ 322 h 382"/>
                  <a:gd name="T42" fmla="*/ 248 w 292"/>
                  <a:gd name="T43" fmla="*/ 338 h 382"/>
                  <a:gd name="T44" fmla="*/ 242 w 292"/>
                  <a:gd name="T45" fmla="*/ 362 h 382"/>
                  <a:gd name="T46" fmla="*/ 222 w 292"/>
                  <a:gd name="T47" fmla="*/ 378 h 382"/>
                  <a:gd name="T48" fmla="*/ 206 w 292"/>
                  <a:gd name="T49" fmla="*/ 382 h 382"/>
                  <a:gd name="T50" fmla="*/ 182 w 292"/>
                  <a:gd name="T51" fmla="*/ 374 h 382"/>
                  <a:gd name="T52" fmla="*/ 166 w 292"/>
                  <a:gd name="T53" fmla="*/ 356 h 382"/>
                  <a:gd name="T54" fmla="*/ 162 w 292"/>
                  <a:gd name="T55" fmla="*/ 338 h 382"/>
                  <a:gd name="T56" fmla="*/ 170 w 292"/>
                  <a:gd name="T57" fmla="*/ 314 h 382"/>
                  <a:gd name="T58" fmla="*/ 190 w 292"/>
                  <a:gd name="T59" fmla="*/ 298 h 382"/>
                  <a:gd name="T60" fmla="*/ 206 w 292"/>
                  <a:gd name="T61" fmla="*/ 296 h 382"/>
                  <a:gd name="T62" fmla="*/ 70 w 292"/>
                  <a:gd name="T63" fmla="*/ 296 h 382"/>
                  <a:gd name="T64" fmla="*/ 92 w 292"/>
                  <a:gd name="T65" fmla="*/ 308 h 382"/>
                  <a:gd name="T66" fmla="*/ 104 w 292"/>
                  <a:gd name="T67" fmla="*/ 330 h 382"/>
                  <a:gd name="T68" fmla="*/ 104 w 292"/>
                  <a:gd name="T69" fmla="*/ 346 h 382"/>
                  <a:gd name="T70" fmla="*/ 92 w 292"/>
                  <a:gd name="T71" fmla="*/ 368 h 382"/>
                  <a:gd name="T72" fmla="*/ 70 w 292"/>
                  <a:gd name="T73" fmla="*/ 380 h 382"/>
                  <a:gd name="T74" fmla="*/ 52 w 292"/>
                  <a:gd name="T75" fmla="*/ 380 h 382"/>
                  <a:gd name="T76" fmla="*/ 30 w 292"/>
                  <a:gd name="T77" fmla="*/ 368 h 382"/>
                  <a:gd name="T78" fmla="*/ 20 w 292"/>
                  <a:gd name="T79" fmla="*/ 346 h 382"/>
                  <a:gd name="T80" fmla="*/ 20 w 292"/>
                  <a:gd name="T81" fmla="*/ 330 h 382"/>
                  <a:gd name="T82" fmla="*/ 30 w 292"/>
                  <a:gd name="T83" fmla="*/ 308 h 382"/>
                  <a:gd name="T84" fmla="*/ 52 w 292"/>
                  <a:gd name="T85" fmla="*/ 29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382">
                    <a:moveTo>
                      <a:pt x="146" y="0"/>
                    </a:moveTo>
                    <a:lnTo>
                      <a:pt x="146" y="0"/>
                    </a:lnTo>
                    <a:lnTo>
                      <a:pt x="160" y="0"/>
                    </a:lnTo>
                    <a:lnTo>
                      <a:pt x="174" y="2"/>
                    </a:lnTo>
                    <a:lnTo>
                      <a:pt x="188" y="6"/>
                    </a:lnTo>
                    <a:lnTo>
                      <a:pt x="202" y="12"/>
                    </a:lnTo>
                    <a:lnTo>
                      <a:pt x="216" y="18"/>
                    </a:lnTo>
                    <a:lnTo>
                      <a:pt x="228" y="24"/>
                    </a:lnTo>
                    <a:lnTo>
                      <a:pt x="238" y="34"/>
                    </a:lnTo>
                    <a:lnTo>
                      <a:pt x="248" y="42"/>
                    </a:lnTo>
                    <a:lnTo>
                      <a:pt x="258" y="52"/>
                    </a:lnTo>
                    <a:lnTo>
                      <a:pt x="266" y="64"/>
                    </a:lnTo>
                    <a:lnTo>
                      <a:pt x="274" y="76"/>
                    </a:lnTo>
                    <a:lnTo>
                      <a:pt x="280" y="88"/>
                    </a:lnTo>
                    <a:lnTo>
                      <a:pt x="286" y="102"/>
                    </a:lnTo>
                    <a:lnTo>
                      <a:pt x="288" y="116"/>
                    </a:lnTo>
                    <a:lnTo>
                      <a:pt x="292" y="130"/>
                    </a:lnTo>
                    <a:lnTo>
                      <a:pt x="292" y="146"/>
                    </a:lnTo>
                    <a:lnTo>
                      <a:pt x="292" y="146"/>
                    </a:lnTo>
                    <a:lnTo>
                      <a:pt x="292" y="160"/>
                    </a:lnTo>
                    <a:lnTo>
                      <a:pt x="288" y="176"/>
                    </a:lnTo>
                    <a:lnTo>
                      <a:pt x="286" y="190"/>
                    </a:lnTo>
                    <a:lnTo>
                      <a:pt x="280" y="202"/>
                    </a:lnTo>
                    <a:lnTo>
                      <a:pt x="274" y="216"/>
                    </a:lnTo>
                    <a:lnTo>
                      <a:pt x="266" y="228"/>
                    </a:lnTo>
                    <a:lnTo>
                      <a:pt x="258" y="238"/>
                    </a:lnTo>
                    <a:lnTo>
                      <a:pt x="248" y="250"/>
                    </a:lnTo>
                    <a:lnTo>
                      <a:pt x="238" y="258"/>
                    </a:lnTo>
                    <a:lnTo>
                      <a:pt x="228" y="268"/>
                    </a:lnTo>
                    <a:lnTo>
                      <a:pt x="216" y="274"/>
                    </a:lnTo>
                    <a:lnTo>
                      <a:pt x="202" y="280"/>
                    </a:lnTo>
                    <a:lnTo>
                      <a:pt x="188" y="286"/>
                    </a:lnTo>
                    <a:lnTo>
                      <a:pt x="174" y="290"/>
                    </a:lnTo>
                    <a:lnTo>
                      <a:pt x="160" y="292"/>
                    </a:lnTo>
                    <a:lnTo>
                      <a:pt x="146" y="292"/>
                    </a:lnTo>
                    <a:lnTo>
                      <a:pt x="146" y="292"/>
                    </a:lnTo>
                    <a:lnTo>
                      <a:pt x="130" y="292"/>
                    </a:lnTo>
                    <a:lnTo>
                      <a:pt x="116" y="290"/>
                    </a:lnTo>
                    <a:lnTo>
                      <a:pt x="102" y="286"/>
                    </a:lnTo>
                    <a:lnTo>
                      <a:pt x="88" y="280"/>
                    </a:lnTo>
                    <a:lnTo>
                      <a:pt x="76" y="274"/>
                    </a:lnTo>
                    <a:lnTo>
                      <a:pt x="64" y="268"/>
                    </a:lnTo>
                    <a:lnTo>
                      <a:pt x="52" y="258"/>
                    </a:lnTo>
                    <a:lnTo>
                      <a:pt x="42" y="250"/>
                    </a:lnTo>
                    <a:lnTo>
                      <a:pt x="32" y="238"/>
                    </a:lnTo>
                    <a:lnTo>
                      <a:pt x="24" y="228"/>
                    </a:lnTo>
                    <a:lnTo>
                      <a:pt x="16" y="216"/>
                    </a:lnTo>
                    <a:lnTo>
                      <a:pt x="10" y="202"/>
                    </a:lnTo>
                    <a:lnTo>
                      <a:pt x="6" y="190"/>
                    </a:lnTo>
                    <a:lnTo>
                      <a:pt x="2" y="176"/>
                    </a:lnTo>
                    <a:lnTo>
                      <a:pt x="0" y="160"/>
                    </a:lnTo>
                    <a:lnTo>
                      <a:pt x="0" y="146"/>
                    </a:lnTo>
                    <a:lnTo>
                      <a:pt x="146" y="146"/>
                    </a:lnTo>
                    <a:lnTo>
                      <a:pt x="146" y="0"/>
                    </a:lnTo>
                    <a:lnTo>
                      <a:pt x="146" y="0"/>
                    </a:lnTo>
                    <a:close/>
                    <a:moveTo>
                      <a:pt x="206" y="296"/>
                    </a:moveTo>
                    <a:lnTo>
                      <a:pt x="206" y="296"/>
                    </a:lnTo>
                    <a:lnTo>
                      <a:pt x="214" y="296"/>
                    </a:lnTo>
                    <a:lnTo>
                      <a:pt x="222" y="298"/>
                    </a:lnTo>
                    <a:lnTo>
                      <a:pt x="230" y="302"/>
                    </a:lnTo>
                    <a:lnTo>
                      <a:pt x="236" y="308"/>
                    </a:lnTo>
                    <a:lnTo>
                      <a:pt x="242" y="314"/>
                    </a:lnTo>
                    <a:lnTo>
                      <a:pt x="246" y="322"/>
                    </a:lnTo>
                    <a:lnTo>
                      <a:pt x="248" y="330"/>
                    </a:lnTo>
                    <a:lnTo>
                      <a:pt x="248" y="338"/>
                    </a:lnTo>
                    <a:lnTo>
                      <a:pt x="248" y="338"/>
                    </a:lnTo>
                    <a:lnTo>
                      <a:pt x="248" y="346"/>
                    </a:lnTo>
                    <a:lnTo>
                      <a:pt x="246" y="356"/>
                    </a:lnTo>
                    <a:lnTo>
                      <a:pt x="242" y="362"/>
                    </a:lnTo>
                    <a:lnTo>
                      <a:pt x="236" y="368"/>
                    </a:lnTo>
                    <a:lnTo>
                      <a:pt x="230" y="374"/>
                    </a:lnTo>
                    <a:lnTo>
                      <a:pt x="222" y="378"/>
                    </a:lnTo>
                    <a:lnTo>
                      <a:pt x="214" y="380"/>
                    </a:lnTo>
                    <a:lnTo>
                      <a:pt x="206" y="382"/>
                    </a:lnTo>
                    <a:lnTo>
                      <a:pt x="206" y="382"/>
                    </a:lnTo>
                    <a:lnTo>
                      <a:pt x="198" y="380"/>
                    </a:lnTo>
                    <a:lnTo>
                      <a:pt x="190" y="378"/>
                    </a:lnTo>
                    <a:lnTo>
                      <a:pt x="182" y="374"/>
                    </a:lnTo>
                    <a:lnTo>
                      <a:pt x="176" y="368"/>
                    </a:lnTo>
                    <a:lnTo>
                      <a:pt x="170" y="362"/>
                    </a:lnTo>
                    <a:lnTo>
                      <a:pt x="166" y="356"/>
                    </a:lnTo>
                    <a:lnTo>
                      <a:pt x="164" y="346"/>
                    </a:lnTo>
                    <a:lnTo>
                      <a:pt x="162" y="338"/>
                    </a:lnTo>
                    <a:lnTo>
                      <a:pt x="162" y="338"/>
                    </a:lnTo>
                    <a:lnTo>
                      <a:pt x="164" y="330"/>
                    </a:lnTo>
                    <a:lnTo>
                      <a:pt x="166" y="322"/>
                    </a:lnTo>
                    <a:lnTo>
                      <a:pt x="170" y="314"/>
                    </a:lnTo>
                    <a:lnTo>
                      <a:pt x="176" y="308"/>
                    </a:lnTo>
                    <a:lnTo>
                      <a:pt x="182" y="302"/>
                    </a:lnTo>
                    <a:lnTo>
                      <a:pt x="190" y="298"/>
                    </a:lnTo>
                    <a:lnTo>
                      <a:pt x="198" y="296"/>
                    </a:lnTo>
                    <a:lnTo>
                      <a:pt x="206" y="296"/>
                    </a:lnTo>
                    <a:lnTo>
                      <a:pt x="206" y="296"/>
                    </a:lnTo>
                    <a:close/>
                    <a:moveTo>
                      <a:pt x="62" y="296"/>
                    </a:moveTo>
                    <a:lnTo>
                      <a:pt x="62" y="296"/>
                    </a:lnTo>
                    <a:lnTo>
                      <a:pt x="70" y="296"/>
                    </a:lnTo>
                    <a:lnTo>
                      <a:pt x="78" y="298"/>
                    </a:lnTo>
                    <a:lnTo>
                      <a:pt x="86" y="302"/>
                    </a:lnTo>
                    <a:lnTo>
                      <a:pt x="92" y="308"/>
                    </a:lnTo>
                    <a:lnTo>
                      <a:pt x="96" y="314"/>
                    </a:lnTo>
                    <a:lnTo>
                      <a:pt x="100" y="322"/>
                    </a:lnTo>
                    <a:lnTo>
                      <a:pt x="104" y="330"/>
                    </a:lnTo>
                    <a:lnTo>
                      <a:pt x="104" y="338"/>
                    </a:lnTo>
                    <a:lnTo>
                      <a:pt x="104" y="338"/>
                    </a:lnTo>
                    <a:lnTo>
                      <a:pt x="104" y="346"/>
                    </a:lnTo>
                    <a:lnTo>
                      <a:pt x="100" y="356"/>
                    </a:lnTo>
                    <a:lnTo>
                      <a:pt x="96" y="362"/>
                    </a:lnTo>
                    <a:lnTo>
                      <a:pt x="92" y="368"/>
                    </a:lnTo>
                    <a:lnTo>
                      <a:pt x="86" y="374"/>
                    </a:lnTo>
                    <a:lnTo>
                      <a:pt x="78" y="378"/>
                    </a:lnTo>
                    <a:lnTo>
                      <a:pt x="70" y="380"/>
                    </a:lnTo>
                    <a:lnTo>
                      <a:pt x="62" y="382"/>
                    </a:lnTo>
                    <a:lnTo>
                      <a:pt x="62" y="382"/>
                    </a:lnTo>
                    <a:lnTo>
                      <a:pt x="52" y="380"/>
                    </a:lnTo>
                    <a:lnTo>
                      <a:pt x="44" y="378"/>
                    </a:lnTo>
                    <a:lnTo>
                      <a:pt x="38" y="374"/>
                    </a:lnTo>
                    <a:lnTo>
                      <a:pt x="30" y="368"/>
                    </a:lnTo>
                    <a:lnTo>
                      <a:pt x="26" y="362"/>
                    </a:lnTo>
                    <a:lnTo>
                      <a:pt x="22" y="356"/>
                    </a:lnTo>
                    <a:lnTo>
                      <a:pt x="20" y="346"/>
                    </a:lnTo>
                    <a:lnTo>
                      <a:pt x="18" y="338"/>
                    </a:lnTo>
                    <a:lnTo>
                      <a:pt x="18" y="338"/>
                    </a:lnTo>
                    <a:lnTo>
                      <a:pt x="20" y="330"/>
                    </a:lnTo>
                    <a:lnTo>
                      <a:pt x="22" y="322"/>
                    </a:lnTo>
                    <a:lnTo>
                      <a:pt x="26" y="314"/>
                    </a:lnTo>
                    <a:lnTo>
                      <a:pt x="30" y="308"/>
                    </a:lnTo>
                    <a:lnTo>
                      <a:pt x="38" y="302"/>
                    </a:lnTo>
                    <a:lnTo>
                      <a:pt x="44" y="298"/>
                    </a:lnTo>
                    <a:lnTo>
                      <a:pt x="52" y="296"/>
                    </a:lnTo>
                    <a:lnTo>
                      <a:pt x="62" y="296"/>
                    </a:lnTo>
                    <a:lnTo>
                      <a:pt x="62" y="296"/>
                    </a:lnTo>
                    <a:close/>
                  </a:path>
                </a:pathLst>
              </a:custGeom>
              <a:solidFill>
                <a:srgbClr val="FFFFFF"/>
              </a:solidFill>
              <a:ln>
                <a:noFill/>
              </a:ln>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grpSp>
        <p:nvGrpSpPr>
          <p:cNvPr id="65607" name="Group 229"/>
          <p:cNvGrpSpPr>
            <a:grpSpLocks/>
          </p:cNvGrpSpPr>
          <p:nvPr/>
        </p:nvGrpSpPr>
        <p:grpSpPr bwMode="auto">
          <a:xfrm>
            <a:off x="4573588" y="4192588"/>
            <a:ext cx="252412" cy="252412"/>
            <a:chOff x="4646522" y="1681560"/>
            <a:chExt cx="365760" cy="365760"/>
          </a:xfrm>
        </p:grpSpPr>
        <p:sp>
          <p:nvSpPr>
            <p:cNvPr id="204" name="Oval 203">
              <a:extLst>
                <a:ext uri="{FF2B5EF4-FFF2-40B4-BE49-F238E27FC236}"/>
              </a:extLst>
            </p:cNvPr>
            <p:cNvSpPr/>
            <p:nvPr/>
          </p:nvSpPr>
          <p:spPr bwMode="ltGray">
            <a:xfrm>
              <a:off x="4646522" y="1681560"/>
              <a:ext cx="365760" cy="365760"/>
            </a:xfrm>
            <a:prstGeom prst="ellipse">
              <a:avLst/>
            </a:prstGeom>
            <a:solidFill>
              <a:srgbClr val="F0B323"/>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205" name="Group 204">
              <a:extLst>
                <a:ext uri="{FF2B5EF4-FFF2-40B4-BE49-F238E27FC236}"/>
              </a:extLst>
            </p:cNvPr>
            <p:cNvGrpSpPr/>
            <p:nvPr/>
          </p:nvGrpSpPr>
          <p:grpSpPr>
            <a:xfrm>
              <a:off x="4664359" y="1776712"/>
              <a:ext cx="324000" cy="180000"/>
              <a:chOff x="9528990" y="3393723"/>
              <a:chExt cx="1699610" cy="938783"/>
            </a:xfrm>
            <a:solidFill>
              <a:srgbClr val="FFFFFF"/>
            </a:solidFill>
          </p:grpSpPr>
          <p:sp>
            <p:nvSpPr>
              <p:cNvPr id="206" name="Freeform 1317">
                <a:extLst>
                  <a:ext uri="{FF2B5EF4-FFF2-40B4-BE49-F238E27FC236}"/>
                </a:extLst>
              </p:cNvPr>
              <p:cNvSpPr>
                <a:spLocks noEditPoints="1"/>
              </p:cNvSpPr>
              <p:nvPr/>
            </p:nvSpPr>
            <p:spPr bwMode="auto">
              <a:xfrm>
                <a:off x="9528990" y="3393723"/>
                <a:ext cx="1699610" cy="938783"/>
              </a:xfrm>
              <a:custGeom>
                <a:avLst/>
                <a:gdLst/>
                <a:ahLst/>
                <a:cxnLst>
                  <a:cxn ang="0">
                    <a:pos x="184" y="379"/>
                  </a:cxn>
                  <a:cxn ang="0">
                    <a:pos x="247" y="441"/>
                  </a:cxn>
                  <a:cxn ang="0">
                    <a:pos x="184" y="503"/>
                  </a:cxn>
                  <a:cxn ang="0">
                    <a:pos x="122" y="441"/>
                  </a:cxn>
                  <a:cxn ang="0">
                    <a:pos x="184" y="379"/>
                  </a:cxn>
                  <a:cxn ang="0">
                    <a:pos x="662" y="379"/>
                  </a:cxn>
                  <a:cxn ang="0">
                    <a:pos x="724" y="441"/>
                  </a:cxn>
                  <a:cxn ang="0">
                    <a:pos x="662" y="503"/>
                  </a:cxn>
                  <a:cxn ang="0">
                    <a:pos x="599" y="441"/>
                  </a:cxn>
                  <a:cxn ang="0">
                    <a:pos x="662" y="379"/>
                  </a:cxn>
                  <a:cxn ang="0">
                    <a:pos x="684" y="89"/>
                  </a:cxn>
                  <a:cxn ang="0">
                    <a:pos x="640" y="89"/>
                  </a:cxn>
                  <a:cxn ang="0">
                    <a:pos x="640" y="153"/>
                  </a:cxn>
                  <a:cxn ang="0">
                    <a:pos x="576" y="153"/>
                  </a:cxn>
                  <a:cxn ang="0">
                    <a:pos x="576" y="197"/>
                  </a:cxn>
                  <a:cxn ang="0">
                    <a:pos x="640" y="197"/>
                  </a:cxn>
                  <a:cxn ang="0">
                    <a:pos x="640" y="261"/>
                  </a:cxn>
                  <a:cxn ang="0">
                    <a:pos x="684" y="261"/>
                  </a:cxn>
                  <a:cxn ang="0">
                    <a:pos x="684" y="197"/>
                  </a:cxn>
                  <a:cxn ang="0">
                    <a:pos x="748" y="197"/>
                  </a:cxn>
                  <a:cxn ang="0">
                    <a:pos x="748" y="153"/>
                  </a:cxn>
                  <a:cxn ang="0">
                    <a:pos x="684" y="153"/>
                  </a:cxn>
                  <a:cxn ang="0">
                    <a:pos x="684" y="89"/>
                  </a:cxn>
                  <a:cxn ang="0">
                    <a:pos x="801" y="0"/>
                  </a:cxn>
                  <a:cxn ang="0">
                    <a:pos x="296" y="0"/>
                  </a:cxn>
                  <a:cxn ang="0">
                    <a:pos x="280" y="6"/>
                  </a:cxn>
                  <a:cxn ang="0">
                    <a:pos x="122" y="165"/>
                  </a:cxn>
                  <a:cxn ang="0">
                    <a:pos x="27" y="196"/>
                  </a:cxn>
                  <a:cxn ang="0">
                    <a:pos x="25" y="197"/>
                  </a:cxn>
                  <a:cxn ang="0">
                    <a:pos x="0" y="235"/>
                  </a:cxn>
                  <a:cxn ang="0">
                    <a:pos x="0" y="403"/>
                  </a:cxn>
                  <a:cxn ang="0">
                    <a:pos x="42" y="444"/>
                  </a:cxn>
                  <a:cxn ang="0">
                    <a:pos x="79" y="444"/>
                  </a:cxn>
                  <a:cxn ang="0">
                    <a:pos x="79" y="441"/>
                  </a:cxn>
                  <a:cxn ang="0">
                    <a:pos x="184" y="335"/>
                  </a:cxn>
                  <a:cxn ang="0">
                    <a:pos x="290" y="441"/>
                  </a:cxn>
                  <a:cxn ang="0">
                    <a:pos x="290" y="444"/>
                  </a:cxn>
                  <a:cxn ang="0">
                    <a:pos x="565" y="444"/>
                  </a:cxn>
                  <a:cxn ang="0">
                    <a:pos x="565" y="441"/>
                  </a:cxn>
                  <a:cxn ang="0">
                    <a:pos x="662" y="344"/>
                  </a:cxn>
                  <a:cxn ang="0">
                    <a:pos x="759" y="441"/>
                  </a:cxn>
                  <a:cxn ang="0">
                    <a:pos x="759" y="444"/>
                  </a:cxn>
                  <a:cxn ang="0">
                    <a:pos x="801" y="444"/>
                  </a:cxn>
                  <a:cxn ang="0">
                    <a:pos x="844" y="401"/>
                  </a:cxn>
                  <a:cxn ang="0">
                    <a:pos x="844" y="43"/>
                  </a:cxn>
                  <a:cxn ang="0">
                    <a:pos x="801" y="0"/>
                  </a:cxn>
                  <a:cxn ang="0">
                    <a:pos x="302" y="161"/>
                  </a:cxn>
                  <a:cxn ang="0">
                    <a:pos x="183" y="161"/>
                  </a:cxn>
                  <a:cxn ang="0">
                    <a:pos x="302" y="42"/>
                  </a:cxn>
                  <a:cxn ang="0">
                    <a:pos x="302" y="161"/>
                  </a:cxn>
                  <a:cxn ang="0">
                    <a:pos x="662" y="300"/>
                  </a:cxn>
                  <a:cxn ang="0">
                    <a:pos x="537" y="175"/>
                  </a:cxn>
                  <a:cxn ang="0">
                    <a:pos x="662" y="50"/>
                  </a:cxn>
                  <a:cxn ang="0">
                    <a:pos x="787" y="175"/>
                  </a:cxn>
                  <a:cxn ang="0">
                    <a:pos x="662" y="300"/>
                  </a:cxn>
                </a:cxnLst>
                <a:rect l="0" t="0" r="r" b="b"/>
                <a:pathLst>
                  <a:path w="844" h="503">
                    <a:moveTo>
                      <a:pt x="184" y="379"/>
                    </a:moveTo>
                    <a:cubicBezTo>
                      <a:pt x="219" y="379"/>
                      <a:pt x="247" y="407"/>
                      <a:pt x="247" y="441"/>
                    </a:cubicBezTo>
                    <a:cubicBezTo>
                      <a:pt x="247" y="476"/>
                      <a:pt x="219" y="503"/>
                      <a:pt x="184" y="503"/>
                    </a:cubicBezTo>
                    <a:cubicBezTo>
                      <a:pt x="150" y="503"/>
                      <a:pt x="122" y="476"/>
                      <a:pt x="122" y="441"/>
                    </a:cubicBezTo>
                    <a:cubicBezTo>
                      <a:pt x="122" y="407"/>
                      <a:pt x="150" y="379"/>
                      <a:pt x="184" y="379"/>
                    </a:cubicBezTo>
                    <a:moveTo>
                      <a:pt x="662" y="379"/>
                    </a:moveTo>
                    <a:cubicBezTo>
                      <a:pt x="696" y="379"/>
                      <a:pt x="724" y="407"/>
                      <a:pt x="724" y="441"/>
                    </a:cubicBezTo>
                    <a:cubicBezTo>
                      <a:pt x="724" y="476"/>
                      <a:pt x="696" y="503"/>
                      <a:pt x="662" y="503"/>
                    </a:cubicBezTo>
                    <a:cubicBezTo>
                      <a:pt x="627" y="503"/>
                      <a:pt x="599" y="476"/>
                      <a:pt x="599" y="441"/>
                    </a:cubicBezTo>
                    <a:cubicBezTo>
                      <a:pt x="599" y="407"/>
                      <a:pt x="627" y="379"/>
                      <a:pt x="662" y="379"/>
                    </a:cubicBezTo>
                    <a:moveTo>
                      <a:pt x="684" y="89"/>
                    </a:moveTo>
                    <a:cubicBezTo>
                      <a:pt x="640" y="89"/>
                      <a:pt x="640" y="89"/>
                      <a:pt x="640" y="89"/>
                    </a:cubicBezTo>
                    <a:cubicBezTo>
                      <a:pt x="640" y="153"/>
                      <a:pt x="640" y="153"/>
                      <a:pt x="640" y="153"/>
                    </a:cubicBezTo>
                    <a:cubicBezTo>
                      <a:pt x="576" y="153"/>
                      <a:pt x="576" y="153"/>
                      <a:pt x="576" y="153"/>
                    </a:cubicBezTo>
                    <a:cubicBezTo>
                      <a:pt x="576" y="197"/>
                      <a:pt x="576" y="197"/>
                      <a:pt x="576" y="197"/>
                    </a:cubicBezTo>
                    <a:cubicBezTo>
                      <a:pt x="640" y="197"/>
                      <a:pt x="640" y="197"/>
                      <a:pt x="640" y="197"/>
                    </a:cubicBezTo>
                    <a:cubicBezTo>
                      <a:pt x="640" y="261"/>
                      <a:pt x="640" y="261"/>
                      <a:pt x="640" y="261"/>
                    </a:cubicBezTo>
                    <a:cubicBezTo>
                      <a:pt x="684" y="261"/>
                      <a:pt x="684" y="261"/>
                      <a:pt x="684" y="261"/>
                    </a:cubicBezTo>
                    <a:cubicBezTo>
                      <a:pt x="684" y="197"/>
                      <a:pt x="684" y="197"/>
                      <a:pt x="684" y="197"/>
                    </a:cubicBezTo>
                    <a:cubicBezTo>
                      <a:pt x="748" y="197"/>
                      <a:pt x="748" y="197"/>
                      <a:pt x="748" y="197"/>
                    </a:cubicBezTo>
                    <a:cubicBezTo>
                      <a:pt x="748" y="153"/>
                      <a:pt x="748" y="153"/>
                      <a:pt x="748" y="153"/>
                    </a:cubicBezTo>
                    <a:cubicBezTo>
                      <a:pt x="684" y="153"/>
                      <a:pt x="684" y="153"/>
                      <a:pt x="684" y="153"/>
                    </a:cubicBezTo>
                    <a:lnTo>
                      <a:pt x="684" y="89"/>
                    </a:lnTo>
                    <a:close/>
                    <a:moveTo>
                      <a:pt x="801" y="0"/>
                    </a:moveTo>
                    <a:cubicBezTo>
                      <a:pt x="296" y="0"/>
                      <a:pt x="296" y="0"/>
                      <a:pt x="296" y="0"/>
                    </a:cubicBezTo>
                    <a:cubicBezTo>
                      <a:pt x="290" y="0"/>
                      <a:pt x="284" y="2"/>
                      <a:pt x="280" y="6"/>
                    </a:cubicBezTo>
                    <a:cubicBezTo>
                      <a:pt x="122" y="165"/>
                      <a:pt x="122" y="165"/>
                      <a:pt x="122" y="165"/>
                    </a:cubicBezTo>
                    <a:cubicBezTo>
                      <a:pt x="27" y="196"/>
                      <a:pt x="27" y="196"/>
                      <a:pt x="27" y="196"/>
                    </a:cubicBezTo>
                    <a:cubicBezTo>
                      <a:pt x="26" y="196"/>
                      <a:pt x="26" y="196"/>
                      <a:pt x="25" y="197"/>
                    </a:cubicBezTo>
                    <a:cubicBezTo>
                      <a:pt x="10" y="203"/>
                      <a:pt x="0" y="218"/>
                      <a:pt x="0" y="235"/>
                    </a:cubicBezTo>
                    <a:cubicBezTo>
                      <a:pt x="0" y="403"/>
                      <a:pt x="0" y="403"/>
                      <a:pt x="0" y="403"/>
                    </a:cubicBezTo>
                    <a:cubicBezTo>
                      <a:pt x="0" y="426"/>
                      <a:pt x="19" y="444"/>
                      <a:pt x="42" y="444"/>
                    </a:cubicBezTo>
                    <a:cubicBezTo>
                      <a:pt x="79" y="444"/>
                      <a:pt x="79" y="444"/>
                      <a:pt x="79" y="444"/>
                    </a:cubicBezTo>
                    <a:cubicBezTo>
                      <a:pt x="79" y="443"/>
                      <a:pt x="79" y="442"/>
                      <a:pt x="79" y="441"/>
                    </a:cubicBezTo>
                    <a:cubicBezTo>
                      <a:pt x="79" y="383"/>
                      <a:pt x="126" y="335"/>
                      <a:pt x="184" y="335"/>
                    </a:cubicBezTo>
                    <a:cubicBezTo>
                      <a:pt x="243" y="335"/>
                      <a:pt x="290" y="383"/>
                      <a:pt x="290" y="441"/>
                    </a:cubicBezTo>
                    <a:cubicBezTo>
                      <a:pt x="290" y="442"/>
                      <a:pt x="290" y="443"/>
                      <a:pt x="290" y="444"/>
                    </a:cubicBezTo>
                    <a:cubicBezTo>
                      <a:pt x="565" y="444"/>
                      <a:pt x="565" y="444"/>
                      <a:pt x="565" y="444"/>
                    </a:cubicBezTo>
                    <a:cubicBezTo>
                      <a:pt x="565" y="443"/>
                      <a:pt x="565" y="442"/>
                      <a:pt x="565" y="441"/>
                    </a:cubicBezTo>
                    <a:cubicBezTo>
                      <a:pt x="565" y="388"/>
                      <a:pt x="608" y="344"/>
                      <a:pt x="662" y="344"/>
                    </a:cubicBezTo>
                    <a:cubicBezTo>
                      <a:pt x="715" y="344"/>
                      <a:pt x="759" y="388"/>
                      <a:pt x="759" y="441"/>
                    </a:cubicBezTo>
                    <a:cubicBezTo>
                      <a:pt x="759" y="442"/>
                      <a:pt x="759" y="443"/>
                      <a:pt x="759" y="444"/>
                    </a:cubicBezTo>
                    <a:cubicBezTo>
                      <a:pt x="801" y="444"/>
                      <a:pt x="801" y="444"/>
                      <a:pt x="801" y="444"/>
                    </a:cubicBezTo>
                    <a:cubicBezTo>
                      <a:pt x="825" y="444"/>
                      <a:pt x="844" y="425"/>
                      <a:pt x="844" y="401"/>
                    </a:cubicBezTo>
                    <a:cubicBezTo>
                      <a:pt x="844" y="43"/>
                      <a:pt x="844" y="43"/>
                      <a:pt x="844" y="43"/>
                    </a:cubicBezTo>
                    <a:cubicBezTo>
                      <a:pt x="844" y="19"/>
                      <a:pt x="825" y="0"/>
                      <a:pt x="801" y="0"/>
                    </a:cubicBezTo>
                    <a:close/>
                    <a:moveTo>
                      <a:pt x="302" y="161"/>
                    </a:moveTo>
                    <a:cubicBezTo>
                      <a:pt x="183" y="161"/>
                      <a:pt x="183" y="161"/>
                      <a:pt x="183" y="161"/>
                    </a:cubicBezTo>
                    <a:cubicBezTo>
                      <a:pt x="302" y="42"/>
                      <a:pt x="302" y="42"/>
                      <a:pt x="302" y="42"/>
                    </a:cubicBezTo>
                    <a:lnTo>
                      <a:pt x="302" y="161"/>
                    </a:lnTo>
                    <a:close/>
                    <a:moveTo>
                      <a:pt x="662" y="300"/>
                    </a:moveTo>
                    <a:cubicBezTo>
                      <a:pt x="593" y="300"/>
                      <a:pt x="537" y="244"/>
                      <a:pt x="537" y="175"/>
                    </a:cubicBezTo>
                    <a:cubicBezTo>
                      <a:pt x="537" y="106"/>
                      <a:pt x="593" y="50"/>
                      <a:pt x="662" y="50"/>
                    </a:cubicBezTo>
                    <a:cubicBezTo>
                      <a:pt x="731" y="50"/>
                      <a:pt x="787" y="106"/>
                      <a:pt x="787" y="175"/>
                    </a:cubicBezTo>
                    <a:cubicBezTo>
                      <a:pt x="787" y="244"/>
                      <a:pt x="731" y="300"/>
                      <a:pt x="662" y="300"/>
                    </a:cubicBezTo>
                    <a:close/>
                  </a:path>
                </a:pathLst>
              </a:custGeom>
              <a:grpFill/>
              <a:ln w="9525">
                <a:noFill/>
                <a:round/>
                <a:headEnd/>
                <a:tailEnd/>
              </a:ln>
            </p:spPr>
            <p:txBody>
              <a:bodyPr lIns="80147" tIns="40074" rIns="80147" bIns="40074"/>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07" name="Oval 206">
                <a:extLst>
                  <a:ext uri="{FF2B5EF4-FFF2-40B4-BE49-F238E27FC236}"/>
                </a:extLst>
              </p:cNvPr>
              <p:cNvSpPr/>
              <p:nvPr/>
            </p:nvSpPr>
            <p:spPr>
              <a:xfrm>
                <a:off x="10652080" y="3481268"/>
                <a:ext cx="435005" cy="433783"/>
              </a:xfrm>
              <a:prstGeom prst="ellipse">
                <a:avLst/>
              </a:prstGeom>
              <a:grpFill/>
              <a:ln w="9525" cap="flat" cmpd="sng" algn="ctr">
                <a:solidFill>
                  <a:srgbClr val="FFFFFF"/>
                </a:solid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sp>
            <p:nvSpPr>
              <p:cNvPr id="208" name="Moon 207">
                <a:extLst>
                  <a:ext uri="{FF2B5EF4-FFF2-40B4-BE49-F238E27FC236}"/>
                </a:extLst>
              </p:cNvPr>
              <p:cNvSpPr/>
              <p:nvPr/>
            </p:nvSpPr>
            <p:spPr>
              <a:xfrm rot="11063388">
                <a:off x="10773086" y="3600959"/>
                <a:ext cx="179606" cy="245014"/>
              </a:xfrm>
              <a:prstGeom prst="moon">
                <a:avLst>
                  <a:gd name="adj" fmla="val 45579"/>
                </a:avLst>
              </a:prstGeom>
              <a:solidFill>
                <a:srgbClr val="FF0000"/>
              </a:solidFill>
              <a:ln w="9525" cap="flat" cmpd="sng" algn="ctr">
                <a:solidFill>
                  <a:srgbClr val="E03C31"/>
                </a:solid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grpSp>
      </p:grpSp>
      <p:grpSp>
        <p:nvGrpSpPr>
          <p:cNvPr id="65608" name="Group 235"/>
          <p:cNvGrpSpPr>
            <a:grpSpLocks/>
          </p:cNvGrpSpPr>
          <p:nvPr/>
        </p:nvGrpSpPr>
        <p:grpSpPr bwMode="auto">
          <a:xfrm>
            <a:off x="4573588" y="4895850"/>
            <a:ext cx="252412" cy="252413"/>
            <a:chOff x="4627164" y="3718533"/>
            <a:chExt cx="365760" cy="365760"/>
          </a:xfrm>
        </p:grpSpPr>
        <p:sp>
          <p:nvSpPr>
            <p:cNvPr id="210" name="Oval 209">
              <a:extLst>
                <a:ext uri="{FF2B5EF4-FFF2-40B4-BE49-F238E27FC236}"/>
              </a:extLst>
            </p:cNvPr>
            <p:cNvSpPr/>
            <p:nvPr/>
          </p:nvSpPr>
          <p:spPr bwMode="ltGray">
            <a:xfrm>
              <a:off x="4627164" y="3718533"/>
              <a:ext cx="365760" cy="365760"/>
            </a:xfrm>
            <a:prstGeom prst="ellipse">
              <a:avLst/>
            </a:prstGeom>
            <a:solidFill>
              <a:srgbClr val="F0B323"/>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11" name="Freeform 5">
              <a:extLst>
                <a:ext uri="{FF2B5EF4-FFF2-40B4-BE49-F238E27FC236}"/>
              </a:extLst>
            </p:cNvPr>
            <p:cNvSpPr>
              <a:spLocks noEditPoints="1"/>
            </p:cNvSpPr>
            <p:nvPr/>
          </p:nvSpPr>
          <p:spPr bwMode="auto">
            <a:xfrm>
              <a:off x="4659369" y="3734636"/>
              <a:ext cx="287547" cy="287546"/>
            </a:xfrm>
            <a:custGeom>
              <a:avLst/>
              <a:gdLst>
                <a:gd name="T0" fmla="*/ 219409394 w 241"/>
                <a:gd name="T1" fmla="*/ 395194909 h 176"/>
                <a:gd name="T2" fmla="*/ 165519934 w 241"/>
                <a:gd name="T3" fmla="*/ 331962545 h 176"/>
                <a:gd name="T4" fmla="*/ 134725444 w 241"/>
                <a:gd name="T5" fmla="*/ 421540364 h 176"/>
                <a:gd name="T6" fmla="*/ 134725444 w 241"/>
                <a:gd name="T7" fmla="*/ 421540364 h 176"/>
                <a:gd name="T8" fmla="*/ 792954822 w 241"/>
                <a:gd name="T9" fmla="*/ 447887455 h 176"/>
                <a:gd name="T10" fmla="*/ 577394589 w 241"/>
                <a:gd name="T11" fmla="*/ 384655091 h 176"/>
                <a:gd name="T12" fmla="*/ 692873029 w 241"/>
                <a:gd name="T13" fmla="*/ 194962909 h 176"/>
                <a:gd name="T14" fmla="*/ 669776863 w 241"/>
                <a:gd name="T15" fmla="*/ 121192364 h 176"/>
                <a:gd name="T16" fmla="*/ 554298423 w 241"/>
                <a:gd name="T17" fmla="*/ 47423455 h 176"/>
                <a:gd name="T18" fmla="*/ 531202257 w 241"/>
                <a:gd name="T19" fmla="*/ 47423455 h 176"/>
                <a:gd name="T20" fmla="*/ 531202257 w 241"/>
                <a:gd name="T21" fmla="*/ 73768909 h 176"/>
                <a:gd name="T22" fmla="*/ 396478008 w 241"/>
                <a:gd name="T23" fmla="*/ 447887455 h 176"/>
                <a:gd name="T24" fmla="*/ 307943701 w 241"/>
                <a:gd name="T25" fmla="*/ 627041455 h 176"/>
                <a:gd name="T26" fmla="*/ 273300050 w 241"/>
                <a:gd name="T27" fmla="*/ 532194545 h 176"/>
                <a:gd name="T28" fmla="*/ 311792863 w 241"/>
                <a:gd name="T29" fmla="*/ 379386000 h 176"/>
                <a:gd name="T30" fmla="*/ 254053046 w 241"/>
                <a:gd name="T31" fmla="*/ 458425636 h 176"/>
                <a:gd name="T32" fmla="*/ 134725444 w 241"/>
                <a:gd name="T33" fmla="*/ 453156545 h 176"/>
                <a:gd name="T34" fmla="*/ 153971253 w 241"/>
                <a:gd name="T35" fmla="*/ 627041455 h 176"/>
                <a:gd name="T36" fmla="*/ 0 w 241"/>
                <a:gd name="T37" fmla="*/ 258193636 h 176"/>
                <a:gd name="T38" fmla="*/ 88534307 w 241"/>
                <a:gd name="T39" fmla="*/ 727157455 h 176"/>
                <a:gd name="T40" fmla="*/ 554298423 w 241"/>
                <a:gd name="T41" fmla="*/ 916851273 h 176"/>
                <a:gd name="T42" fmla="*/ 839145959 w 241"/>
                <a:gd name="T43" fmla="*/ 927389455 h 176"/>
                <a:gd name="T44" fmla="*/ 839145959 w 241"/>
                <a:gd name="T45" fmla="*/ 258193636 h 176"/>
                <a:gd name="T46" fmla="*/ 646681892 w 241"/>
                <a:gd name="T47" fmla="*/ 247655455 h 176"/>
                <a:gd name="T48" fmla="*/ 554298423 w 241"/>
                <a:gd name="T49" fmla="*/ 73768909 h 176"/>
                <a:gd name="T50" fmla="*/ 646681892 w 241"/>
                <a:gd name="T51" fmla="*/ 121192364 h 176"/>
                <a:gd name="T52" fmla="*/ 623585726 w 241"/>
                <a:gd name="T53" fmla="*/ 194962909 h 176"/>
                <a:gd name="T54" fmla="*/ 577394589 w 241"/>
                <a:gd name="T55" fmla="*/ 368847818 h 176"/>
                <a:gd name="T56" fmla="*/ 238656398 w 241"/>
                <a:gd name="T57" fmla="*/ 500580000 h 176"/>
                <a:gd name="T58" fmla="*/ 261752564 w 241"/>
                <a:gd name="T59" fmla="*/ 468963818 h 176"/>
                <a:gd name="T60" fmla="*/ 265601726 w 241"/>
                <a:gd name="T61" fmla="*/ 463694727 h 176"/>
                <a:gd name="T62" fmla="*/ 261752564 w 241"/>
                <a:gd name="T63" fmla="*/ 447887455 h 176"/>
                <a:gd name="T64" fmla="*/ 261752564 w 241"/>
                <a:gd name="T65" fmla="*/ 447887455 h 176"/>
                <a:gd name="T66" fmla="*/ 273300050 w 241"/>
                <a:gd name="T67" fmla="*/ 442618364 h 176"/>
                <a:gd name="T68" fmla="*/ 277149212 w 241"/>
                <a:gd name="T69" fmla="*/ 437347636 h 176"/>
                <a:gd name="T70" fmla="*/ 273300050 w 241"/>
                <a:gd name="T71" fmla="*/ 421540364 h 176"/>
                <a:gd name="T72" fmla="*/ 277149212 w 241"/>
                <a:gd name="T73" fmla="*/ 421540364 h 176"/>
                <a:gd name="T74" fmla="*/ 288696697 w 241"/>
                <a:gd name="T75" fmla="*/ 416271273 h 176"/>
                <a:gd name="T76" fmla="*/ 288696697 w 241"/>
                <a:gd name="T77" fmla="*/ 411002182 h 176"/>
                <a:gd name="T78" fmla="*/ 288696697 w 241"/>
                <a:gd name="T79" fmla="*/ 395194909 h 176"/>
                <a:gd name="T80" fmla="*/ 288696697 w 241"/>
                <a:gd name="T81" fmla="*/ 395194909 h 176"/>
                <a:gd name="T82" fmla="*/ 300245378 w 241"/>
                <a:gd name="T83" fmla="*/ 389925818 h 176"/>
                <a:gd name="T84" fmla="*/ 307943701 w 241"/>
                <a:gd name="T85" fmla="*/ 374116909 h 176"/>
                <a:gd name="T86" fmla="*/ 250203884 w 241"/>
                <a:gd name="T87" fmla="*/ 511118182 h 176"/>
                <a:gd name="T88" fmla="*/ 238656398 w 241"/>
                <a:gd name="T89" fmla="*/ 500580000 h 176"/>
                <a:gd name="T90" fmla="*/ 446518307 w 241"/>
                <a:gd name="T91" fmla="*/ 411002182 h 176"/>
                <a:gd name="T92" fmla="*/ 654380216 w 241"/>
                <a:gd name="T93" fmla="*/ 252924545 h 176"/>
                <a:gd name="T94" fmla="*/ 669776863 w 241"/>
                <a:gd name="T95" fmla="*/ 242386364 h 176"/>
                <a:gd name="T96" fmla="*/ 662078539 w 241"/>
                <a:gd name="T97" fmla="*/ 221308364 h 176"/>
                <a:gd name="T98" fmla="*/ 646681892 w 241"/>
                <a:gd name="T99" fmla="*/ 231848182 h 176"/>
                <a:gd name="T100" fmla="*/ 654380216 w 241"/>
                <a:gd name="T101" fmla="*/ 252924545 h 1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1" h="176">
                  <a:moveTo>
                    <a:pt x="58" y="70"/>
                  </a:moveTo>
                  <a:cubicBezTo>
                    <a:pt x="59" y="69"/>
                    <a:pt x="62" y="65"/>
                    <a:pt x="60" y="64"/>
                  </a:cubicBezTo>
                  <a:cubicBezTo>
                    <a:pt x="57" y="63"/>
                    <a:pt x="55" y="71"/>
                    <a:pt x="57" y="75"/>
                  </a:cubicBezTo>
                  <a:cubicBezTo>
                    <a:pt x="56" y="74"/>
                    <a:pt x="57" y="71"/>
                    <a:pt x="58" y="70"/>
                  </a:cubicBezTo>
                  <a:close/>
                  <a:moveTo>
                    <a:pt x="44" y="69"/>
                  </a:moveTo>
                  <a:cubicBezTo>
                    <a:pt x="44" y="68"/>
                    <a:pt x="46" y="63"/>
                    <a:pt x="43" y="63"/>
                  </a:cubicBezTo>
                  <a:cubicBezTo>
                    <a:pt x="40" y="63"/>
                    <a:pt x="42" y="72"/>
                    <a:pt x="45" y="75"/>
                  </a:cubicBezTo>
                  <a:cubicBezTo>
                    <a:pt x="44" y="74"/>
                    <a:pt x="44" y="70"/>
                    <a:pt x="44" y="69"/>
                  </a:cubicBezTo>
                  <a:close/>
                  <a:moveTo>
                    <a:pt x="35" y="80"/>
                  </a:moveTo>
                  <a:cubicBezTo>
                    <a:pt x="33" y="80"/>
                    <a:pt x="32" y="77"/>
                    <a:pt x="32" y="75"/>
                  </a:cubicBezTo>
                  <a:cubicBezTo>
                    <a:pt x="32" y="74"/>
                    <a:pt x="31" y="69"/>
                    <a:pt x="29" y="70"/>
                  </a:cubicBezTo>
                  <a:cubicBezTo>
                    <a:pt x="26" y="71"/>
                    <a:pt x="31" y="79"/>
                    <a:pt x="35" y="80"/>
                  </a:cubicBezTo>
                  <a:close/>
                  <a:moveTo>
                    <a:pt x="218" y="49"/>
                  </a:moveTo>
                  <a:cubicBezTo>
                    <a:pt x="218" y="89"/>
                    <a:pt x="218" y="89"/>
                    <a:pt x="218" y="89"/>
                  </a:cubicBezTo>
                  <a:cubicBezTo>
                    <a:pt x="214" y="87"/>
                    <a:pt x="210" y="85"/>
                    <a:pt x="206" y="85"/>
                  </a:cubicBezTo>
                  <a:cubicBezTo>
                    <a:pt x="144" y="85"/>
                    <a:pt x="144" y="85"/>
                    <a:pt x="144" y="85"/>
                  </a:cubicBezTo>
                  <a:cubicBezTo>
                    <a:pt x="144" y="73"/>
                    <a:pt x="144" y="73"/>
                    <a:pt x="144" y="73"/>
                  </a:cubicBezTo>
                  <a:cubicBezTo>
                    <a:pt x="146" y="73"/>
                    <a:pt x="148" y="73"/>
                    <a:pt x="150" y="73"/>
                  </a:cubicBezTo>
                  <a:cubicBezTo>
                    <a:pt x="158" y="73"/>
                    <a:pt x="167" y="69"/>
                    <a:pt x="171" y="60"/>
                  </a:cubicBezTo>
                  <a:cubicBezTo>
                    <a:pt x="180" y="60"/>
                    <a:pt x="180" y="60"/>
                    <a:pt x="180" y="60"/>
                  </a:cubicBezTo>
                  <a:cubicBezTo>
                    <a:pt x="180" y="37"/>
                    <a:pt x="180" y="37"/>
                    <a:pt x="180" y="37"/>
                  </a:cubicBezTo>
                  <a:cubicBezTo>
                    <a:pt x="177" y="32"/>
                    <a:pt x="177" y="32"/>
                    <a:pt x="177" y="32"/>
                  </a:cubicBezTo>
                  <a:cubicBezTo>
                    <a:pt x="177" y="23"/>
                    <a:pt x="177" y="23"/>
                    <a:pt x="177" y="23"/>
                  </a:cubicBezTo>
                  <a:cubicBezTo>
                    <a:pt x="174" y="23"/>
                    <a:pt x="174" y="23"/>
                    <a:pt x="174" y="23"/>
                  </a:cubicBezTo>
                  <a:cubicBezTo>
                    <a:pt x="174" y="15"/>
                    <a:pt x="174" y="15"/>
                    <a:pt x="174" y="15"/>
                  </a:cubicBezTo>
                  <a:cubicBezTo>
                    <a:pt x="174" y="11"/>
                    <a:pt x="171" y="9"/>
                    <a:pt x="166" y="9"/>
                  </a:cubicBezTo>
                  <a:cubicBezTo>
                    <a:pt x="144" y="9"/>
                    <a:pt x="144" y="9"/>
                    <a:pt x="144" y="9"/>
                  </a:cubicBezTo>
                  <a:cubicBezTo>
                    <a:pt x="144" y="0"/>
                    <a:pt x="144" y="0"/>
                    <a:pt x="144" y="0"/>
                  </a:cubicBezTo>
                  <a:cubicBezTo>
                    <a:pt x="138" y="0"/>
                    <a:pt x="138" y="0"/>
                    <a:pt x="138" y="0"/>
                  </a:cubicBezTo>
                  <a:cubicBezTo>
                    <a:pt x="138" y="9"/>
                    <a:pt x="138" y="9"/>
                    <a:pt x="138" y="9"/>
                  </a:cubicBezTo>
                  <a:cubicBezTo>
                    <a:pt x="113" y="9"/>
                    <a:pt x="113" y="9"/>
                    <a:pt x="113" y="9"/>
                  </a:cubicBezTo>
                  <a:cubicBezTo>
                    <a:pt x="113" y="14"/>
                    <a:pt x="113" y="14"/>
                    <a:pt x="113" y="14"/>
                  </a:cubicBezTo>
                  <a:cubicBezTo>
                    <a:pt x="138" y="14"/>
                    <a:pt x="138" y="14"/>
                    <a:pt x="138" y="14"/>
                  </a:cubicBezTo>
                  <a:cubicBezTo>
                    <a:pt x="138" y="71"/>
                    <a:pt x="138" y="71"/>
                    <a:pt x="138" y="71"/>
                  </a:cubicBezTo>
                  <a:cubicBezTo>
                    <a:pt x="130" y="72"/>
                    <a:pt x="122" y="73"/>
                    <a:pt x="115" y="75"/>
                  </a:cubicBezTo>
                  <a:cubicBezTo>
                    <a:pt x="109" y="77"/>
                    <a:pt x="105" y="81"/>
                    <a:pt x="103" y="85"/>
                  </a:cubicBezTo>
                  <a:cubicBezTo>
                    <a:pt x="93" y="85"/>
                    <a:pt x="93" y="85"/>
                    <a:pt x="93" y="85"/>
                  </a:cubicBezTo>
                  <a:cubicBezTo>
                    <a:pt x="82" y="85"/>
                    <a:pt x="73" y="94"/>
                    <a:pt x="73" y="105"/>
                  </a:cubicBezTo>
                  <a:cubicBezTo>
                    <a:pt x="73" y="111"/>
                    <a:pt x="76" y="116"/>
                    <a:pt x="80" y="119"/>
                  </a:cubicBezTo>
                  <a:cubicBezTo>
                    <a:pt x="60" y="119"/>
                    <a:pt x="60" y="119"/>
                    <a:pt x="60" y="119"/>
                  </a:cubicBezTo>
                  <a:cubicBezTo>
                    <a:pt x="61" y="118"/>
                    <a:pt x="63" y="117"/>
                    <a:pt x="65" y="116"/>
                  </a:cubicBezTo>
                  <a:cubicBezTo>
                    <a:pt x="69" y="112"/>
                    <a:pt x="71" y="107"/>
                    <a:pt x="71" y="101"/>
                  </a:cubicBezTo>
                  <a:cubicBezTo>
                    <a:pt x="71" y="98"/>
                    <a:pt x="70" y="95"/>
                    <a:pt x="69" y="92"/>
                  </a:cubicBezTo>
                  <a:cubicBezTo>
                    <a:pt x="81" y="74"/>
                    <a:pt x="81" y="74"/>
                    <a:pt x="81" y="74"/>
                  </a:cubicBezTo>
                  <a:cubicBezTo>
                    <a:pt x="81" y="74"/>
                    <a:pt x="81" y="72"/>
                    <a:pt x="81" y="72"/>
                  </a:cubicBezTo>
                  <a:cubicBezTo>
                    <a:pt x="80" y="70"/>
                    <a:pt x="80" y="70"/>
                    <a:pt x="80" y="70"/>
                  </a:cubicBezTo>
                  <a:cubicBezTo>
                    <a:pt x="79" y="70"/>
                    <a:pt x="77" y="70"/>
                    <a:pt x="77" y="71"/>
                  </a:cubicBezTo>
                  <a:cubicBezTo>
                    <a:pt x="66" y="87"/>
                    <a:pt x="66" y="87"/>
                    <a:pt x="66" y="87"/>
                  </a:cubicBezTo>
                  <a:cubicBezTo>
                    <a:pt x="65" y="87"/>
                    <a:pt x="65" y="86"/>
                    <a:pt x="65" y="86"/>
                  </a:cubicBezTo>
                  <a:cubicBezTo>
                    <a:pt x="61" y="82"/>
                    <a:pt x="56" y="80"/>
                    <a:pt x="50" y="80"/>
                  </a:cubicBezTo>
                  <a:cubicBezTo>
                    <a:pt x="44" y="80"/>
                    <a:pt x="39" y="82"/>
                    <a:pt x="35" y="86"/>
                  </a:cubicBezTo>
                  <a:cubicBezTo>
                    <a:pt x="31" y="90"/>
                    <a:pt x="29" y="95"/>
                    <a:pt x="29" y="101"/>
                  </a:cubicBezTo>
                  <a:cubicBezTo>
                    <a:pt x="29" y="107"/>
                    <a:pt x="31" y="112"/>
                    <a:pt x="35" y="116"/>
                  </a:cubicBezTo>
                  <a:cubicBezTo>
                    <a:pt x="36" y="117"/>
                    <a:pt x="38" y="118"/>
                    <a:pt x="40" y="119"/>
                  </a:cubicBezTo>
                  <a:cubicBezTo>
                    <a:pt x="23" y="119"/>
                    <a:pt x="23" y="119"/>
                    <a:pt x="23" y="119"/>
                  </a:cubicBezTo>
                  <a:cubicBezTo>
                    <a:pt x="23" y="49"/>
                    <a:pt x="23" y="49"/>
                    <a:pt x="23" y="49"/>
                  </a:cubicBezTo>
                  <a:cubicBezTo>
                    <a:pt x="0" y="49"/>
                    <a:pt x="0" y="49"/>
                    <a:pt x="0" y="49"/>
                  </a:cubicBezTo>
                  <a:cubicBezTo>
                    <a:pt x="0" y="176"/>
                    <a:pt x="0" y="176"/>
                    <a:pt x="0" y="176"/>
                  </a:cubicBezTo>
                  <a:cubicBezTo>
                    <a:pt x="23" y="176"/>
                    <a:pt x="23" y="176"/>
                    <a:pt x="23" y="176"/>
                  </a:cubicBezTo>
                  <a:cubicBezTo>
                    <a:pt x="23" y="138"/>
                    <a:pt x="23" y="138"/>
                    <a:pt x="23" y="138"/>
                  </a:cubicBezTo>
                  <a:cubicBezTo>
                    <a:pt x="138" y="138"/>
                    <a:pt x="138" y="138"/>
                    <a:pt x="138" y="138"/>
                  </a:cubicBezTo>
                  <a:cubicBezTo>
                    <a:pt x="138" y="174"/>
                    <a:pt x="138" y="174"/>
                    <a:pt x="138" y="174"/>
                  </a:cubicBezTo>
                  <a:cubicBezTo>
                    <a:pt x="144" y="174"/>
                    <a:pt x="144" y="174"/>
                    <a:pt x="144" y="174"/>
                  </a:cubicBezTo>
                  <a:cubicBezTo>
                    <a:pt x="144" y="138"/>
                    <a:pt x="144" y="138"/>
                    <a:pt x="144" y="138"/>
                  </a:cubicBezTo>
                  <a:cubicBezTo>
                    <a:pt x="218" y="138"/>
                    <a:pt x="218" y="138"/>
                    <a:pt x="218" y="138"/>
                  </a:cubicBezTo>
                  <a:cubicBezTo>
                    <a:pt x="218" y="176"/>
                    <a:pt x="218" y="176"/>
                    <a:pt x="218" y="176"/>
                  </a:cubicBezTo>
                  <a:cubicBezTo>
                    <a:pt x="241" y="176"/>
                    <a:pt x="241" y="176"/>
                    <a:pt x="241" y="176"/>
                  </a:cubicBezTo>
                  <a:cubicBezTo>
                    <a:pt x="241" y="49"/>
                    <a:pt x="241" y="49"/>
                    <a:pt x="241" y="49"/>
                  </a:cubicBezTo>
                  <a:lnTo>
                    <a:pt x="218" y="49"/>
                  </a:lnTo>
                  <a:close/>
                  <a:moveTo>
                    <a:pt x="175" y="47"/>
                  </a:moveTo>
                  <a:cubicBezTo>
                    <a:pt x="174" y="50"/>
                    <a:pt x="173" y="51"/>
                    <a:pt x="171" y="51"/>
                  </a:cubicBezTo>
                  <a:cubicBezTo>
                    <a:pt x="169" y="51"/>
                    <a:pt x="168" y="50"/>
                    <a:pt x="168" y="47"/>
                  </a:cubicBezTo>
                  <a:cubicBezTo>
                    <a:pt x="167" y="43"/>
                    <a:pt x="169" y="40"/>
                    <a:pt x="171" y="36"/>
                  </a:cubicBezTo>
                  <a:cubicBezTo>
                    <a:pt x="174" y="40"/>
                    <a:pt x="175" y="43"/>
                    <a:pt x="175" y="47"/>
                  </a:cubicBezTo>
                  <a:close/>
                  <a:moveTo>
                    <a:pt x="144" y="14"/>
                  </a:moveTo>
                  <a:cubicBezTo>
                    <a:pt x="167" y="14"/>
                    <a:pt x="167" y="14"/>
                    <a:pt x="167" y="14"/>
                  </a:cubicBezTo>
                  <a:cubicBezTo>
                    <a:pt x="168" y="14"/>
                    <a:pt x="168" y="15"/>
                    <a:pt x="168" y="15"/>
                  </a:cubicBezTo>
                  <a:cubicBezTo>
                    <a:pt x="168" y="23"/>
                    <a:pt x="168" y="23"/>
                    <a:pt x="168" y="23"/>
                  </a:cubicBezTo>
                  <a:cubicBezTo>
                    <a:pt x="166" y="23"/>
                    <a:pt x="166" y="23"/>
                    <a:pt x="166" y="23"/>
                  </a:cubicBezTo>
                  <a:cubicBezTo>
                    <a:pt x="166" y="32"/>
                    <a:pt x="166" y="32"/>
                    <a:pt x="166" y="32"/>
                  </a:cubicBezTo>
                  <a:cubicBezTo>
                    <a:pt x="162" y="37"/>
                    <a:pt x="162" y="37"/>
                    <a:pt x="162" y="37"/>
                  </a:cubicBezTo>
                  <a:cubicBezTo>
                    <a:pt x="162" y="60"/>
                    <a:pt x="162" y="60"/>
                    <a:pt x="162" y="60"/>
                  </a:cubicBezTo>
                  <a:cubicBezTo>
                    <a:pt x="168" y="60"/>
                    <a:pt x="168" y="60"/>
                    <a:pt x="168" y="60"/>
                  </a:cubicBezTo>
                  <a:cubicBezTo>
                    <a:pt x="164" y="67"/>
                    <a:pt x="157" y="70"/>
                    <a:pt x="150" y="70"/>
                  </a:cubicBezTo>
                  <a:cubicBezTo>
                    <a:pt x="148" y="70"/>
                    <a:pt x="146" y="70"/>
                    <a:pt x="144" y="70"/>
                  </a:cubicBezTo>
                  <a:lnTo>
                    <a:pt x="144" y="14"/>
                  </a:lnTo>
                  <a:close/>
                  <a:moveTo>
                    <a:pt x="62" y="95"/>
                  </a:moveTo>
                  <a:cubicBezTo>
                    <a:pt x="66" y="89"/>
                    <a:pt x="66" y="89"/>
                    <a:pt x="66" y="89"/>
                  </a:cubicBezTo>
                  <a:cubicBezTo>
                    <a:pt x="68" y="90"/>
                    <a:pt x="68" y="90"/>
                    <a:pt x="68" y="90"/>
                  </a:cubicBezTo>
                  <a:cubicBezTo>
                    <a:pt x="68" y="89"/>
                    <a:pt x="68" y="89"/>
                    <a:pt x="68" y="89"/>
                  </a:cubicBezTo>
                  <a:cubicBezTo>
                    <a:pt x="66" y="88"/>
                    <a:pt x="66" y="88"/>
                    <a:pt x="66" y="88"/>
                  </a:cubicBezTo>
                  <a:cubicBezTo>
                    <a:pt x="67" y="87"/>
                    <a:pt x="67" y="87"/>
                    <a:pt x="67" y="87"/>
                  </a:cubicBezTo>
                  <a:cubicBezTo>
                    <a:pt x="69" y="88"/>
                    <a:pt x="69" y="88"/>
                    <a:pt x="69" y="88"/>
                  </a:cubicBezTo>
                  <a:cubicBezTo>
                    <a:pt x="69" y="88"/>
                    <a:pt x="69" y="88"/>
                    <a:pt x="69" y="88"/>
                  </a:cubicBezTo>
                  <a:cubicBezTo>
                    <a:pt x="67" y="86"/>
                    <a:pt x="67" y="86"/>
                    <a:pt x="67" y="86"/>
                  </a:cubicBezTo>
                  <a:cubicBezTo>
                    <a:pt x="68" y="85"/>
                    <a:pt x="68" y="85"/>
                    <a:pt x="68" y="85"/>
                  </a:cubicBezTo>
                  <a:cubicBezTo>
                    <a:pt x="70" y="86"/>
                    <a:pt x="70" y="86"/>
                    <a:pt x="70" y="86"/>
                  </a:cubicBezTo>
                  <a:cubicBezTo>
                    <a:pt x="70" y="86"/>
                    <a:pt x="70" y="86"/>
                    <a:pt x="70" y="86"/>
                  </a:cubicBezTo>
                  <a:cubicBezTo>
                    <a:pt x="68" y="85"/>
                    <a:pt x="68" y="85"/>
                    <a:pt x="68" y="85"/>
                  </a:cubicBezTo>
                  <a:cubicBezTo>
                    <a:pt x="69" y="83"/>
                    <a:pt x="69" y="83"/>
                    <a:pt x="69" y="83"/>
                  </a:cubicBezTo>
                  <a:cubicBezTo>
                    <a:pt x="71" y="85"/>
                    <a:pt x="71" y="85"/>
                    <a:pt x="71" y="85"/>
                  </a:cubicBezTo>
                  <a:cubicBezTo>
                    <a:pt x="71" y="84"/>
                    <a:pt x="71" y="84"/>
                    <a:pt x="71" y="84"/>
                  </a:cubicBezTo>
                  <a:cubicBezTo>
                    <a:pt x="69" y="83"/>
                    <a:pt x="69" y="83"/>
                    <a:pt x="69" y="83"/>
                  </a:cubicBezTo>
                  <a:cubicBezTo>
                    <a:pt x="70" y="82"/>
                    <a:pt x="70" y="82"/>
                    <a:pt x="70" y="82"/>
                  </a:cubicBezTo>
                  <a:cubicBezTo>
                    <a:pt x="72" y="83"/>
                    <a:pt x="72" y="83"/>
                    <a:pt x="72" y="83"/>
                  </a:cubicBezTo>
                  <a:cubicBezTo>
                    <a:pt x="72" y="82"/>
                    <a:pt x="72" y="82"/>
                    <a:pt x="72" y="82"/>
                  </a:cubicBezTo>
                  <a:cubicBezTo>
                    <a:pt x="71" y="81"/>
                    <a:pt x="71" y="81"/>
                    <a:pt x="71" y="81"/>
                  </a:cubicBezTo>
                  <a:cubicBezTo>
                    <a:pt x="71" y="80"/>
                    <a:pt x="71" y="80"/>
                    <a:pt x="71" y="80"/>
                  </a:cubicBezTo>
                  <a:cubicBezTo>
                    <a:pt x="73" y="81"/>
                    <a:pt x="73" y="81"/>
                    <a:pt x="73" y="81"/>
                  </a:cubicBezTo>
                  <a:cubicBezTo>
                    <a:pt x="73" y="81"/>
                    <a:pt x="73" y="81"/>
                    <a:pt x="73" y="81"/>
                  </a:cubicBezTo>
                  <a:cubicBezTo>
                    <a:pt x="72" y="80"/>
                    <a:pt x="72" y="80"/>
                    <a:pt x="72" y="80"/>
                  </a:cubicBezTo>
                  <a:cubicBezTo>
                    <a:pt x="73" y="78"/>
                    <a:pt x="73" y="78"/>
                    <a:pt x="73" y="78"/>
                  </a:cubicBezTo>
                  <a:cubicBezTo>
                    <a:pt x="74" y="80"/>
                    <a:pt x="74" y="80"/>
                    <a:pt x="74" y="80"/>
                  </a:cubicBezTo>
                  <a:cubicBezTo>
                    <a:pt x="75" y="79"/>
                    <a:pt x="75" y="79"/>
                    <a:pt x="75" y="79"/>
                  </a:cubicBezTo>
                  <a:cubicBezTo>
                    <a:pt x="73" y="78"/>
                    <a:pt x="73" y="78"/>
                    <a:pt x="73" y="78"/>
                  </a:cubicBezTo>
                  <a:cubicBezTo>
                    <a:pt x="74" y="77"/>
                    <a:pt x="74" y="77"/>
                    <a:pt x="74" y="77"/>
                  </a:cubicBezTo>
                  <a:cubicBezTo>
                    <a:pt x="75" y="78"/>
                    <a:pt x="75" y="78"/>
                    <a:pt x="75" y="78"/>
                  </a:cubicBezTo>
                  <a:cubicBezTo>
                    <a:pt x="76" y="77"/>
                    <a:pt x="76" y="77"/>
                    <a:pt x="76" y="77"/>
                  </a:cubicBezTo>
                  <a:cubicBezTo>
                    <a:pt x="74" y="76"/>
                    <a:pt x="74" y="76"/>
                    <a:pt x="74" y="76"/>
                  </a:cubicBezTo>
                  <a:cubicBezTo>
                    <a:pt x="75" y="75"/>
                    <a:pt x="75" y="75"/>
                    <a:pt x="75" y="75"/>
                  </a:cubicBezTo>
                  <a:cubicBezTo>
                    <a:pt x="76" y="76"/>
                    <a:pt x="76" y="76"/>
                    <a:pt x="76" y="76"/>
                  </a:cubicBezTo>
                  <a:cubicBezTo>
                    <a:pt x="77" y="76"/>
                    <a:pt x="77" y="76"/>
                    <a:pt x="77" y="76"/>
                  </a:cubicBezTo>
                  <a:cubicBezTo>
                    <a:pt x="75" y="75"/>
                    <a:pt x="75" y="75"/>
                    <a:pt x="75" y="75"/>
                  </a:cubicBezTo>
                  <a:cubicBezTo>
                    <a:pt x="76" y="73"/>
                    <a:pt x="76" y="73"/>
                    <a:pt x="76" y="73"/>
                  </a:cubicBezTo>
                  <a:cubicBezTo>
                    <a:pt x="78" y="74"/>
                    <a:pt x="78" y="74"/>
                    <a:pt x="78" y="74"/>
                  </a:cubicBezTo>
                  <a:cubicBezTo>
                    <a:pt x="78" y="74"/>
                    <a:pt x="78" y="74"/>
                    <a:pt x="78" y="74"/>
                  </a:cubicBezTo>
                  <a:cubicBezTo>
                    <a:pt x="76" y="73"/>
                    <a:pt x="76" y="73"/>
                    <a:pt x="76" y="73"/>
                  </a:cubicBezTo>
                  <a:cubicBezTo>
                    <a:pt x="77" y="72"/>
                    <a:pt x="77" y="72"/>
                    <a:pt x="77" y="72"/>
                  </a:cubicBezTo>
                  <a:cubicBezTo>
                    <a:pt x="78" y="71"/>
                    <a:pt x="79" y="70"/>
                    <a:pt x="80" y="71"/>
                  </a:cubicBezTo>
                  <a:cubicBezTo>
                    <a:pt x="80" y="71"/>
                    <a:pt x="80" y="72"/>
                    <a:pt x="80" y="72"/>
                  </a:cubicBezTo>
                  <a:cubicBezTo>
                    <a:pt x="80" y="74"/>
                    <a:pt x="80" y="74"/>
                    <a:pt x="80" y="74"/>
                  </a:cubicBezTo>
                  <a:cubicBezTo>
                    <a:pt x="65" y="97"/>
                    <a:pt x="65" y="97"/>
                    <a:pt x="65" y="97"/>
                  </a:cubicBezTo>
                  <a:cubicBezTo>
                    <a:pt x="64" y="97"/>
                    <a:pt x="64" y="97"/>
                    <a:pt x="64" y="97"/>
                  </a:cubicBezTo>
                  <a:cubicBezTo>
                    <a:pt x="62" y="97"/>
                    <a:pt x="62" y="97"/>
                    <a:pt x="62" y="97"/>
                  </a:cubicBezTo>
                  <a:cubicBezTo>
                    <a:pt x="61" y="97"/>
                    <a:pt x="61" y="95"/>
                    <a:pt x="62" y="95"/>
                  </a:cubicBezTo>
                  <a:close/>
                  <a:moveTo>
                    <a:pt x="138" y="85"/>
                  </a:moveTo>
                  <a:cubicBezTo>
                    <a:pt x="106" y="85"/>
                    <a:pt x="106" y="85"/>
                    <a:pt x="106" y="85"/>
                  </a:cubicBezTo>
                  <a:cubicBezTo>
                    <a:pt x="108" y="82"/>
                    <a:pt x="111" y="79"/>
                    <a:pt x="116" y="78"/>
                  </a:cubicBezTo>
                  <a:cubicBezTo>
                    <a:pt x="123" y="76"/>
                    <a:pt x="131" y="74"/>
                    <a:pt x="138" y="74"/>
                  </a:cubicBezTo>
                  <a:lnTo>
                    <a:pt x="138" y="85"/>
                  </a:lnTo>
                  <a:close/>
                  <a:moveTo>
                    <a:pt x="170" y="48"/>
                  </a:moveTo>
                  <a:cubicBezTo>
                    <a:pt x="172" y="48"/>
                    <a:pt x="172" y="48"/>
                    <a:pt x="172" y="48"/>
                  </a:cubicBezTo>
                  <a:cubicBezTo>
                    <a:pt x="172" y="46"/>
                    <a:pt x="172" y="46"/>
                    <a:pt x="172" y="46"/>
                  </a:cubicBezTo>
                  <a:cubicBezTo>
                    <a:pt x="174" y="46"/>
                    <a:pt x="174" y="46"/>
                    <a:pt x="174" y="46"/>
                  </a:cubicBezTo>
                  <a:cubicBezTo>
                    <a:pt x="174" y="44"/>
                    <a:pt x="174" y="44"/>
                    <a:pt x="174" y="44"/>
                  </a:cubicBezTo>
                  <a:cubicBezTo>
                    <a:pt x="172" y="44"/>
                    <a:pt x="172" y="44"/>
                    <a:pt x="172" y="44"/>
                  </a:cubicBezTo>
                  <a:cubicBezTo>
                    <a:pt x="172" y="42"/>
                    <a:pt x="172" y="42"/>
                    <a:pt x="172" y="42"/>
                  </a:cubicBezTo>
                  <a:cubicBezTo>
                    <a:pt x="170" y="42"/>
                    <a:pt x="170" y="42"/>
                    <a:pt x="170" y="42"/>
                  </a:cubicBezTo>
                  <a:cubicBezTo>
                    <a:pt x="170" y="44"/>
                    <a:pt x="170" y="44"/>
                    <a:pt x="170" y="44"/>
                  </a:cubicBezTo>
                  <a:cubicBezTo>
                    <a:pt x="168" y="44"/>
                    <a:pt x="168" y="44"/>
                    <a:pt x="168" y="44"/>
                  </a:cubicBezTo>
                  <a:cubicBezTo>
                    <a:pt x="168" y="46"/>
                    <a:pt x="168" y="46"/>
                    <a:pt x="168" y="46"/>
                  </a:cubicBezTo>
                  <a:cubicBezTo>
                    <a:pt x="170" y="46"/>
                    <a:pt x="170" y="46"/>
                    <a:pt x="170" y="46"/>
                  </a:cubicBezTo>
                  <a:lnTo>
                    <a:pt x="17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609" name="Group 238"/>
          <p:cNvGrpSpPr>
            <a:grpSpLocks/>
          </p:cNvGrpSpPr>
          <p:nvPr/>
        </p:nvGrpSpPr>
        <p:grpSpPr bwMode="auto">
          <a:xfrm>
            <a:off x="4573588" y="4540250"/>
            <a:ext cx="252412" cy="252413"/>
            <a:chOff x="4630765" y="2321132"/>
            <a:chExt cx="365760" cy="365760"/>
          </a:xfrm>
        </p:grpSpPr>
        <p:sp>
          <p:nvSpPr>
            <p:cNvPr id="213" name="Oval 212">
              <a:extLst>
                <a:ext uri="{FF2B5EF4-FFF2-40B4-BE49-F238E27FC236}"/>
              </a:extLst>
            </p:cNvPr>
            <p:cNvSpPr/>
            <p:nvPr/>
          </p:nvSpPr>
          <p:spPr bwMode="ltGray">
            <a:xfrm>
              <a:off x="4630765" y="2321132"/>
              <a:ext cx="365760" cy="365760"/>
            </a:xfrm>
            <a:prstGeom prst="ellipse">
              <a:avLst/>
            </a:prstGeom>
            <a:solidFill>
              <a:srgbClr val="F0B323"/>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214" name="Group 66">
              <a:extLst>
                <a:ext uri="{FF2B5EF4-FFF2-40B4-BE49-F238E27FC236}"/>
              </a:extLst>
            </p:cNvPr>
            <p:cNvGrpSpPr>
              <a:grpSpLocks/>
            </p:cNvGrpSpPr>
            <p:nvPr/>
          </p:nvGrpSpPr>
          <p:grpSpPr bwMode="auto">
            <a:xfrm>
              <a:off x="4680982" y="2343759"/>
              <a:ext cx="288000" cy="288000"/>
              <a:chOff x="2171" y="1544"/>
              <a:chExt cx="352" cy="378"/>
            </a:xfrm>
            <a:solidFill>
              <a:srgbClr val="FFFFFF"/>
            </a:solidFill>
          </p:grpSpPr>
          <p:sp>
            <p:nvSpPr>
              <p:cNvPr id="215" name="Freeform 67">
                <a:extLst>
                  <a:ext uri="{FF2B5EF4-FFF2-40B4-BE49-F238E27FC236}"/>
                </a:extLst>
              </p:cNvPr>
              <p:cNvSpPr>
                <a:spLocks noEditPoints="1"/>
              </p:cNvSpPr>
              <p:nvPr/>
            </p:nvSpPr>
            <p:spPr bwMode="auto">
              <a:xfrm>
                <a:off x="2270" y="1544"/>
                <a:ext cx="189" cy="227"/>
              </a:xfrm>
              <a:custGeom>
                <a:avLst/>
                <a:gdLst>
                  <a:gd name="T0" fmla="*/ 76 w 80"/>
                  <a:gd name="T1" fmla="*/ 194 h 96"/>
                  <a:gd name="T2" fmla="*/ 111 w 80"/>
                  <a:gd name="T3" fmla="*/ 184 h 96"/>
                  <a:gd name="T4" fmla="*/ 172 w 80"/>
                  <a:gd name="T5" fmla="*/ 227 h 96"/>
                  <a:gd name="T6" fmla="*/ 180 w 80"/>
                  <a:gd name="T7" fmla="*/ 227 h 96"/>
                  <a:gd name="T8" fmla="*/ 187 w 80"/>
                  <a:gd name="T9" fmla="*/ 222 h 96"/>
                  <a:gd name="T10" fmla="*/ 189 w 80"/>
                  <a:gd name="T11" fmla="*/ 218 h 96"/>
                  <a:gd name="T12" fmla="*/ 189 w 80"/>
                  <a:gd name="T13" fmla="*/ 215 h 96"/>
                  <a:gd name="T14" fmla="*/ 184 w 80"/>
                  <a:gd name="T15" fmla="*/ 208 h 96"/>
                  <a:gd name="T16" fmla="*/ 128 w 80"/>
                  <a:gd name="T17" fmla="*/ 170 h 96"/>
                  <a:gd name="T18" fmla="*/ 154 w 80"/>
                  <a:gd name="T19" fmla="*/ 97 h 96"/>
                  <a:gd name="T20" fmla="*/ 76 w 80"/>
                  <a:gd name="T21" fmla="*/ 0 h 96"/>
                  <a:gd name="T22" fmla="*/ 0 w 80"/>
                  <a:gd name="T23" fmla="*/ 97 h 96"/>
                  <a:gd name="T24" fmla="*/ 76 w 80"/>
                  <a:gd name="T25" fmla="*/ 194 h 96"/>
                  <a:gd name="T26" fmla="*/ 184 w 80"/>
                  <a:gd name="T27" fmla="*/ 215 h 96"/>
                  <a:gd name="T28" fmla="*/ 184 w 80"/>
                  <a:gd name="T29" fmla="*/ 222 h 96"/>
                  <a:gd name="T30" fmla="*/ 180 w 80"/>
                  <a:gd name="T31" fmla="*/ 225 h 96"/>
                  <a:gd name="T32" fmla="*/ 175 w 80"/>
                  <a:gd name="T33" fmla="*/ 222 h 96"/>
                  <a:gd name="T34" fmla="*/ 83 w 80"/>
                  <a:gd name="T35" fmla="*/ 163 h 96"/>
                  <a:gd name="T36" fmla="*/ 80 w 80"/>
                  <a:gd name="T37" fmla="*/ 158 h 96"/>
                  <a:gd name="T38" fmla="*/ 83 w 80"/>
                  <a:gd name="T39" fmla="*/ 154 h 96"/>
                  <a:gd name="T40" fmla="*/ 92 w 80"/>
                  <a:gd name="T41" fmla="*/ 151 h 96"/>
                  <a:gd name="T42" fmla="*/ 116 w 80"/>
                  <a:gd name="T43" fmla="*/ 168 h 96"/>
                  <a:gd name="T44" fmla="*/ 111 w 80"/>
                  <a:gd name="T45" fmla="*/ 173 h 96"/>
                  <a:gd name="T46" fmla="*/ 113 w 80"/>
                  <a:gd name="T47" fmla="*/ 175 h 96"/>
                  <a:gd name="T48" fmla="*/ 118 w 80"/>
                  <a:gd name="T49" fmla="*/ 168 h 96"/>
                  <a:gd name="T50" fmla="*/ 123 w 80"/>
                  <a:gd name="T51" fmla="*/ 170 h 96"/>
                  <a:gd name="T52" fmla="*/ 118 w 80"/>
                  <a:gd name="T53" fmla="*/ 177 h 96"/>
                  <a:gd name="T54" fmla="*/ 118 w 80"/>
                  <a:gd name="T55" fmla="*/ 180 h 96"/>
                  <a:gd name="T56" fmla="*/ 123 w 80"/>
                  <a:gd name="T57" fmla="*/ 173 h 96"/>
                  <a:gd name="T58" fmla="*/ 128 w 80"/>
                  <a:gd name="T59" fmla="*/ 175 h 96"/>
                  <a:gd name="T60" fmla="*/ 125 w 80"/>
                  <a:gd name="T61" fmla="*/ 182 h 96"/>
                  <a:gd name="T62" fmla="*/ 125 w 80"/>
                  <a:gd name="T63" fmla="*/ 184 h 96"/>
                  <a:gd name="T64" fmla="*/ 130 w 80"/>
                  <a:gd name="T65" fmla="*/ 177 h 96"/>
                  <a:gd name="T66" fmla="*/ 135 w 80"/>
                  <a:gd name="T67" fmla="*/ 180 h 96"/>
                  <a:gd name="T68" fmla="*/ 130 w 80"/>
                  <a:gd name="T69" fmla="*/ 187 h 96"/>
                  <a:gd name="T70" fmla="*/ 132 w 80"/>
                  <a:gd name="T71" fmla="*/ 189 h 96"/>
                  <a:gd name="T72" fmla="*/ 137 w 80"/>
                  <a:gd name="T73" fmla="*/ 182 h 96"/>
                  <a:gd name="T74" fmla="*/ 142 w 80"/>
                  <a:gd name="T75" fmla="*/ 184 h 96"/>
                  <a:gd name="T76" fmla="*/ 137 w 80"/>
                  <a:gd name="T77" fmla="*/ 192 h 96"/>
                  <a:gd name="T78" fmla="*/ 139 w 80"/>
                  <a:gd name="T79" fmla="*/ 192 h 96"/>
                  <a:gd name="T80" fmla="*/ 144 w 80"/>
                  <a:gd name="T81" fmla="*/ 187 h 96"/>
                  <a:gd name="T82" fmla="*/ 149 w 80"/>
                  <a:gd name="T83" fmla="*/ 189 h 96"/>
                  <a:gd name="T84" fmla="*/ 144 w 80"/>
                  <a:gd name="T85" fmla="*/ 196 h 96"/>
                  <a:gd name="T86" fmla="*/ 146 w 80"/>
                  <a:gd name="T87" fmla="*/ 196 h 96"/>
                  <a:gd name="T88" fmla="*/ 151 w 80"/>
                  <a:gd name="T89" fmla="*/ 189 h 96"/>
                  <a:gd name="T90" fmla="*/ 156 w 80"/>
                  <a:gd name="T91" fmla="*/ 194 h 96"/>
                  <a:gd name="T92" fmla="*/ 151 w 80"/>
                  <a:gd name="T93" fmla="*/ 201 h 96"/>
                  <a:gd name="T94" fmla="*/ 154 w 80"/>
                  <a:gd name="T95" fmla="*/ 201 h 96"/>
                  <a:gd name="T96" fmla="*/ 156 w 80"/>
                  <a:gd name="T97" fmla="*/ 194 h 96"/>
                  <a:gd name="T98" fmla="*/ 161 w 80"/>
                  <a:gd name="T99" fmla="*/ 199 h 96"/>
                  <a:gd name="T100" fmla="*/ 158 w 80"/>
                  <a:gd name="T101" fmla="*/ 203 h 96"/>
                  <a:gd name="T102" fmla="*/ 158 w 80"/>
                  <a:gd name="T103" fmla="*/ 206 h 96"/>
                  <a:gd name="T104" fmla="*/ 163 w 80"/>
                  <a:gd name="T105" fmla="*/ 199 h 96"/>
                  <a:gd name="T106" fmla="*/ 168 w 80"/>
                  <a:gd name="T107" fmla="*/ 203 h 96"/>
                  <a:gd name="T108" fmla="*/ 163 w 80"/>
                  <a:gd name="T109" fmla="*/ 208 h 96"/>
                  <a:gd name="T110" fmla="*/ 165 w 80"/>
                  <a:gd name="T111" fmla="*/ 210 h 96"/>
                  <a:gd name="T112" fmla="*/ 170 w 80"/>
                  <a:gd name="T113" fmla="*/ 203 h 96"/>
                  <a:gd name="T114" fmla="*/ 175 w 80"/>
                  <a:gd name="T115" fmla="*/ 206 h 96"/>
                  <a:gd name="T116" fmla="*/ 170 w 80"/>
                  <a:gd name="T117" fmla="*/ 213 h 96"/>
                  <a:gd name="T118" fmla="*/ 172 w 80"/>
                  <a:gd name="T119" fmla="*/ 215 h 96"/>
                  <a:gd name="T120" fmla="*/ 177 w 80"/>
                  <a:gd name="T121" fmla="*/ 208 h 96"/>
                  <a:gd name="T122" fmla="*/ 182 w 80"/>
                  <a:gd name="T123" fmla="*/ 210 h 96"/>
                  <a:gd name="T124" fmla="*/ 184 w 80"/>
                  <a:gd name="T125" fmla="*/ 215 h 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0" h="96">
                    <a:moveTo>
                      <a:pt x="32" y="82"/>
                    </a:moveTo>
                    <a:cubicBezTo>
                      <a:pt x="38" y="82"/>
                      <a:pt x="42" y="80"/>
                      <a:pt x="47" y="78"/>
                    </a:cubicBezTo>
                    <a:cubicBezTo>
                      <a:pt x="73" y="96"/>
                      <a:pt x="73" y="96"/>
                      <a:pt x="73" y="96"/>
                    </a:cubicBezTo>
                    <a:cubicBezTo>
                      <a:pt x="74" y="96"/>
                      <a:pt x="75" y="96"/>
                      <a:pt x="76" y="96"/>
                    </a:cubicBezTo>
                    <a:cubicBezTo>
                      <a:pt x="77" y="96"/>
                      <a:pt x="78" y="95"/>
                      <a:pt x="79" y="94"/>
                    </a:cubicBezTo>
                    <a:cubicBezTo>
                      <a:pt x="80" y="94"/>
                      <a:pt x="80" y="93"/>
                      <a:pt x="80" y="92"/>
                    </a:cubicBezTo>
                    <a:cubicBezTo>
                      <a:pt x="80" y="92"/>
                      <a:pt x="80" y="91"/>
                      <a:pt x="80" y="91"/>
                    </a:cubicBezTo>
                    <a:cubicBezTo>
                      <a:pt x="79" y="90"/>
                      <a:pt x="79" y="89"/>
                      <a:pt x="78" y="88"/>
                    </a:cubicBezTo>
                    <a:cubicBezTo>
                      <a:pt x="78" y="88"/>
                      <a:pt x="65" y="80"/>
                      <a:pt x="54" y="72"/>
                    </a:cubicBezTo>
                    <a:cubicBezTo>
                      <a:pt x="61" y="65"/>
                      <a:pt x="65" y="54"/>
                      <a:pt x="65" y="41"/>
                    </a:cubicBezTo>
                    <a:cubicBezTo>
                      <a:pt x="65" y="18"/>
                      <a:pt x="51" y="0"/>
                      <a:pt x="32" y="0"/>
                    </a:cubicBezTo>
                    <a:cubicBezTo>
                      <a:pt x="14" y="0"/>
                      <a:pt x="0" y="18"/>
                      <a:pt x="0" y="41"/>
                    </a:cubicBezTo>
                    <a:cubicBezTo>
                      <a:pt x="0" y="64"/>
                      <a:pt x="14" y="82"/>
                      <a:pt x="32" y="82"/>
                    </a:cubicBezTo>
                    <a:close/>
                    <a:moveTo>
                      <a:pt x="78" y="91"/>
                    </a:moveTo>
                    <a:cubicBezTo>
                      <a:pt x="79" y="92"/>
                      <a:pt x="78" y="93"/>
                      <a:pt x="78" y="94"/>
                    </a:cubicBezTo>
                    <a:cubicBezTo>
                      <a:pt x="78" y="94"/>
                      <a:pt x="77" y="95"/>
                      <a:pt x="76" y="95"/>
                    </a:cubicBezTo>
                    <a:cubicBezTo>
                      <a:pt x="75" y="95"/>
                      <a:pt x="75" y="95"/>
                      <a:pt x="74" y="94"/>
                    </a:cubicBezTo>
                    <a:cubicBezTo>
                      <a:pt x="35" y="69"/>
                      <a:pt x="35" y="69"/>
                      <a:pt x="35" y="69"/>
                    </a:cubicBezTo>
                    <a:cubicBezTo>
                      <a:pt x="35" y="68"/>
                      <a:pt x="34" y="68"/>
                      <a:pt x="34" y="67"/>
                    </a:cubicBezTo>
                    <a:cubicBezTo>
                      <a:pt x="34" y="66"/>
                      <a:pt x="34" y="65"/>
                      <a:pt x="35" y="65"/>
                    </a:cubicBezTo>
                    <a:cubicBezTo>
                      <a:pt x="36" y="63"/>
                      <a:pt x="37" y="63"/>
                      <a:pt x="39" y="64"/>
                    </a:cubicBezTo>
                    <a:cubicBezTo>
                      <a:pt x="49" y="71"/>
                      <a:pt x="49" y="71"/>
                      <a:pt x="49" y="71"/>
                    </a:cubicBezTo>
                    <a:cubicBezTo>
                      <a:pt x="47" y="73"/>
                      <a:pt x="47" y="73"/>
                      <a:pt x="47" y="73"/>
                    </a:cubicBezTo>
                    <a:cubicBezTo>
                      <a:pt x="48" y="74"/>
                      <a:pt x="48" y="74"/>
                      <a:pt x="48" y="74"/>
                    </a:cubicBezTo>
                    <a:cubicBezTo>
                      <a:pt x="50" y="71"/>
                      <a:pt x="50" y="71"/>
                      <a:pt x="50" y="71"/>
                    </a:cubicBezTo>
                    <a:cubicBezTo>
                      <a:pt x="52" y="72"/>
                      <a:pt x="52" y="72"/>
                      <a:pt x="52" y="72"/>
                    </a:cubicBezTo>
                    <a:cubicBezTo>
                      <a:pt x="50" y="75"/>
                      <a:pt x="50" y="75"/>
                      <a:pt x="50" y="75"/>
                    </a:cubicBezTo>
                    <a:cubicBezTo>
                      <a:pt x="50" y="76"/>
                      <a:pt x="50" y="76"/>
                      <a:pt x="50" y="76"/>
                    </a:cubicBezTo>
                    <a:cubicBezTo>
                      <a:pt x="52" y="73"/>
                      <a:pt x="52" y="73"/>
                      <a:pt x="52" y="73"/>
                    </a:cubicBezTo>
                    <a:cubicBezTo>
                      <a:pt x="54" y="74"/>
                      <a:pt x="54" y="74"/>
                      <a:pt x="54" y="74"/>
                    </a:cubicBezTo>
                    <a:cubicBezTo>
                      <a:pt x="53" y="77"/>
                      <a:pt x="53" y="77"/>
                      <a:pt x="53" y="77"/>
                    </a:cubicBezTo>
                    <a:cubicBezTo>
                      <a:pt x="53" y="78"/>
                      <a:pt x="53" y="78"/>
                      <a:pt x="53" y="78"/>
                    </a:cubicBezTo>
                    <a:cubicBezTo>
                      <a:pt x="55" y="75"/>
                      <a:pt x="55" y="75"/>
                      <a:pt x="55" y="75"/>
                    </a:cubicBezTo>
                    <a:cubicBezTo>
                      <a:pt x="57" y="76"/>
                      <a:pt x="57" y="76"/>
                      <a:pt x="57" y="76"/>
                    </a:cubicBezTo>
                    <a:cubicBezTo>
                      <a:pt x="55" y="79"/>
                      <a:pt x="55" y="79"/>
                      <a:pt x="55" y="79"/>
                    </a:cubicBezTo>
                    <a:cubicBezTo>
                      <a:pt x="56" y="80"/>
                      <a:pt x="56" y="80"/>
                      <a:pt x="56" y="80"/>
                    </a:cubicBezTo>
                    <a:cubicBezTo>
                      <a:pt x="58" y="77"/>
                      <a:pt x="58" y="77"/>
                      <a:pt x="58" y="77"/>
                    </a:cubicBezTo>
                    <a:cubicBezTo>
                      <a:pt x="60" y="78"/>
                      <a:pt x="60" y="78"/>
                      <a:pt x="60" y="78"/>
                    </a:cubicBezTo>
                    <a:cubicBezTo>
                      <a:pt x="58" y="81"/>
                      <a:pt x="58" y="81"/>
                      <a:pt x="58" y="81"/>
                    </a:cubicBezTo>
                    <a:cubicBezTo>
                      <a:pt x="59" y="81"/>
                      <a:pt x="59" y="81"/>
                      <a:pt x="59" y="81"/>
                    </a:cubicBezTo>
                    <a:cubicBezTo>
                      <a:pt x="61" y="79"/>
                      <a:pt x="61" y="79"/>
                      <a:pt x="61" y="79"/>
                    </a:cubicBezTo>
                    <a:cubicBezTo>
                      <a:pt x="63" y="80"/>
                      <a:pt x="63" y="80"/>
                      <a:pt x="63" y="80"/>
                    </a:cubicBezTo>
                    <a:cubicBezTo>
                      <a:pt x="61" y="83"/>
                      <a:pt x="61" y="83"/>
                      <a:pt x="61" y="83"/>
                    </a:cubicBezTo>
                    <a:cubicBezTo>
                      <a:pt x="62" y="83"/>
                      <a:pt x="62" y="83"/>
                      <a:pt x="62" y="83"/>
                    </a:cubicBezTo>
                    <a:cubicBezTo>
                      <a:pt x="64" y="80"/>
                      <a:pt x="64" y="80"/>
                      <a:pt x="64" y="80"/>
                    </a:cubicBezTo>
                    <a:cubicBezTo>
                      <a:pt x="66" y="82"/>
                      <a:pt x="66" y="82"/>
                      <a:pt x="66" y="82"/>
                    </a:cubicBezTo>
                    <a:cubicBezTo>
                      <a:pt x="64" y="85"/>
                      <a:pt x="64" y="85"/>
                      <a:pt x="64" y="85"/>
                    </a:cubicBezTo>
                    <a:cubicBezTo>
                      <a:pt x="65" y="85"/>
                      <a:pt x="65" y="85"/>
                      <a:pt x="65" y="85"/>
                    </a:cubicBezTo>
                    <a:cubicBezTo>
                      <a:pt x="66" y="82"/>
                      <a:pt x="66" y="82"/>
                      <a:pt x="66" y="82"/>
                    </a:cubicBezTo>
                    <a:cubicBezTo>
                      <a:pt x="68" y="84"/>
                      <a:pt x="68" y="84"/>
                      <a:pt x="68" y="84"/>
                    </a:cubicBezTo>
                    <a:cubicBezTo>
                      <a:pt x="67" y="86"/>
                      <a:pt x="67" y="86"/>
                      <a:pt x="67" y="86"/>
                    </a:cubicBezTo>
                    <a:cubicBezTo>
                      <a:pt x="67" y="87"/>
                      <a:pt x="67" y="87"/>
                      <a:pt x="67" y="87"/>
                    </a:cubicBezTo>
                    <a:cubicBezTo>
                      <a:pt x="69" y="84"/>
                      <a:pt x="69" y="84"/>
                      <a:pt x="69" y="84"/>
                    </a:cubicBezTo>
                    <a:cubicBezTo>
                      <a:pt x="71" y="86"/>
                      <a:pt x="71" y="86"/>
                      <a:pt x="71" y="86"/>
                    </a:cubicBezTo>
                    <a:cubicBezTo>
                      <a:pt x="69" y="88"/>
                      <a:pt x="69" y="88"/>
                      <a:pt x="69" y="88"/>
                    </a:cubicBezTo>
                    <a:cubicBezTo>
                      <a:pt x="70" y="89"/>
                      <a:pt x="70" y="89"/>
                      <a:pt x="70" y="89"/>
                    </a:cubicBezTo>
                    <a:cubicBezTo>
                      <a:pt x="72" y="86"/>
                      <a:pt x="72" y="86"/>
                      <a:pt x="72" y="86"/>
                    </a:cubicBezTo>
                    <a:cubicBezTo>
                      <a:pt x="74" y="87"/>
                      <a:pt x="74" y="87"/>
                      <a:pt x="74" y="87"/>
                    </a:cubicBezTo>
                    <a:cubicBezTo>
                      <a:pt x="72" y="90"/>
                      <a:pt x="72" y="90"/>
                      <a:pt x="72" y="90"/>
                    </a:cubicBezTo>
                    <a:cubicBezTo>
                      <a:pt x="73" y="91"/>
                      <a:pt x="73" y="91"/>
                      <a:pt x="73" y="91"/>
                    </a:cubicBezTo>
                    <a:cubicBezTo>
                      <a:pt x="75" y="88"/>
                      <a:pt x="75" y="88"/>
                      <a:pt x="75" y="88"/>
                    </a:cubicBezTo>
                    <a:cubicBezTo>
                      <a:pt x="77" y="89"/>
                      <a:pt x="77" y="89"/>
                      <a:pt x="77" y="89"/>
                    </a:cubicBezTo>
                    <a:cubicBezTo>
                      <a:pt x="78" y="90"/>
                      <a:pt x="78" y="91"/>
                      <a:pt x="7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6" name="Freeform 68">
                <a:extLst>
                  <a:ext uri="{FF2B5EF4-FFF2-40B4-BE49-F238E27FC236}"/>
                </a:extLst>
              </p:cNvPr>
              <p:cNvSpPr>
                <a:spLocks/>
              </p:cNvSpPr>
              <p:nvPr/>
            </p:nvSpPr>
            <p:spPr bwMode="auto">
              <a:xfrm>
                <a:off x="2171" y="1743"/>
                <a:ext cx="352" cy="179"/>
              </a:xfrm>
              <a:custGeom>
                <a:avLst/>
                <a:gdLst>
                  <a:gd name="T0" fmla="*/ 177 w 149"/>
                  <a:gd name="T1" fmla="*/ 0 h 76"/>
                  <a:gd name="T2" fmla="*/ 0 w 149"/>
                  <a:gd name="T3" fmla="*/ 179 h 76"/>
                  <a:gd name="T4" fmla="*/ 66 w 149"/>
                  <a:gd name="T5" fmla="*/ 179 h 76"/>
                  <a:gd name="T6" fmla="*/ 78 w 149"/>
                  <a:gd name="T7" fmla="*/ 158 h 76"/>
                  <a:gd name="T8" fmla="*/ 80 w 149"/>
                  <a:gd name="T9" fmla="*/ 179 h 76"/>
                  <a:gd name="T10" fmla="*/ 283 w 149"/>
                  <a:gd name="T11" fmla="*/ 179 h 76"/>
                  <a:gd name="T12" fmla="*/ 288 w 149"/>
                  <a:gd name="T13" fmla="*/ 158 h 76"/>
                  <a:gd name="T14" fmla="*/ 298 w 149"/>
                  <a:gd name="T15" fmla="*/ 179 h 76"/>
                  <a:gd name="T16" fmla="*/ 352 w 149"/>
                  <a:gd name="T17" fmla="*/ 179 h 76"/>
                  <a:gd name="T18" fmla="*/ 177 w 149"/>
                  <a:gd name="T19" fmla="*/ 0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9" h="76">
                    <a:moveTo>
                      <a:pt x="75" y="0"/>
                    </a:moveTo>
                    <a:cubicBezTo>
                      <a:pt x="40" y="0"/>
                      <a:pt x="12" y="34"/>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38" y="34"/>
                      <a:pt x="110" y="0"/>
                      <a:pt x="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7" name="Freeform 69">
                <a:extLst>
                  <a:ext uri="{FF2B5EF4-FFF2-40B4-BE49-F238E27FC236}"/>
                </a:extLst>
              </p:cNvPr>
              <p:cNvSpPr>
                <a:spLocks/>
              </p:cNvSpPr>
              <p:nvPr/>
            </p:nvSpPr>
            <p:spPr bwMode="auto">
              <a:xfrm>
                <a:off x="2228" y="1681"/>
                <a:ext cx="40" cy="29"/>
              </a:xfrm>
              <a:custGeom>
                <a:avLst/>
                <a:gdLst>
                  <a:gd name="T0" fmla="*/ 5 w 17"/>
                  <a:gd name="T1" fmla="*/ 22 h 12"/>
                  <a:gd name="T2" fmla="*/ 24 w 17"/>
                  <a:gd name="T3" fmla="*/ 12 h 12"/>
                  <a:gd name="T4" fmla="*/ 40 w 17"/>
                  <a:gd name="T5" fmla="*/ 0 h 12"/>
                  <a:gd name="T6" fmla="*/ 5 w 17"/>
                  <a:gd name="T7" fmla="*/ 2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2">
                    <a:moveTo>
                      <a:pt x="2" y="9"/>
                    </a:moveTo>
                    <a:cubicBezTo>
                      <a:pt x="4" y="12"/>
                      <a:pt x="9" y="6"/>
                      <a:pt x="10" y="5"/>
                    </a:cubicBezTo>
                    <a:cubicBezTo>
                      <a:pt x="11" y="3"/>
                      <a:pt x="15" y="0"/>
                      <a:pt x="17" y="0"/>
                    </a:cubicBezTo>
                    <a:cubicBezTo>
                      <a:pt x="11" y="0"/>
                      <a:pt x="0"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8" name="Freeform 70">
                <a:extLst>
                  <a:ext uri="{FF2B5EF4-FFF2-40B4-BE49-F238E27FC236}"/>
                </a:extLst>
              </p:cNvPr>
              <p:cNvSpPr>
                <a:spLocks/>
              </p:cNvSpPr>
              <p:nvPr/>
            </p:nvSpPr>
            <p:spPr bwMode="auto">
              <a:xfrm>
                <a:off x="2225" y="1622"/>
                <a:ext cx="33" cy="14"/>
              </a:xfrm>
              <a:custGeom>
                <a:avLst/>
                <a:gdLst>
                  <a:gd name="T0" fmla="*/ 17 w 14"/>
                  <a:gd name="T1" fmla="*/ 9 h 6"/>
                  <a:gd name="T2" fmla="*/ 33 w 14"/>
                  <a:gd name="T3" fmla="*/ 9 h 6"/>
                  <a:gd name="T4" fmla="*/ 0 w 14"/>
                  <a:gd name="T5" fmla="*/ 7 h 6"/>
                  <a:gd name="T6" fmla="*/ 17 w 14"/>
                  <a:gd name="T7" fmla="*/ 9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6">
                    <a:moveTo>
                      <a:pt x="7" y="4"/>
                    </a:moveTo>
                    <a:cubicBezTo>
                      <a:pt x="9" y="3"/>
                      <a:pt x="13" y="3"/>
                      <a:pt x="14" y="4"/>
                    </a:cubicBezTo>
                    <a:cubicBezTo>
                      <a:pt x="10" y="1"/>
                      <a:pt x="0" y="0"/>
                      <a:pt x="0" y="3"/>
                    </a:cubicBezTo>
                    <a:cubicBezTo>
                      <a:pt x="0" y="6"/>
                      <a:pt x="6" y="4"/>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9" name="Freeform 71">
                <a:extLst>
                  <a:ext uri="{FF2B5EF4-FFF2-40B4-BE49-F238E27FC236}"/>
                </a:extLst>
              </p:cNvPr>
              <p:cNvSpPr>
                <a:spLocks/>
              </p:cNvSpPr>
              <p:nvPr/>
            </p:nvSpPr>
            <p:spPr bwMode="auto">
              <a:xfrm>
                <a:off x="2228" y="1575"/>
                <a:ext cx="33" cy="21"/>
              </a:xfrm>
              <a:custGeom>
                <a:avLst/>
                <a:gdLst>
                  <a:gd name="T0" fmla="*/ 19 w 14"/>
                  <a:gd name="T1" fmla="*/ 14 h 9"/>
                  <a:gd name="T2" fmla="*/ 33 w 14"/>
                  <a:gd name="T3" fmla="*/ 21 h 9"/>
                  <a:gd name="T4" fmla="*/ 2 w 14"/>
                  <a:gd name="T5" fmla="*/ 7 h 9"/>
                  <a:gd name="T6" fmla="*/ 19 w 14"/>
                  <a:gd name="T7" fmla="*/ 14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9">
                    <a:moveTo>
                      <a:pt x="8" y="6"/>
                    </a:moveTo>
                    <a:cubicBezTo>
                      <a:pt x="9" y="7"/>
                      <a:pt x="13" y="8"/>
                      <a:pt x="14" y="9"/>
                    </a:cubicBezTo>
                    <a:cubicBezTo>
                      <a:pt x="12" y="5"/>
                      <a:pt x="3" y="0"/>
                      <a:pt x="1" y="3"/>
                    </a:cubicBezTo>
                    <a:cubicBezTo>
                      <a:pt x="0" y="6"/>
                      <a:pt x="6" y="6"/>
                      <a:pt x="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20" name="Freeform 72">
                <a:extLst>
                  <a:ext uri="{FF2B5EF4-FFF2-40B4-BE49-F238E27FC236}"/>
                </a:extLst>
              </p:cNvPr>
              <p:cNvSpPr>
                <a:spLocks/>
              </p:cNvSpPr>
              <p:nvPr/>
            </p:nvSpPr>
            <p:spPr bwMode="auto">
              <a:xfrm>
                <a:off x="2426" y="1681"/>
                <a:ext cx="40" cy="31"/>
              </a:xfrm>
              <a:custGeom>
                <a:avLst/>
                <a:gdLst>
                  <a:gd name="T0" fmla="*/ 16 w 17"/>
                  <a:gd name="T1" fmla="*/ 12 h 13"/>
                  <a:gd name="T2" fmla="*/ 33 w 17"/>
                  <a:gd name="T3" fmla="*/ 26 h 13"/>
                  <a:gd name="T4" fmla="*/ 0 w 17"/>
                  <a:gd name="T5" fmla="*/ 0 h 13"/>
                  <a:gd name="T6" fmla="*/ 16 w 17"/>
                  <a:gd name="T7" fmla="*/ 12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3">
                    <a:moveTo>
                      <a:pt x="7" y="5"/>
                    </a:moveTo>
                    <a:cubicBezTo>
                      <a:pt x="8" y="7"/>
                      <a:pt x="12" y="13"/>
                      <a:pt x="14" y="11"/>
                    </a:cubicBezTo>
                    <a:cubicBezTo>
                      <a:pt x="17" y="7"/>
                      <a:pt x="6" y="0"/>
                      <a:pt x="0" y="0"/>
                    </a:cubicBezTo>
                    <a:cubicBezTo>
                      <a:pt x="3" y="0"/>
                      <a:pt x="6" y="4"/>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21" name="Freeform 73">
                <a:extLst>
                  <a:ext uri="{FF2B5EF4-FFF2-40B4-BE49-F238E27FC236}"/>
                </a:extLst>
              </p:cNvPr>
              <p:cNvSpPr>
                <a:spLocks/>
              </p:cNvSpPr>
              <p:nvPr/>
            </p:nvSpPr>
            <p:spPr bwMode="auto">
              <a:xfrm>
                <a:off x="2450" y="1629"/>
                <a:ext cx="33" cy="15"/>
              </a:xfrm>
              <a:custGeom>
                <a:avLst/>
                <a:gdLst>
                  <a:gd name="T0" fmla="*/ 14 w 14"/>
                  <a:gd name="T1" fmla="*/ 8 h 6"/>
                  <a:gd name="T2" fmla="*/ 33 w 14"/>
                  <a:gd name="T3" fmla="*/ 10 h 6"/>
                  <a:gd name="T4" fmla="*/ 0 w 14"/>
                  <a:gd name="T5" fmla="*/ 5 h 6"/>
                  <a:gd name="T6" fmla="*/ 14 w 14"/>
                  <a:gd name="T7" fmla="*/ 8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6">
                    <a:moveTo>
                      <a:pt x="6" y="3"/>
                    </a:moveTo>
                    <a:cubicBezTo>
                      <a:pt x="8" y="4"/>
                      <a:pt x="13" y="6"/>
                      <a:pt x="14" y="4"/>
                    </a:cubicBezTo>
                    <a:cubicBezTo>
                      <a:pt x="14" y="0"/>
                      <a:pt x="4" y="0"/>
                      <a:pt x="0" y="2"/>
                    </a:cubicBezTo>
                    <a:cubicBezTo>
                      <a:pt x="1" y="2"/>
                      <a:pt x="5" y="2"/>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22" name="Freeform 74">
                <a:extLst>
                  <a:ext uri="{FF2B5EF4-FFF2-40B4-BE49-F238E27FC236}"/>
                </a:extLst>
              </p:cNvPr>
              <p:cNvSpPr>
                <a:spLocks/>
              </p:cNvSpPr>
              <p:nvPr/>
            </p:nvSpPr>
            <p:spPr bwMode="auto">
              <a:xfrm>
                <a:off x="2431" y="1577"/>
                <a:ext cx="35" cy="19"/>
              </a:xfrm>
              <a:custGeom>
                <a:avLst/>
                <a:gdLst>
                  <a:gd name="T0" fmla="*/ 33 w 15"/>
                  <a:gd name="T1" fmla="*/ 7 h 8"/>
                  <a:gd name="T2" fmla="*/ 0 w 15"/>
                  <a:gd name="T3" fmla="*/ 19 h 8"/>
                  <a:gd name="T4" fmla="*/ 16 w 15"/>
                  <a:gd name="T5" fmla="*/ 12 h 8"/>
                  <a:gd name="T6" fmla="*/ 33 w 15"/>
                  <a:gd name="T7" fmla="*/ 7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8">
                    <a:moveTo>
                      <a:pt x="14" y="3"/>
                    </a:moveTo>
                    <a:cubicBezTo>
                      <a:pt x="13" y="0"/>
                      <a:pt x="3" y="3"/>
                      <a:pt x="0" y="8"/>
                    </a:cubicBezTo>
                    <a:cubicBezTo>
                      <a:pt x="1" y="6"/>
                      <a:pt x="5" y="5"/>
                      <a:pt x="7" y="5"/>
                    </a:cubicBezTo>
                    <a:cubicBezTo>
                      <a:pt x="8" y="5"/>
                      <a:pt x="15" y="6"/>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grpSp>
      </p:grpSp>
      <p:grpSp>
        <p:nvGrpSpPr>
          <p:cNvPr id="65610" name="Group 249"/>
          <p:cNvGrpSpPr>
            <a:grpSpLocks/>
          </p:cNvGrpSpPr>
          <p:nvPr/>
        </p:nvGrpSpPr>
        <p:grpSpPr bwMode="auto">
          <a:xfrm>
            <a:off x="6011863" y="4891088"/>
            <a:ext cx="252412" cy="252412"/>
            <a:chOff x="6070502" y="3050116"/>
            <a:chExt cx="365760" cy="365760"/>
          </a:xfrm>
        </p:grpSpPr>
        <p:sp>
          <p:nvSpPr>
            <p:cNvPr id="224" name="Oval 223">
              <a:extLst>
                <a:ext uri="{FF2B5EF4-FFF2-40B4-BE49-F238E27FC236}"/>
              </a:extLst>
            </p:cNvPr>
            <p:cNvSpPr/>
            <p:nvPr/>
          </p:nvSpPr>
          <p:spPr bwMode="ltGray">
            <a:xfrm>
              <a:off x="6070502" y="3050116"/>
              <a:ext cx="365760" cy="365760"/>
            </a:xfrm>
            <a:prstGeom prst="ellipse">
              <a:avLst/>
            </a:prstGeom>
            <a:solidFill>
              <a:srgbClr val="009ACE"/>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25" name="Freeform 4">
              <a:extLst>
                <a:ext uri="{FF2B5EF4-FFF2-40B4-BE49-F238E27FC236}"/>
              </a:extLst>
            </p:cNvPr>
            <p:cNvSpPr>
              <a:spLocks noEditPoints="1"/>
            </p:cNvSpPr>
            <p:nvPr/>
          </p:nvSpPr>
          <p:spPr bwMode="auto">
            <a:xfrm>
              <a:off x="6118809" y="3089222"/>
              <a:ext cx="287548" cy="287548"/>
            </a:xfrm>
            <a:custGeom>
              <a:avLst/>
              <a:gdLst>
                <a:gd name="T0" fmla="*/ 85790705 w 173"/>
                <a:gd name="T1" fmla="*/ 782065674 h 172"/>
                <a:gd name="T2" fmla="*/ 69704324 w 173"/>
                <a:gd name="T3" fmla="*/ 927691535 h 172"/>
                <a:gd name="T4" fmla="*/ 166219283 w 173"/>
                <a:gd name="T5" fmla="*/ 803640558 h 172"/>
                <a:gd name="T6" fmla="*/ 144772439 w 173"/>
                <a:gd name="T7" fmla="*/ 738917581 h 172"/>
                <a:gd name="T8" fmla="*/ 134048185 w 173"/>
                <a:gd name="T9" fmla="*/ 695769488 h 172"/>
                <a:gd name="T10" fmla="*/ 445039908 w 173"/>
                <a:gd name="T11" fmla="*/ 690374512 h 172"/>
                <a:gd name="T12" fmla="*/ 471850543 w 173"/>
                <a:gd name="T13" fmla="*/ 647226419 h 172"/>
                <a:gd name="T14" fmla="*/ 520108023 w 173"/>
                <a:gd name="T15" fmla="*/ 614864930 h 172"/>
                <a:gd name="T16" fmla="*/ 927614705 w 173"/>
                <a:gd name="T17" fmla="*/ 873755163 h 172"/>
                <a:gd name="T18" fmla="*/ 734584786 w 173"/>
                <a:gd name="T19" fmla="*/ 825213767 h 172"/>
                <a:gd name="T20" fmla="*/ 471850543 w 173"/>
                <a:gd name="T21" fmla="*/ 566323535 h 172"/>
                <a:gd name="T22" fmla="*/ 579089757 w 173"/>
                <a:gd name="T23" fmla="*/ 517782140 h 172"/>
                <a:gd name="T24" fmla="*/ 836461873 w 173"/>
                <a:gd name="T25" fmla="*/ 749704186 h 172"/>
                <a:gd name="T26" fmla="*/ 638069827 w 173"/>
                <a:gd name="T27" fmla="*/ 361368000 h 172"/>
                <a:gd name="T28" fmla="*/ 316353850 w 173"/>
                <a:gd name="T29" fmla="*/ 204955535 h 172"/>
                <a:gd name="T30" fmla="*/ 209114636 w 173"/>
                <a:gd name="T31" fmla="*/ 183380651 h 172"/>
                <a:gd name="T32" fmla="*/ 171581410 w 173"/>
                <a:gd name="T33" fmla="*/ 280465116 h 172"/>
                <a:gd name="T34" fmla="*/ 455764162 w 173"/>
                <a:gd name="T35" fmla="*/ 517782140 h 172"/>
                <a:gd name="T36" fmla="*/ 278820624 w 173"/>
                <a:gd name="T37" fmla="*/ 566323535 h 172"/>
                <a:gd name="T38" fmla="*/ 0 w 173"/>
                <a:gd name="T39" fmla="*/ 194167256 h 172"/>
                <a:gd name="T40" fmla="*/ 450402035 w 173"/>
                <a:gd name="T41" fmla="*/ 614864930 h 172"/>
                <a:gd name="T42" fmla="*/ 445039908 w 173"/>
                <a:gd name="T43" fmla="*/ 663408000 h 172"/>
                <a:gd name="T44" fmla="*/ 101877087 w 173"/>
                <a:gd name="T45" fmla="*/ 695769488 h 172"/>
                <a:gd name="T46" fmla="*/ 85790705 w 173"/>
                <a:gd name="T47" fmla="*/ 738917581 h 172"/>
                <a:gd name="T48" fmla="*/ 541554867 w 173"/>
                <a:gd name="T49" fmla="*/ 469239070 h 172"/>
                <a:gd name="T50" fmla="*/ 466488416 w 173"/>
                <a:gd name="T51" fmla="*/ 485420651 h 172"/>
                <a:gd name="T52" fmla="*/ 509383769 w 173"/>
                <a:gd name="T53" fmla="*/ 453059163 h 172"/>
                <a:gd name="T54" fmla="*/ 337802358 w 173"/>
                <a:gd name="T55" fmla="*/ 485420651 h 172"/>
                <a:gd name="T56" fmla="*/ 230563145 w 173"/>
                <a:gd name="T57" fmla="*/ 226528744 h 172"/>
                <a:gd name="T58" fmla="*/ 359249202 w 173"/>
                <a:gd name="T59" fmla="*/ 453059163 h 172"/>
                <a:gd name="T60" fmla="*/ 455764162 w 173"/>
                <a:gd name="T61" fmla="*/ 485420651 h 172"/>
                <a:gd name="T62" fmla="*/ 96514960 w 173"/>
                <a:gd name="T63" fmla="*/ 26968186 h 172"/>
                <a:gd name="T64" fmla="*/ 96514960 w 173"/>
                <a:gd name="T65" fmla="*/ 151019163 h 172"/>
                <a:gd name="T66" fmla="*/ 219838890 w 173"/>
                <a:gd name="T67" fmla="*/ 151019163 h 172"/>
                <a:gd name="T68" fmla="*/ 219838890 w 173"/>
                <a:gd name="T69" fmla="*/ 26968186 h 172"/>
                <a:gd name="T70" fmla="*/ 117961803 w 173"/>
                <a:gd name="T71" fmla="*/ 798245581 h 172"/>
                <a:gd name="T72" fmla="*/ 117961803 w 173"/>
                <a:gd name="T73" fmla="*/ 879150140 h 172"/>
                <a:gd name="T74" fmla="*/ 117961803 w 173"/>
                <a:gd name="T75" fmla="*/ 798245581 h 172"/>
                <a:gd name="T76" fmla="*/ 112601341 w 173"/>
                <a:gd name="T77" fmla="*/ 846788651 h 172"/>
                <a:gd name="T78" fmla="*/ 101877087 w 173"/>
                <a:gd name="T79" fmla="*/ 852181953 h 172"/>
                <a:gd name="T80" fmla="*/ 112601341 w 173"/>
                <a:gd name="T81" fmla="*/ 862968558 h 172"/>
                <a:gd name="T82" fmla="*/ 123323931 w 173"/>
                <a:gd name="T83" fmla="*/ 852181953 h 172"/>
                <a:gd name="T84" fmla="*/ 134048185 w 173"/>
                <a:gd name="T85" fmla="*/ 846788651 h 172"/>
                <a:gd name="T86" fmla="*/ 123323931 w 173"/>
                <a:gd name="T87" fmla="*/ 830607070 h 1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3" h="172">
                  <a:moveTo>
                    <a:pt x="16" y="137"/>
                  </a:moveTo>
                  <a:cubicBezTo>
                    <a:pt x="16" y="145"/>
                    <a:pt x="16" y="145"/>
                    <a:pt x="16" y="145"/>
                  </a:cubicBezTo>
                  <a:cubicBezTo>
                    <a:pt x="13" y="149"/>
                    <a:pt x="13" y="149"/>
                    <a:pt x="13" y="149"/>
                  </a:cubicBezTo>
                  <a:cubicBezTo>
                    <a:pt x="13" y="172"/>
                    <a:pt x="13" y="172"/>
                    <a:pt x="13" y="172"/>
                  </a:cubicBezTo>
                  <a:cubicBezTo>
                    <a:pt x="31" y="172"/>
                    <a:pt x="31" y="172"/>
                    <a:pt x="31" y="172"/>
                  </a:cubicBezTo>
                  <a:cubicBezTo>
                    <a:pt x="31" y="149"/>
                    <a:pt x="31" y="149"/>
                    <a:pt x="31" y="149"/>
                  </a:cubicBezTo>
                  <a:cubicBezTo>
                    <a:pt x="27" y="145"/>
                    <a:pt x="27" y="145"/>
                    <a:pt x="27" y="145"/>
                  </a:cubicBezTo>
                  <a:cubicBezTo>
                    <a:pt x="27" y="137"/>
                    <a:pt x="27" y="137"/>
                    <a:pt x="27" y="137"/>
                  </a:cubicBezTo>
                  <a:cubicBezTo>
                    <a:pt x="25" y="137"/>
                    <a:pt x="25" y="137"/>
                    <a:pt x="25" y="137"/>
                  </a:cubicBezTo>
                  <a:cubicBezTo>
                    <a:pt x="25" y="129"/>
                    <a:pt x="25" y="129"/>
                    <a:pt x="25" y="129"/>
                  </a:cubicBezTo>
                  <a:cubicBezTo>
                    <a:pt x="25" y="129"/>
                    <a:pt x="25" y="128"/>
                    <a:pt x="25" y="128"/>
                  </a:cubicBezTo>
                  <a:cubicBezTo>
                    <a:pt x="83" y="128"/>
                    <a:pt x="83" y="128"/>
                    <a:pt x="83" y="128"/>
                  </a:cubicBezTo>
                  <a:cubicBezTo>
                    <a:pt x="85" y="128"/>
                    <a:pt x="87" y="127"/>
                    <a:pt x="87" y="126"/>
                  </a:cubicBezTo>
                  <a:cubicBezTo>
                    <a:pt x="88" y="125"/>
                    <a:pt x="88" y="123"/>
                    <a:pt x="88" y="120"/>
                  </a:cubicBezTo>
                  <a:cubicBezTo>
                    <a:pt x="88" y="114"/>
                    <a:pt x="88" y="114"/>
                    <a:pt x="88" y="114"/>
                  </a:cubicBezTo>
                  <a:cubicBezTo>
                    <a:pt x="97" y="114"/>
                    <a:pt x="97" y="114"/>
                    <a:pt x="97" y="114"/>
                  </a:cubicBezTo>
                  <a:cubicBezTo>
                    <a:pt x="132" y="162"/>
                    <a:pt x="132" y="162"/>
                    <a:pt x="132" y="162"/>
                  </a:cubicBezTo>
                  <a:cubicBezTo>
                    <a:pt x="173" y="162"/>
                    <a:pt x="173" y="162"/>
                    <a:pt x="173" y="162"/>
                  </a:cubicBezTo>
                  <a:cubicBezTo>
                    <a:pt x="168" y="153"/>
                    <a:pt x="168" y="153"/>
                    <a:pt x="168" y="153"/>
                  </a:cubicBezTo>
                  <a:cubicBezTo>
                    <a:pt x="137" y="153"/>
                    <a:pt x="137" y="153"/>
                    <a:pt x="137" y="153"/>
                  </a:cubicBezTo>
                  <a:cubicBezTo>
                    <a:pt x="103" y="105"/>
                    <a:pt x="103" y="105"/>
                    <a:pt x="103" y="105"/>
                  </a:cubicBezTo>
                  <a:cubicBezTo>
                    <a:pt x="88" y="105"/>
                    <a:pt x="88" y="105"/>
                    <a:pt x="88" y="105"/>
                  </a:cubicBezTo>
                  <a:cubicBezTo>
                    <a:pt x="87" y="96"/>
                    <a:pt x="87" y="96"/>
                    <a:pt x="87" y="96"/>
                  </a:cubicBezTo>
                  <a:cubicBezTo>
                    <a:pt x="108" y="96"/>
                    <a:pt x="108" y="96"/>
                    <a:pt x="108" y="96"/>
                  </a:cubicBezTo>
                  <a:cubicBezTo>
                    <a:pt x="142" y="138"/>
                    <a:pt x="142" y="138"/>
                    <a:pt x="142" y="138"/>
                  </a:cubicBezTo>
                  <a:cubicBezTo>
                    <a:pt x="143" y="140"/>
                    <a:pt x="148" y="141"/>
                    <a:pt x="156" y="139"/>
                  </a:cubicBezTo>
                  <a:cubicBezTo>
                    <a:pt x="164" y="138"/>
                    <a:pt x="167" y="131"/>
                    <a:pt x="166" y="119"/>
                  </a:cubicBezTo>
                  <a:cubicBezTo>
                    <a:pt x="119" y="67"/>
                    <a:pt x="119" y="67"/>
                    <a:pt x="119" y="67"/>
                  </a:cubicBezTo>
                  <a:cubicBezTo>
                    <a:pt x="78" y="67"/>
                    <a:pt x="78" y="67"/>
                    <a:pt x="78" y="67"/>
                  </a:cubicBezTo>
                  <a:cubicBezTo>
                    <a:pt x="59" y="38"/>
                    <a:pt x="59" y="38"/>
                    <a:pt x="59" y="38"/>
                  </a:cubicBezTo>
                  <a:cubicBezTo>
                    <a:pt x="57" y="34"/>
                    <a:pt x="54" y="32"/>
                    <a:pt x="50" y="32"/>
                  </a:cubicBezTo>
                  <a:cubicBezTo>
                    <a:pt x="46" y="32"/>
                    <a:pt x="43" y="33"/>
                    <a:pt x="39" y="34"/>
                  </a:cubicBezTo>
                  <a:cubicBezTo>
                    <a:pt x="36" y="36"/>
                    <a:pt x="33" y="39"/>
                    <a:pt x="32" y="42"/>
                  </a:cubicBezTo>
                  <a:cubicBezTo>
                    <a:pt x="30" y="45"/>
                    <a:pt x="30" y="49"/>
                    <a:pt x="32" y="52"/>
                  </a:cubicBezTo>
                  <a:cubicBezTo>
                    <a:pt x="57" y="96"/>
                    <a:pt x="57" y="96"/>
                    <a:pt x="57" y="96"/>
                  </a:cubicBezTo>
                  <a:cubicBezTo>
                    <a:pt x="85" y="96"/>
                    <a:pt x="85" y="96"/>
                    <a:pt x="85" y="96"/>
                  </a:cubicBezTo>
                  <a:cubicBezTo>
                    <a:pt x="84" y="105"/>
                    <a:pt x="84" y="105"/>
                    <a:pt x="84" y="105"/>
                  </a:cubicBezTo>
                  <a:cubicBezTo>
                    <a:pt x="52" y="105"/>
                    <a:pt x="52" y="105"/>
                    <a:pt x="52" y="105"/>
                  </a:cubicBezTo>
                  <a:cubicBezTo>
                    <a:pt x="8" y="31"/>
                    <a:pt x="8" y="31"/>
                    <a:pt x="8" y="31"/>
                  </a:cubicBezTo>
                  <a:cubicBezTo>
                    <a:pt x="0" y="36"/>
                    <a:pt x="0" y="36"/>
                    <a:pt x="0" y="36"/>
                  </a:cubicBezTo>
                  <a:cubicBezTo>
                    <a:pt x="46" y="114"/>
                    <a:pt x="46" y="114"/>
                    <a:pt x="46" y="114"/>
                  </a:cubicBezTo>
                  <a:cubicBezTo>
                    <a:pt x="84" y="114"/>
                    <a:pt x="84" y="114"/>
                    <a:pt x="84" y="114"/>
                  </a:cubicBezTo>
                  <a:cubicBezTo>
                    <a:pt x="84" y="122"/>
                    <a:pt x="84" y="122"/>
                    <a:pt x="84" y="122"/>
                  </a:cubicBezTo>
                  <a:cubicBezTo>
                    <a:pt x="84" y="123"/>
                    <a:pt x="84" y="123"/>
                    <a:pt x="83" y="123"/>
                  </a:cubicBezTo>
                  <a:cubicBezTo>
                    <a:pt x="26" y="123"/>
                    <a:pt x="26" y="123"/>
                    <a:pt x="26" y="123"/>
                  </a:cubicBezTo>
                  <a:cubicBezTo>
                    <a:pt x="22" y="123"/>
                    <a:pt x="19" y="125"/>
                    <a:pt x="19" y="129"/>
                  </a:cubicBezTo>
                  <a:cubicBezTo>
                    <a:pt x="19" y="137"/>
                    <a:pt x="19" y="137"/>
                    <a:pt x="19" y="137"/>
                  </a:cubicBezTo>
                  <a:lnTo>
                    <a:pt x="16" y="137"/>
                  </a:lnTo>
                  <a:close/>
                  <a:moveTo>
                    <a:pt x="95" y="84"/>
                  </a:moveTo>
                  <a:cubicBezTo>
                    <a:pt x="98" y="83"/>
                    <a:pt x="100" y="84"/>
                    <a:pt x="101" y="87"/>
                  </a:cubicBezTo>
                  <a:cubicBezTo>
                    <a:pt x="101" y="89"/>
                    <a:pt x="99" y="90"/>
                    <a:pt x="95" y="90"/>
                  </a:cubicBezTo>
                  <a:cubicBezTo>
                    <a:pt x="87" y="90"/>
                    <a:pt x="87" y="90"/>
                    <a:pt x="87" y="90"/>
                  </a:cubicBezTo>
                  <a:cubicBezTo>
                    <a:pt x="87" y="84"/>
                    <a:pt x="87" y="84"/>
                    <a:pt x="87" y="84"/>
                  </a:cubicBezTo>
                  <a:lnTo>
                    <a:pt x="95" y="84"/>
                  </a:lnTo>
                  <a:close/>
                  <a:moveTo>
                    <a:pt x="85" y="90"/>
                  </a:moveTo>
                  <a:cubicBezTo>
                    <a:pt x="63" y="90"/>
                    <a:pt x="63" y="90"/>
                    <a:pt x="63" y="90"/>
                  </a:cubicBezTo>
                  <a:cubicBezTo>
                    <a:pt x="41" y="49"/>
                    <a:pt x="41" y="49"/>
                    <a:pt x="41" y="49"/>
                  </a:cubicBezTo>
                  <a:cubicBezTo>
                    <a:pt x="39" y="45"/>
                    <a:pt x="40" y="43"/>
                    <a:pt x="43" y="42"/>
                  </a:cubicBezTo>
                  <a:cubicBezTo>
                    <a:pt x="45" y="41"/>
                    <a:pt x="47" y="42"/>
                    <a:pt x="49" y="45"/>
                  </a:cubicBezTo>
                  <a:cubicBezTo>
                    <a:pt x="67" y="84"/>
                    <a:pt x="67" y="84"/>
                    <a:pt x="67" y="84"/>
                  </a:cubicBezTo>
                  <a:cubicBezTo>
                    <a:pt x="85" y="84"/>
                    <a:pt x="85" y="84"/>
                    <a:pt x="85" y="84"/>
                  </a:cubicBezTo>
                  <a:lnTo>
                    <a:pt x="85" y="90"/>
                  </a:lnTo>
                  <a:close/>
                  <a:moveTo>
                    <a:pt x="30" y="0"/>
                  </a:moveTo>
                  <a:cubicBezTo>
                    <a:pt x="25" y="0"/>
                    <a:pt x="21" y="2"/>
                    <a:pt x="18" y="5"/>
                  </a:cubicBezTo>
                  <a:cubicBezTo>
                    <a:pt x="15" y="8"/>
                    <a:pt x="13" y="12"/>
                    <a:pt x="13" y="16"/>
                  </a:cubicBezTo>
                  <a:cubicBezTo>
                    <a:pt x="13" y="21"/>
                    <a:pt x="15" y="25"/>
                    <a:pt x="18" y="28"/>
                  </a:cubicBezTo>
                  <a:cubicBezTo>
                    <a:pt x="21" y="32"/>
                    <a:pt x="25" y="33"/>
                    <a:pt x="30" y="33"/>
                  </a:cubicBezTo>
                  <a:cubicBezTo>
                    <a:pt x="34" y="33"/>
                    <a:pt x="38" y="32"/>
                    <a:pt x="41" y="28"/>
                  </a:cubicBezTo>
                  <a:cubicBezTo>
                    <a:pt x="45" y="25"/>
                    <a:pt x="46" y="21"/>
                    <a:pt x="46" y="16"/>
                  </a:cubicBezTo>
                  <a:cubicBezTo>
                    <a:pt x="46" y="12"/>
                    <a:pt x="45" y="8"/>
                    <a:pt x="41" y="5"/>
                  </a:cubicBezTo>
                  <a:cubicBezTo>
                    <a:pt x="38" y="2"/>
                    <a:pt x="34" y="0"/>
                    <a:pt x="30" y="0"/>
                  </a:cubicBezTo>
                  <a:moveTo>
                    <a:pt x="22" y="148"/>
                  </a:moveTo>
                  <a:cubicBezTo>
                    <a:pt x="24" y="152"/>
                    <a:pt x="25" y="156"/>
                    <a:pt x="25" y="159"/>
                  </a:cubicBezTo>
                  <a:cubicBezTo>
                    <a:pt x="25" y="162"/>
                    <a:pt x="24" y="163"/>
                    <a:pt x="22" y="163"/>
                  </a:cubicBezTo>
                  <a:cubicBezTo>
                    <a:pt x="20" y="163"/>
                    <a:pt x="19" y="162"/>
                    <a:pt x="19" y="159"/>
                  </a:cubicBezTo>
                  <a:cubicBezTo>
                    <a:pt x="18" y="156"/>
                    <a:pt x="19" y="152"/>
                    <a:pt x="22" y="148"/>
                  </a:cubicBezTo>
                  <a:moveTo>
                    <a:pt x="21" y="154"/>
                  </a:moveTo>
                  <a:cubicBezTo>
                    <a:pt x="21" y="157"/>
                    <a:pt x="21" y="157"/>
                    <a:pt x="21" y="157"/>
                  </a:cubicBezTo>
                  <a:cubicBezTo>
                    <a:pt x="19" y="157"/>
                    <a:pt x="19" y="157"/>
                    <a:pt x="19" y="157"/>
                  </a:cubicBezTo>
                  <a:cubicBezTo>
                    <a:pt x="19" y="158"/>
                    <a:pt x="19" y="158"/>
                    <a:pt x="19" y="158"/>
                  </a:cubicBezTo>
                  <a:cubicBezTo>
                    <a:pt x="21" y="158"/>
                    <a:pt x="21" y="158"/>
                    <a:pt x="21" y="158"/>
                  </a:cubicBezTo>
                  <a:cubicBezTo>
                    <a:pt x="21" y="160"/>
                    <a:pt x="21" y="160"/>
                    <a:pt x="21" y="160"/>
                  </a:cubicBezTo>
                  <a:cubicBezTo>
                    <a:pt x="23" y="160"/>
                    <a:pt x="23" y="160"/>
                    <a:pt x="23" y="160"/>
                  </a:cubicBezTo>
                  <a:cubicBezTo>
                    <a:pt x="23" y="158"/>
                    <a:pt x="23" y="158"/>
                    <a:pt x="23" y="158"/>
                  </a:cubicBezTo>
                  <a:cubicBezTo>
                    <a:pt x="25" y="158"/>
                    <a:pt x="25" y="158"/>
                    <a:pt x="25" y="158"/>
                  </a:cubicBezTo>
                  <a:cubicBezTo>
                    <a:pt x="25" y="157"/>
                    <a:pt x="25" y="157"/>
                    <a:pt x="25" y="157"/>
                  </a:cubicBezTo>
                  <a:cubicBezTo>
                    <a:pt x="23" y="157"/>
                    <a:pt x="23" y="157"/>
                    <a:pt x="23" y="157"/>
                  </a:cubicBezTo>
                  <a:cubicBezTo>
                    <a:pt x="23" y="154"/>
                    <a:pt x="23" y="154"/>
                    <a:pt x="23" y="154"/>
                  </a:cubicBezTo>
                  <a:lnTo>
                    <a:pt x="21"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611" name="Group 252"/>
          <p:cNvGrpSpPr>
            <a:grpSpLocks/>
          </p:cNvGrpSpPr>
          <p:nvPr/>
        </p:nvGrpSpPr>
        <p:grpSpPr bwMode="auto">
          <a:xfrm>
            <a:off x="6011863" y="4187825"/>
            <a:ext cx="252412" cy="252413"/>
            <a:chOff x="6073705" y="1681560"/>
            <a:chExt cx="365760" cy="365760"/>
          </a:xfrm>
        </p:grpSpPr>
        <p:sp>
          <p:nvSpPr>
            <p:cNvPr id="227" name="Oval 226">
              <a:extLst>
                <a:ext uri="{FF2B5EF4-FFF2-40B4-BE49-F238E27FC236}"/>
              </a:extLst>
            </p:cNvPr>
            <p:cNvSpPr/>
            <p:nvPr/>
          </p:nvSpPr>
          <p:spPr bwMode="ltGray">
            <a:xfrm>
              <a:off x="6073705" y="1681560"/>
              <a:ext cx="365760" cy="365760"/>
            </a:xfrm>
            <a:prstGeom prst="ellipse">
              <a:avLst/>
            </a:prstGeom>
            <a:solidFill>
              <a:srgbClr val="009ACE"/>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28" name="Freeform 25">
              <a:extLst>
                <a:ext uri="{FF2B5EF4-FFF2-40B4-BE49-F238E27FC236}"/>
              </a:extLst>
            </p:cNvPr>
            <p:cNvSpPr>
              <a:spLocks noEditPoints="1"/>
            </p:cNvSpPr>
            <p:nvPr/>
          </p:nvSpPr>
          <p:spPr bwMode="auto">
            <a:xfrm>
              <a:off x="6099008" y="1720667"/>
              <a:ext cx="289848" cy="324352"/>
            </a:xfrm>
            <a:custGeom>
              <a:avLst/>
              <a:gdLst>
                <a:gd name="T0" fmla="*/ 759665898 w 177"/>
                <a:gd name="T1" fmla="*/ 5713377 h 183"/>
                <a:gd name="T2" fmla="*/ 733470915 w 177"/>
                <a:gd name="T3" fmla="*/ 34280262 h 183"/>
                <a:gd name="T4" fmla="*/ 681079322 w 177"/>
                <a:gd name="T5" fmla="*/ 262818885 h 183"/>
                <a:gd name="T6" fmla="*/ 560581424 w 177"/>
                <a:gd name="T7" fmla="*/ 194258361 h 183"/>
                <a:gd name="T8" fmla="*/ 581537085 w 177"/>
                <a:gd name="T9" fmla="*/ 234252000 h 183"/>
                <a:gd name="T10" fmla="*/ 172889492 w 177"/>
                <a:gd name="T11" fmla="*/ 725609508 h 183"/>
                <a:gd name="T12" fmla="*/ 162410847 w 177"/>
                <a:gd name="T13" fmla="*/ 799885180 h 183"/>
                <a:gd name="T14" fmla="*/ 26194983 w 177"/>
                <a:gd name="T15" fmla="*/ 988430164 h 183"/>
                <a:gd name="T16" fmla="*/ 0 w 177"/>
                <a:gd name="T17" fmla="*/ 1039850557 h 183"/>
                <a:gd name="T18" fmla="*/ 10478644 w 177"/>
                <a:gd name="T19" fmla="*/ 1045563934 h 183"/>
                <a:gd name="T20" fmla="*/ 214802441 w 177"/>
                <a:gd name="T21" fmla="*/ 857018951 h 183"/>
                <a:gd name="T22" fmla="*/ 277671051 w 177"/>
                <a:gd name="T23" fmla="*/ 839878820 h 183"/>
                <a:gd name="T24" fmla="*/ 717752949 w 177"/>
                <a:gd name="T25" fmla="*/ 377088197 h 183"/>
                <a:gd name="T26" fmla="*/ 754426576 w 177"/>
                <a:gd name="T27" fmla="*/ 399941705 h 183"/>
                <a:gd name="T28" fmla="*/ 696797288 w 177"/>
                <a:gd name="T29" fmla="*/ 279959016 h 183"/>
                <a:gd name="T30" fmla="*/ 901121085 w 177"/>
                <a:gd name="T31" fmla="*/ 205685115 h 183"/>
                <a:gd name="T32" fmla="*/ 922076746 w 177"/>
                <a:gd name="T33" fmla="*/ 177118230 h 183"/>
                <a:gd name="T34" fmla="*/ 26194983 w 177"/>
                <a:gd name="T35" fmla="*/ 994143541 h 183"/>
                <a:gd name="T36" fmla="*/ 183368136 w 177"/>
                <a:gd name="T37" fmla="*/ 822738689 h 183"/>
                <a:gd name="T38" fmla="*/ 15717966 w 177"/>
                <a:gd name="T39" fmla="*/ 1028423803 h 183"/>
                <a:gd name="T40" fmla="*/ 178128814 w 177"/>
                <a:gd name="T41" fmla="*/ 799885180 h 183"/>
                <a:gd name="T42" fmla="*/ 246236746 w 177"/>
                <a:gd name="T43" fmla="*/ 799885180 h 183"/>
                <a:gd name="T44" fmla="*/ 351018305 w 177"/>
                <a:gd name="T45" fmla="*/ 725609508 h 183"/>
                <a:gd name="T46" fmla="*/ 392931254 w 177"/>
                <a:gd name="T47" fmla="*/ 657048984 h 183"/>
                <a:gd name="T48" fmla="*/ 335300339 w 177"/>
                <a:gd name="T49" fmla="*/ 588486689 h 183"/>
                <a:gd name="T50" fmla="*/ 445321220 w 177"/>
                <a:gd name="T51" fmla="*/ 594200066 h 183"/>
                <a:gd name="T52" fmla="*/ 413886915 w 177"/>
                <a:gd name="T53" fmla="*/ 548493049 h 183"/>
                <a:gd name="T54" fmla="*/ 497712814 w 177"/>
                <a:gd name="T55" fmla="*/ 537066295 h 183"/>
                <a:gd name="T56" fmla="*/ 351018305 w 177"/>
                <a:gd name="T57" fmla="*/ 725609508 h 183"/>
                <a:gd name="T58" fmla="*/ 539624136 w 177"/>
                <a:gd name="T59" fmla="*/ 554206426 h 183"/>
                <a:gd name="T60" fmla="*/ 518668475 w 177"/>
                <a:gd name="T61" fmla="*/ 537066295 h 183"/>
                <a:gd name="T62" fmla="*/ 508189831 w 177"/>
                <a:gd name="T63" fmla="*/ 525639541 h 183"/>
                <a:gd name="T64" fmla="*/ 592015729 w 177"/>
                <a:gd name="T65" fmla="*/ 245678754 h 1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7" h="183">
                  <a:moveTo>
                    <a:pt x="176" y="31"/>
                  </a:moveTo>
                  <a:cubicBezTo>
                    <a:pt x="145" y="1"/>
                    <a:pt x="145" y="1"/>
                    <a:pt x="145" y="1"/>
                  </a:cubicBezTo>
                  <a:cubicBezTo>
                    <a:pt x="144" y="0"/>
                    <a:pt x="142" y="0"/>
                    <a:pt x="141" y="2"/>
                  </a:cubicBezTo>
                  <a:cubicBezTo>
                    <a:pt x="140" y="3"/>
                    <a:pt x="140" y="5"/>
                    <a:pt x="140" y="6"/>
                  </a:cubicBezTo>
                  <a:cubicBezTo>
                    <a:pt x="155" y="20"/>
                    <a:pt x="155" y="20"/>
                    <a:pt x="155" y="20"/>
                  </a:cubicBezTo>
                  <a:cubicBezTo>
                    <a:pt x="130" y="46"/>
                    <a:pt x="130" y="46"/>
                    <a:pt x="130" y="46"/>
                  </a:cubicBezTo>
                  <a:cubicBezTo>
                    <a:pt x="112" y="28"/>
                    <a:pt x="112" y="28"/>
                    <a:pt x="112" y="28"/>
                  </a:cubicBezTo>
                  <a:cubicBezTo>
                    <a:pt x="107" y="34"/>
                    <a:pt x="107" y="34"/>
                    <a:pt x="107" y="34"/>
                  </a:cubicBezTo>
                  <a:cubicBezTo>
                    <a:pt x="113" y="40"/>
                    <a:pt x="113" y="40"/>
                    <a:pt x="113" y="40"/>
                  </a:cubicBezTo>
                  <a:cubicBezTo>
                    <a:pt x="112" y="40"/>
                    <a:pt x="112" y="41"/>
                    <a:pt x="111" y="41"/>
                  </a:cubicBezTo>
                  <a:cubicBezTo>
                    <a:pt x="34" y="120"/>
                    <a:pt x="34" y="120"/>
                    <a:pt x="34" y="120"/>
                  </a:cubicBezTo>
                  <a:cubicBezTo>
                    <a:pt x="32" y="123"/>
                    <a:pt x="31" y="125"/>
                    <a:pt x="33" y="127"/>
                  </a:cubicBezTo>
                  <a:cubicBezTo>
                    <a:pt x="38" y="132"/>
                    <a:pt x="38" y="132"/>
                    <a:pt x="38" y="132"/>
                  </a:cubicBezTo>
                  <a:cubicBezTo>
                    <a:pt x="31" y="140"/>
                    <a:pt x="31" y="140"/>
                    <a:pt x="31" y="140"/>
                  </a:cubicBezTo>
                  <a:cubicBezTo>
                    <a:pt x="34" y="143"/>
                    <a:pt x="34" y="143"/>
                    <a:pt x="34" y="143"/>
                  </a:cubicBezTo>
                  <a:cubicBezTo>
                    <a:pt x="5" y="173"/>
                    <a:pt x="5" y="173"/>
                    <a:pt x="5" y="173"/>
                  </a:cubicBezTo>
                  <a:cubicBezTo>
                    <a:pt x="4" y="173"/>
                    <a:pt x="4" y="173"/>
                    <a:pt x="4" y="173"/>
                  </a:cubicBezTo>
                  <a:cubicBezTo>
                    <a:pt x="0" y="182"/>
                    <a:pt x="0" y="182"/>
                    <a:pt x="0" y="182"/>
                  </a:cubicBezTo>
                  <a:cubicBezTo>
                    <a:pt x="1" y="183"/>
                    <a:pt x="1" y="183"/>
                    <a:pt x="1" y="183"/>
                  </a:cubicBezTo>
                  <a:cubicBezTo>
                    <a:pt x="2" y="183"/>
                    <a:pt x="2" y="183"/>
                    <a:pt x="2" y="183"/>
                  </a:cubicBezTo>
                  <a:cubicBezTo>
                    <a:pt x="37" y="146"/>
                    <a:pt x="37" y="146"/>
                    <a:pt x="37" y="146"/>
                  </a:cubicBezTo>
                  <a:cubicBezTo>
                    <a:pt x="41" y="150"/>
                    <a:pt x="41" y="150"/>
                    <a:pt x="41" y="150"/>
                  </a:cubicBezTo>
                  <a:cubicBezTo>
                    <a:pt x="48" y="142"/>
                    <a:pt x="48" y="142"/>
                    <a:pt x="48" y="142"/>
                  </a:cubicBezTo>
                  <a:cubicBezTo>
                    <a:pt x="53" y="147"/>
                    <a:pt x="53" y="147"/>
                    <a:pt x="53" y="147"/>
                  </a:cubicBezTo>
                  <a:cubicBezTo>
                    <a:pt x="55" y="148"/>
                    <a:pt x="58" y="148"/>
                    <a:pt x="60" y="145"/>
                  </a:cubicBezTo>
                  <a:cubicBezTo>
                    <a:pt x="137" y="66"/>
                    <a:pt x="137" y="66"/>
                    <a:pt x="137" y="66"/>
                  </a:cubicBezTo>
                  <a:cubicBezTo>
                    <a:pt x="137" y="66"/>
                    <a:pt x="138" y="65"/>
                    <a:pt x="138" y="65"/>
                  </a:cubicBezTo>
                  <a:cubicBezTo>
                    <a:pt x="144" y="70"/>
                    <a:pt x="144" y="70"/>
                    <a:pt x="144" y="70"/>
                  </a:cubicBezTo>
                  <a:cubicBezTo>
                    <a:pt x="149" y="65"/>
                    <a:pt x="149" y="65"/>
                    <a:pt x="149" y="65"/>
                  </a:cubicBezTo>
                  <a:cubicBezTo>
                    <a:pt x="133" y="49"/>
                    <a:pt x="133" y="49"/>
                    <a:pt x="133" y="49"/>
                  </a:cubicBezTo>
                  <a:cubicBezTo>
                    <a:pt x="158" y="23"/>
                    <a:pt x="158" y="23"/>
                    <a:pt x="158" y="23"/>
                  </a:cubicBezTo>
                  <a:cubicBezTo>
                    <a:pt x="172" y="36"/>
                    <a:pt x="172" y="36"/>
                    <a:pt x="172" y="36"/>
                  </a:cubicBezTo>
                  <a:cubicBezTo>
                    <a:pt x="173" y="37"/>
                    <a:pt x="175" y="37"/>
                    <a:pt x="176" y="36"/>
                  </a:cubicBezTo>
                  <a:cubicBezTo>
                    <a:pt x="177" y="34"/>
                    <a:pt x="177" y="32"/>
                    <a:pt x="176" y="31"/>
                  </a:cubicBezTo>
                  <a:close/>
                  <a:moveTo>
                    <a:pt x="3" y="180"/>
                  </a:moveTo>
                  <a:cubicBezTo>
                    <a:pt x="5" y="174"/>
                    <a:pt x="5" y="174"/>
                    <a:pt x="5" y="174"/>
                  </a:cubicBezTo>
                  <a:cubicBezTo>
                    <a:pt x="6" y="174"/>
                    <a:pt x="6" y="174"/>
                    <a:pt x="6" y="174"/>
                  </a:cubicBezTo>
                  <a:cubicBezTo>
                    <a:pt x="35" y="144"/>
                    <a:pt x="35" y="144"/>
                    <a:pt x="35" y="144"/>
                  </a:cubicBezTo>
                  <a:cubicBezTo>
                    <a:pt x="36" y="145"/>
                    <a:pt x="36" y="145"/>
                    <a:pt x="36" y="145"/>
                  </a:cubicBezTo>
                  <a:lnTo>
                    <a:pt x="3" y="180"/>
                  </a:lnTo>
                  <a:close/>
                  <a:moveTo>
                    <a:pt x="41" y="146"/>
                  </a:moveTo>
                  <a:cubicBezTo>
                    <a:pt x="40" y="145"/>
                    <a:pt x="35" y="141"/>
                    <a:pt x="34" y="140"/>
                  </a:cubicBezTo>
                  <a:cubicBezTo>
                    <a:pt x="34" y="139"/>
                    <a:pt x="37" y="136"/>
                    <a:pt x="40" y="134"/>
                  </a:cubicBezTo>
                  <a:cubicBezTo>
                    <a:pt x="47" y="140"/>
                    <a:pt x="47" y="140"/>
                    <a:pt x="47" y="140"/>
                  </a:cubicBezTo>
                  <a:cubicBezTo>
                    <a:pt x="44" y="143"/>
                    <a:pt x="41" y="146"/>
                    <a:pt x="41" y="146"/>
                  </a:cubicBezTo>
                  <a:close/>
                  <a:moveTo>
                    <a:pt x="67" y="127"/>
                  </a:moveTo>
                  <a:cubicBezTo>
                    <a:pt x="65" y="125"/>
                    <a:pt x="65" y="125"/>
                    <a:pt x="65" y="125"/>
                  </a:cubicBezTo>
                  <a:cubicBezTo>
                    <a:pt x="75" y="115"/>
                    <a:pt x="75" y="115"/>
                    <a:pt x="75" y="115"/>
                  </a:cubicBezTo>
                  <a:cubicBezTo>
                    <a:pt x="63" y="104"/>
                    <a:pt x="63" y="104"/>
                    <a:pt x="63" y="104"/>
                  </a:cubicBezTo>
                  <a:cubicBezTo>
                    <a:pt x="64" y="103"/>
                    <a:pt x="64" y="103"/>
                    <a:pt x="64" y="103"/>
                  </a:cubicBezTo>
                  <a:cubicBezTo>
                    <a:pt x="76" y="114"/>
                    <a:pt x="76" y="114"/>
                    <a:pt x="76" y="114"/>
                  </a:cubicBezTo>
                  <a:cubicBezTo>
                    <a:pt x="85" y="104"/>
                    <a:pt x="85" y="104"/>
                    <a:pt x="85" y="104"/>
                  </a:cubicBezTo>
                  <a:cubicBezTo>
                    <a:pt x="78" y="97"/>
                    <a:pt x="78" y="97"/>
                    <a:pt x="78" y="97"/>
                  </a:cubicBezTo>
                  <a:cubicBezTo>
                    <a:pt x="79" y="96"/>
                    <a:pt x="79" y="96"/>
                    <a:pt x="79" y="96"/>
                  </a:cubicBezTo>
                  <a:cubicBezTo>
                    <a:pt x="86" y="103"/>
                    <a:pt x="86" y="103"/>
                    <a:pt x="86" y="103"/>
                  </a:cubicBezTo>
                  <a:cubicBezTo>
                    <a:pt x="95" y="94"/>
                    <a:pt x="95" y="94"/>
                    <a:pt x="95" y="94"/>
                  </a:cubicBezTo>
                  <a:cubicBezTo>
                    <a:pt x="97" y="96"/>
                    <a:pt x="97" y="96"/>
                    <a:pt x="97" y="96"/>
                  </a:cubicBezTo>
                  <a:lnTo>
                    <a:pt x="67" y="127"/>
                  </a:lnTo>
                  <a:close/>
                  <a:moveTo>
                    <a:pt x="135" y="64"/>
                  </a:moveTo>
                  <a:cubicBezTo>
                    <a:pt x="103" y="97"/>
                    <a:pt x="103" y="97"/>
                    <a:pt x="103" y="97"/>
                  </a:cubicBezTo>
                  <a:cubicBezTo>
                    <a:pt x="99" y="94"/>
                    <a:pt x="99" y="94"/>
                    <a:pt x="99" y="94"/>
                  </a:cubicBezTo>
                  <a:cubicBezTo>
                    <a:pt x="99" y="94"/>
                    <a:pt x="99" y="94"/>
                    <a:pt x="99" y="94"/>
                  </a:cubicBezTo>
                  <a:cubicBezTo>
                    <a:pt x="97" y="92"/>
                    <a:pt x="97" y="92"/>
                    <a:pt x="97" y="92"/>
                  </a:cubicBezTo>
                  <a:cubicBezTo>
                    <a:pt x="97" y="92"/>
                    <a:pt x="97" y="92"/>
                    <a:pt x="97" y="92"/>
                  </a:cubicBezTo>
                  <a:cubicBezTo>
                    <a:pt x="81" y="76"/>
                    <a:pt x="81" y="76"/>
                    <a:pt x="81" y="76"/>
                  </a:cubicBezTo>
                  <a:cubicBezTo>
                    <a:pt x="113" y="43"/>
                    <a:pt x="113" y="43"/>
                    <a:pt x="113" y="43"/>
                  </a:cubicBezTo>
                  <a:lnTo>
                    <a:pt x="13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612" name="Group 255"/>
          <p:cNvGrpSpPr>
            <a:grpSpLocks/>
          </p:cNvGrpSpPr>
          <p:nvPr/>
        </p:nvGrpSpPr>
        <p:grpSpPr bwMode="auto">
          <a:xfrm>
            <a:off x="6011863" y="4535488"/>
            <a:ext cx="252412" cy="252412"/>
            <a:chOff x="6079404" y="2227027"/>
            <a:chExt cx="365760" cy="365760"/>
          </a:xfrm>
        </p:grpSpPr>
        <p:sp>
          <p:nvSpPr>
            <p:cNvPr id="230" name="Oval 229">
              <a:extLst>
                <a:ext uri="{FF2B5EF4-FFF2-40B4-BE49-F238E27FC236}"/>
              </a:extLst>
            </p:cNvPr>
            <p:cNvSpPr/>
            <p:nvPr/>
          </p:nvSpPr>
          <p:spPr bwMode="ltGray">
            <a:xfrm>
              <a:off x="6079404" y="2227027"/>
              <a:ext cx="365760" cy="365760"/>
            </a:xfrm>
            <a:prstGeom prst="ellipse">
              <a:avLst/>
            </a:prstGeom>
            <a:solidFill>
              <a:srgbClr val="009ACE"/>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231" name="Group 230">
              <a:extLst>
                <a:ext uri="{FF2B5EF4-FFF2-40B4-BE49-F238E27FC236}"/>
              </a:extLst>
            </p:cNvPr>
            <p:cNvGrpSpPr/>
            <p:nvPr/>
          </p:nvGrpSpPr>
          <p:grpSpPr>
            <a:xfrm>
              <a:off x="6111800" y="2232098"/>
              <a:ext cx="288000" cy="329677"/>
              <a:chOff x="9723171" y="4783178"/>
              <a:chExt cx="1070076" cy="1779664"/>
            </a:xfrm>
            <a:solidFill>
              <a:srgbClr val="FFFFFF"/>
            </a:solidFill>
          </p:grpSpPr>
          <p:sp>
            <p:nvSpPr>
              <p:cNvPr id="232" name="Freeform 1315">
                <a:extLst>
                  <a:ext uri="{FF2B5EF4-FFF2-40B4-BE49-F238E27FC236}"/>
                </a:extLst>
              </p:cNvPr>
              <p:cNvSpPr>
                <a:spLocks noEditPoints="1"/>
              </p:cNvSpPr>
              <p:nvPr/>
            </p:nvSpPr>
            <p:spPr bwMode="auto">
              <a:xfrm>
                <a:off x="9723171" y="4813824"/>
                <a:ext cx="1070076" cy="1749018"/>
              </a:xfrm>
              <a:custGeom>
                <a:avLst/>
                <a:gdLst/>
                <a:ahLst/>
                <a:cxnLst>
                  <a:cxn ang="0">
                    <a:pos x="566" y="608"/>
                  </a:cxn>
                  <a:cxn ang="0">
                    <a:pos x="398" y="484"/>
                  </a:cxn>
                  <a:cxn ang="0">
                    <a:pos x="211" y="484"/>
                  </a:cxn>
                  <a:cxn ang="0">
                    <a:pos x="44" y="608"/>
                  </a:cxn>
                  <a:cxn ang="0">
                    <a:pos x="0" y="751"/>
                  </a:cxn>
                  <a:cxn ang="0">
                    <a:pos x="98" y="820"/>
                  </a:cxn>
                  <a:cxn ang="0">
                    <a:pos x="141" y="677"/>
                  </a:cxn>
                  <a:cxn ang="0">
                    <a:pos x="184" y="677"/>
                  </a:cxn>
                  <a:cxn ang="0">
                    <a:pos x="138" y="838"/>
                  </a:cxn>
                  <a:cxn ang="0">
                    <a:pos x="304" y="870"/>
                  </a:cxn>
                  <a:cxn ang="0">
                    <a:pos x="470" y="838"/>
                  </a:cxn>
                  <a:cxn ang="0">
                    <a:pos x="423" y="677"/>
                  </a:cxn>
                  <a:cxn ang="0">
                    <a:pos x="469" y="677"/>
                  </a:cxn>
                  <a:cxn ang="0">
                    <a:pos x="512" y="819"/>
                  </a:cxn>
                  <a:cxn ang="0">
                    <a:pos x="609" y="750"/>
                  </a:cxn>
                  <a:cxn ang="0">
                    <a:pos x="566" y="608"/>
                  </a:cxn>
                  <a:cxn ang="0">
                    <a:pos x="304" y="205"/>
                  </a:cxn>
                  <a:cxn ang="0">
                    <a:pos x="179" y="331"/>
                  </a:cxn>
                  <a:cxn ang="0">
                    <a:pos x="304" y="456"/>
                  </a:cxn>
                  <a:cxn ang="0">
                    <a:pos x="430" y="331"/>
                  </a:cxn>
                  <a:cxn ang="0">
                    <a:pos x="304" y="205"/>
                  </a:cxn>
                  <a:cxn ang="0">
                    <a:pos x="221" y="41"/>
                  </a:cxn>
                  <a:cxn ang="0">
                    <a:pos x="123" y="88"/>
                  </a:cxn>
                  <a:cxn ang="0">
                    <a:pos x="184" y="217"/>
                  </a:cxn>
                  <a:cxn ang="0">
                    <a:pos x="304" y="167"/>
                  </a:cxn>
                  <a:cxn ang="0">
                    <a:pos x="425" y="217"/>
                  </a:cxn>
                  <a:cxn ang="0">
                    <a:pos x="485" y="88"/>
                  </a:cxn>
                  <a:cxn ang="0">
                    <a:pos x="389" y="41"/>
                  </a:cxn>
                  <a:cxn ang="0">
                    <a:pos x="370" y="0"/>
                  </a:cxn>
                  <a:cxn ang="0">
                    <a:pos x="305" y="0"/>
                  </a:cxn>
                  <a:cxn ang="0">
                    <a:pos x="239" y="0"/>
                  </a:cxn>
                  <a:cxn ang="0">
                    <a:pos x="221" y="41"/>
                  </a:cxn>
                  <a:cxn ang="0">
                    <a:pos x="261" y="71"/>
                  </a:cxn>
                  <a:cxn ang="0">
                    <a:pos x="287" y="71"/>
                  </a:cxn>
                  <a:cxn ang="0">
                    <a:pos x="287" y="45"/>
                  </a:cxn>
                  <a:cxn ang="0">
                    <a:pos x="305" y="28"/>
                  </a:cxn>
                  <a:cxn ang="0">
                    <a:pos x="322" y="45"/>
                  </a:cxn>
                  <a:cxn ang="0">
                    <a:pos x="322" y="71"/>
                  </a:cxn>
                  <a:cxn ang="0">
                    <a:pos x="348" y="71"/>
                  </a:cxn>
                  <a:cxn ang="0">
                    <a:pos x="365" y="88"/>
                  </a:cxn>
                  <a:cxn ang="0">
                    <a:pos x="348" y="106"/>
                  </a:cxn>
                  <a:cxn ang="0">
                    <a:pos x="322" y="106"/>
                  </a:cxn>
                  <a:cxn ang="0">
                    <a:pos x="322" y="132"/>
                  </a:cxn>
                  <a:cxn ang="0">
                    <a:pos x="305" y="149"/>
                  </a:cxn>
                  <a:cxn ang="0">
                    <a:pos x="287" y="132"/>
                  </a:cxn>
                  <a:cxn ang="0">
                    <a:pos x="287" y="106"/>
                  </a:cxn>
                  <a:cxn ang="0">
                    <a:pos x="261" y="106"/>
                  </a:cxn>
                  <a:cxn ang="0">
                    <a:pos x="244" y="88"/>
                  </a:cxn>
                  <a:cxn ang="0">
                    <a:pos x="261" y="71"/>
                  </a:cxn>
                </a:cxnLst>
                <a:rect l="0" t="0" r="r" b="b"/>
                <a:pathLst>
                  <a:path w="609" h="870">
                    <a:moveTo>
                      <a:pt x="566" y="608"/>
                    </a:moveTo>
                    <a:cubicBezTo>
                      <a:pt x="551" y="564"/>
                      <a:pt x="495" y="484"/>
                      <a:pt x="398" y="484"/>
                    </a:cubicBezTo>
                    <a:cubicBezTo>
                      <a:pt x="211" y="484"/>
                      <a:pt x="211" y="484"/>
                      <a:pt x="211" y="484"/>
                    </a:cubicBezTo>
                    <a:cubicBezTo>
                      <a:pt x="113" y="484"/>
                      <a:pt x="57" y="563"/>
                      <a:pt x="44" y="608"/>
                    </a:cubicBezTo>
                    <a:cubicBezTo>
                      <a:pt x="0" y="751"/>
                      <a:pt x="0" y="751"/>
                      <a:pt x="0" y="751"/>
                    </a:cubicBezTo>
                    <a:cubicBezTo>
                      <a:pt x="30" y="778"/>
                      <a:pt x="63" y="801"/>
                      <a:pt x="98" y="820"/>
                    </a:cubicBezTo>
                    <a:cubicBezTo>
                      <a:pt x="141" y="677"/>
                      <a:pt x="141" y="677"/>
                      <a:pt x="141" y="677"/>
                    </a:cubicBezTo>
                    <a:cubicBezTo>
                      <a:pt x="184" y="677"/>
                      <a:pt x="184" y="677"/>
                      <a:pt x="184" y="677"/>
                    </a:cubicBezTo>
                    <a:cubicBezTo>
                      <a:pt x="138" y="838"/>
                      <a:pt x="138" y="838"/>
                      <a:pt x="138" y="838"/>
                    </a:cubicBezTo>
                    <a:cubicBezTo>
                      <a:pt x="189" y="859"/>
                      <a:pt x="245" y="870"/>
                      <a:pt x="304" y="870"/>
                    </a:cubicBezTo>
                    <a:cubicBezTo>
                      <a:pt x="363" y="870"/>
                      <a:pt x="419" y="859"/>
                      <a:pt x="470" y="838"/>
                    </a:cubicBezTo>
                    <a:cubicBezTo>
                      <a:pt x="423" y="677"/>
                      <a:pt x="423" y="677"/>
                      <a:pt x="423" y="677"/>
                    </a:cubicBezTo>
                    <a:cubicBezTo>
                      <a:pt x="469" y="677"/>
                      <a:pt x="469" y="677"/>
                      <a:pt x="469" y="677"/>
                    </a:cubicBezTo>
                    <a:cubicBezTo>
                      <a:pt x="512" y="819"/>
                      <a:pt x="512" y="819"/>
                      <a:pt x="512" y="819"/>
                    </a:cubicBezTo>
                    <a:cubicBezTo>
                      <a:pt x="547" y="800"/>
                      <a:pt x="580" y="777"/>
                      <a:pt x="609" y="750"/>
                    </a:cubicBezTo>
                    <a:lnTo>
                      <a:pt x="566" y="608"/>
                    </a:lnTo>
                    <a:close/>
                    <a:moveTo>
                      <a:pt x="304" y="205"/>
                    </a:moveTo>
                    <a:cubicBezTo>
                      <a:pt x="235" y="205"/>
                      <a:pt x="179" y="261"/>
                      <a:pt x="179" y="331"/>
                    </a:cubicBezTo>
                    <a:cubicBezTo>
                      <a:pt x="179" y="400"/>
                      <a:pt x="235" y="456"/>
                      <a:pt x="304" y="456"/>
                    </a:cubicBezTo>
                    <a:cubicBezTo>
                      <a:pt x="374" y="456"/>
                      <a:pt x="430" y="400"/>
                      <a:pt x="430" y="331"/>
                    </a:cubicBezTo>
                    <a:cubicBezTo>
                      <a:pt x="430" y="261"/>
                      <a:pt x="374" y="205"/>
                      <a:pt x="304" y="205"/>
                    </a:cubicBezTo>
                    <a:close/>
                    <a:moveTo>
                      <a:pt x="221" y="41"/>
                    </a:moveTo>
                    <a:cubicBezTo>
                      <a:pt x="185" y="51"/>
                      <a:pt x="153" y="67"/>
                      <a:pt x="123" y="88"/>
                    </a:cubicBezTo>
                    <a:cubicBezTo>
                      <a:pt x="184" y="217"/>
                      <a:pt x="184" y="217"/>
                      <a:pt x="184" y="217"/>
                    </a:cubicBezTo>
                    <a:cubicBezTo>
                      <a:pt x="215" y="187"/>
                      <a:pt x="257" y="167"/>
                      <a:pt x="304" y="167"/>
                    </a:cubicBezTo>
                    <a:cubicBezTo>
                      <a:pt x="352" y="167"/>
                      <a:pt x="394" y="187"/>
                      <a:pt x="425" y="217"/>
                    </a:cubicBezTo>
                    <a:cubicBezTo>
                      <a:pt x="485" y="88"/>
                      <a:pt x="485" y="88"/>
                      <a:pt x="485" y="88"/>
                    </a:cubicBezTo>
                    <a:cubicBezTo>
                      <a:pt x="456" y="67"/>
                      <a:pt x="424" y="51"/>
                      <a:pt x="389" y="41"/>
                    </a:cubicBezTo>
                    <a:cubicBezTo>
                      <a:pt x="370" y="0"/>
                      <a:pt x="370" y="0"/>
                      <a:pt x="370" y="0"/>
                    </a:cubicBezTo>
                    <a:cubicBezTo>
                      <a:pt x="305" y="0"/>
                      <a:pt x="305" y="0"/>
                      <a:pt x="305" y="0"/>
                    </a:cubicBezTo>
                    <a:cubicBezTo>
                      <a:pt x="239" y="0"/>
                      <a:pt x="239" y="0"/>
                      <a:pt x="239" y="0"/>
                    </a:cubicBezTo>
                    <a:lnTo>
                      <a:pt x="221" y="41"/>
                    </a:lnTo>
                    <a:close/>
                    <a:moveTo>
                      <a:pt x="261" y="71"/>
                    </a:moveTo>
                    <a:cubicBezTo>
                      <a:pt x="287" y="71"/>
                      <a:pt x="287" y="71"/>
                      <a:pt x="287" y="71"/>
                    </a:cubicBezTo>
                    <a:cubicBezTo>
                      <a:pt x="287" y="45"/>
                      <a:pt x="287" y="45"/>
                      <a:pt x="287" y="45"/>
                    </a:cubicBezTo>
                    <a:cubicBezTo>
                      <a:pt x="287" y="35"/>
                      <a:pt x="295" y="28"/>
                      <a:pt x="305" y="28"/>
                    </a:cubicBezTo>
                    <a:cubicBezTo>
                      <a:pt x="314" y="28"/>
                      <a:pt x="322" y="35"/>
                      <a:pt x="322" y="45"/>
                    </a:cubicBezTo>
                    <a:cubicBezTo>
                      <a:pt x="322" y="71"/>
                      <a:pt x="322" y="71"/>
                      <a:pt x="322" y="71"/>
                    </a:cubicBezTo>
                    <a:cubicBezTo>
                      <a:pt x="348" y="71"/>
                      <a:pt x="348" y="71"/>
                      <a:pt x="348" y="71"/>
                    </a:cubicBezTo>
                    <a:cubicBezTo>
                      <a:pt x="358" y="71"/>
                      <a:pt x="365" y="79"/>
                      <a:pt x="365" y="88"/>
                    </a:cubicBezTo>
                    <a:cubicBezTo>
                      <a:pt x="365" y="98"/>
                      <a:pt x="358" y="106"/>
                      <a:pt x="348" y="106"/>
                    </a:cubicBezTo>
                    <a:cubicBezTo>
                      <a:pt x="322" y="106"/>
                      <a:pt x="322" y="106"/>
                      <a:pt x="322" y="106"/>
                    </a:cubicBezTo>
                    <a:cubicBezTo>
                      <a:pt x="322" y="132"/>
                      <a:pt x="322" y="132"/>
                      <a:pt x="322" y="132"/>
                    </a:cubicBezTo>
                    <a:cubicBezTo>
                      <a:pt x="322" y="141"/>
                      <a:pt x="314" y="149"/>
                      <a:pt x="305" y="149"/>
                    </a:cubicBezTo>
                    <a:cubicBezTo>
                      <a:pt x="295" y="149"/>
                      <a:pt x="287" y="141"/>
                      <a:pt x="287" y="132"/>
                    </a:cubicBezTo>
                    <a:cubicBezTo>
                      <a:pt x="287" y="106"/>
                      <a:pt x="287" y="106"/>
                      <a:pt x="287" y="106"/>
                    </a:cubicBezTo>
                    <a:cubicBezTo>
                      <a:pt x="261" y="106"/>
                      <a:pt x="261" y="106"/>
                      <a:pt x="261" y="106"/>
                    </a:cubicBezTo>
                    <a:cubicBezTo>
                      <a:pt x="252" y="106"/>
                      <a:pt x="244" y="98"/>
                      <a:pt x="244" y="88"/>
                    </a:cubicBezTo>
                    <a:cubicBezTo>
                      <a:pt x="244" y="79"/>
                      <a:pt x="252" y="71"/>
                      <a:pt x="261" y="71"/>
                    </a:cubicBezTo>
                    <a:close/>
                  </a:path>
                </a:pathLst>
              </a:custGeom>
              <a:grpFill/>
              <a:ln w="9525">
                <a:noFill/>
                <a:round/>
                <a:headEnd/>
                <a:tailEnd/>
              </a:ln>
            </p:spPr>
            <p:txBody>
              <a:bodyPr lIns="80147" tIns="40074" rIns="80147" bIns="40074"/>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33" name="Rectangle 232">
                <a:extLst>
                  <a:ext uri="{FF2B5EF4-FFF2-40B4-BE49-F238E27FC236}"/>
                </a:extLst>
              </p:cNvPr>
              <p:cNvSpPr/>
              <p:nvPr/>
            </p:nvSpPr>
            <p:spPr>
              <a:xfrm>
                <a:off x="10148914" y="4783178"/>
                <a:ext cx="301841" cy="294953"/>
              </a:xfrm>
              <a:prstGeom prst="rect">
                <a:avLst/>
              </a:prstGeom>
              <a:grpFill/>
              <a:ln w="9525" cap="flat" cmpd="sng" algn="ctr">
                <a:no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sp>
            <p:nvSpPr>
              <p:cNvPr id="234" name="Moon 233">
                <a:extLst>
                  <a:ext uri="{FF2B5EF4-FFF2-40B4-BE49-F238E27FC236}"/>
                </a:extLst>
              </p:cNvPr>
              <p:cNvSpPr/>
              <p:nvPr/>
            </p:nvSpPr>
            <p:spPr>
              <a:xfrm rot="11063388">
                <a:off x="10192275" y="4808848"/>
                <a:ext cx="179606" cy="245011"/>
              </a:xfrm>
              <a:prstGeom prst="moon">
                <a:avLst>
                  <a:gd name="adj" fmla="val 45579"/>
                </a:avLst>
              </a:prstGeom>
              <a:solidFill>
                <a:srgbClr val="E03C31"/>
              </a:solidFill>
              <a:ln w="9525" cap="flat" cmpd="sng" algn="ctr">
                <a:no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grpSp>
      </p:grpSp>
      <p:grpSp>
        <p:nvGrpSpPr>
          <p:cNvPr id="65613" name="Group 261"/>
          <p:cNvGrpSpPr>
            <a:grpSpLocks/>
          </p:cNvGrpSpPr>
          <p:nvPr/>
        </p:nvGrpSpPr>
        <p:grpSpPr bwMode="auto">
          <a:xfrm>
            <a:off x="7434263" y="4171950"/>
            <a:ext cx="252412" cy="252413"/>
            <a:chOff x="7478177" y="1689673"/>
            <a:chExt cx="365760" cy="365760"/>
          </a:xfrm>
        </p:grpSpPr>
        <p:sp>
          <p:nvSpPr>
            <p:cNvPr id="236" name="Oval 235">
              <a:extLst>
                <a:ext uri="{FF2B5EF4-FFF2-40B4-BE49-F238E27FC236}"/>
              </a:extLst>
            </p:cNvPr>
            <p:cNvSpPr/>
            <p:nvPr/>
          </p:nvSpPr>
          <p:spPr bwMode="ltGray">
            <a:xfrm>
              <a:off x="7478177" y="1689673"/>
              <a:ext cx="365760" cy="365760"/>
            </a:xfrm>
            <a:prstGeom prst="ellipse">
              <a:avLst/>
            </a:prstGeom>
            <a:solidFill>
              <a:srgbClr val="E03C3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37" name="Freeform 1337">
              <a:extLst>
                <a:ext uri="{FF2B5EF4-FFF2-40B4-BE49-F238E27FC236}"/>
              </a:extLst>
            </p:cNvPr>
            <p:cNvSpPr>
              <a:spLocks noEditPoints="1"/>
            </p:cNvSpPr>
            <p:nvPr/>
          </p:nvSpPr>
          <p:spPr bwMode="auto">
            <a:xfrm>
              <a:off x="7517283" y="1717277"/>
              <a:ext cx="287548" cy="289847"/>
            </a:xfrm>
            <a:custGeom>
              <a:avLst/>
              <a:gdLst>
                <a:gd name="T0" fmla="*/ 351 w 855"/>
                <a:gd name="T1" fmla="*/ 100 h 822"/>
                <a:gd name="T2" fmla="*/ 152 w 855"/>
                <a:gd name="T3" fmla="*/ 100 h 822"/>
                <a:gd name="T4" fmla="*/ 259 w 855"/>
                <a:gd name="T5" fmla="*/ 666 h 822"/>
                <a:gd name="T6" fmla="*/ 320 w 855"/>
                <a:gd name="T7" fmla="*/ 428 h 822"/>
                <a:gd name="T8" fmla="*/ 408 w 855"/>
                <a:gd name="T9" fmla="*/ 266 h 822"/>
                <a:gd name="T10" fmla="*/ 251 w 855"/>
                <a:gd name="T11" fmla="*/ 241 h 822"/>
                <a:gd name="T12" fmla="*/ 60 w 855"/>
                <a:gd name="T13" fmla="*/ 329 h 822"/>
                <a:gd name="T14" fmla="*/ 57 w 855"/>
                <a:gd name="T15" fmla="*/ 638 h 822"/>
                <a:gd name="T16" fmla="*/ 166 w 855"/>
                <a:gd name="T17" fmla="*/ 404 h 822"/>
                <a:gd name="T18" fmla="*/ 329 w 855"/>
                <a:gd name="T19" fmla="*/ 814 h 822"/>
                <a:gd name="T20" fmla="*/ 259 w 855"/>
                <a:gd name="T21" fmla="*/ 666 h 822"/>
                <a:gd name="T22" fmla="*/ 735 w 855"/>
                <a:gd name="T23" fmla="*/ 241 h 822"/>
                <a:gd name="T24" fmla="*/ 673 w 855"/>
                <a:gd name="T25" fmla="*/ 241 h 822"/>
                <a:gd name="T26" fmla="*/ 554 w 855"/>
                <a:gd name="T27" fmla="*/ 241 h 822"/>
                <a:gd name="T28" fmla="*/ 492 w 855"/>
                <a:gd name="T29" fmla="*/ 241 h 822"/>
                <a:gd name="T30" fmla="*/ 525 w 855"/>
                <a:gd name="T31" fmla="*/ 375 h 822"/>
                <a:gd name="T32" fmla="*/ 572 w 855"/>
                <a:gd name="T33" fmla="*/ 501 h 822"/>
                <a:gd name="T34" fmla="*/ 502 w 855"/>
                <a:gd name="T35" fmla="*/ 739 h 822"/>
                <a:gd name="T36" fmla="*/ 739 w 855"/>
                <a:gd name="T37" fmla="*/ 682 h 822"/>
                <a:gd name="T38" fmla="*/ 731 w 855"/>
                <a:gd name="T39" fmla="*/ 415 h 822"/>
                <a:gd name="T40" fmla="*/ 766 w 855"/>
                <a:gd name="T41" fmla="*/ 414 h 822"/>
                <a:gd name="T42" fmla="*/ 855 w 855"/>
                <a:gd name="T43" fmla="*/ 429 h 822"/>
                <a:gd name="T44" fmla="*/ 416 w 855"/>
                <a:gd name="T45" fmla="*/ 822 h 822"/>
                <a:gd name="T46" fmla="*/ 459 w 855"/>
                <a:gd name="T47" fmla="*/ 696 h 822"/>
                <a:gd name="T48" fmla="*/ 529 w 855"/>
                <a:gd name="T49" fmla="*/ 666 h 822"/>
                <a:gd name="T50" fmla="*/ 498 w 855"/>
                <a:gd name="T51" fmla="*/ 471 h 822"/>
                <a:gd name="T52" fmla="*/ 303 w 855"/>
                <a:gd name="T53" fmla="*/ 501 h 822"/>
                <a:gd name="T54" fmla="*/ 333 w 855"/>
                <a:gd name="T55" fmla="*/ 696 h 822"/>
                <a:gd name="T56" fmla="*/ 373 w 855"/>
                <a:gd name="T57" fmla="*/ 820 h 822"/>
                <a:gd name="T58" fmla="*/ 514 w 855"/>
                <a:gd name="T59" fmla="*/ 100 h 822"/>
                <a:gd name="T60" fmla="*/ 713 w 855"/>
                <a:gd name="T61" fmla="*/ 100 h 822"/>
                <a:gd name="T62" fmla="*/ 661 w 855"/>
                <a:gd name="T63" fmla="*/ 13 h 822"/>
                <a:gd name="T64" fmla="*/ 514 w 855"/>
                <a:gd name="T65" fmla="*/ 100 h 822"/>
                <a:gd name="T66" fmla="*/ 482 w 855"/>
                <a:gd name="T67" fmla="*/ 375 h 822"/>
                <a:gd name="T68" fmla="*/ 350 w 855"/>
                <a:gd name="T69" fmla="*/ 375 h 8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5" h="822">
                  <a:moveTo>
                    <a:pt x="251" y="199"/>
                  </a:moveTo>
                  <a:cubicBezTo>
                    <a:pt x="306" y="199"/>
                    <a:pt x="351" y="155"/>
                    <a:pt x="351" y="100"/>
                  </a:cubicBezTo>
                  <a:cubicBezTo>
                    <a:pt x="351" y="45"/>
                    <a:pt x="306" y="0"/>
                    <a:pt x="251" y="0"/>
                  </a:cubicBezTo>
                  <a:cubicBezTo>
                    <a:pt x="196" y="0"/>
                    <a:pt x="152" y="45"/>
                    <a:pt x="152" y="100"/>
                  </a:cubicBezTo>
                  <a:cubicBezTo>
                    <a:pt x="152" y="155"/>
                    <a:pt x="196" y="199"/>
                    <a:pt x="251" y="199"/>
                  </a:cubicBezTo>
                  <a:close/>
                  <a:moveTo>
                    <a:pt x="259" y="666"/>
                  </a:moveTo>
                  <a:cubicBezTo>
                    <a:pt x="259" y="501"/>
                    <a:pt x="259" y="501"/>
                    <a:pt x="259" y="501"/>
                  </a:cubicBezTo>
                  <a:cubicBezTo>
                    <a:pt x="259" y="464"/>
                    <a:pt x="286" y="434"/>
                    <a:pt x="320" y="428"/>
                  </a:cubicBezTo>
                  <a:cubicBezTo>
                    <a:pt x="311" y="413"/>
                    <a:pt x="306" y="394"/>
                    <a:pt x="306" y="375"/>
                  </a:cubicBezTo>
                  <a:cubicBezTo>
                    <a:pt x="306" y="317"/>
                    <a:pt x="351" y="270"/>
                    <a:pt x="408" y="266"/>
                  </a:cubicBezTo>
                  <a:cubicBezTo>
                    <a:pt x="392" y="251"/>
                    <a:pt x="371" y="241"/>
                    <a:pt x="348" y="241"/>
                  </a:cubicBezTo>
                  <a:cubicBezTo>
                    <a:pt x="251" y="241"/>
                    <a:pt x="251" y="241"/>
                    <a:pt x="251" y="241"/>
                  </a:cubicBezTo>
                  <a:cubicBezTo>
                    <a:pt x="154" y="241"/>
                    <a:pt x="154" y="241"/>
                    <a:pt x="154" y="241"/>
                  </a:cubicBezTo>
                  <a:cubicBezTo>
                    <a:pt x="108" y="241"/>
                    <a:pt x="69" y="279"/>
                    <a:pt x="60" y="329"/>
                  </a:cubicBezTo>
                  <a:cubicBezTo>
                    <a:pt x="0" y="529"/>
                    <a:pt x="0" y="529"/>
                    <a:pt x="0" y="529"/>
                  </a:cubicBezTo>
                  <a:cubicBezTo>
                    <a:pt x="14" y="568"/>
                    <a:pt x="33" y="605"/>
                    <a:pt x="57" y="638"/>
                  </a:cubicBezTo>
                  <a:cubicBezTo>
                    <a:pt x="128" y="404"/>
                    <a:pt x="128" y="404"/>
                    <a:pt x="128" y="404"/>
                  </a:cubicBezTo>
                  <a:cubicBezTo>
                    <a:pt x="166" y="404"/>
                    <a:pt x="166" y="404"/>
                    <a:pt x="166" y="404"/>
                  </a:cubicBezTo>
                  <a:cubicBezTo>
                    <a:pt x="100" y="690"/>
                    <a:pt x="100" y="690"/>
                    <a:pt x="100" y="690"/>
                  </a:cubicBezTo>
                  <a:cubicBezTo>
                    <a:pt x="161" y="752"/>
                    <a:pt x="240" y="796"/>
                    <a:pt x="329" y="814"/>
                  </a:cubicBezTo>
                  <a:cubicBezTo>
                    <a:pt x="329" y="739"/>
                    <a:pt x="329" y="739"/>
                    <a:pt x="329" y="739"/>
                  </a:cubicBezTo>
                  <a:cubicBezTo>
                    <a:pt x="290" y="737"/>
                    <a:pt x="259" y="705"/>
                    <a:pt x="259" y="666"/>
                  </a:cubicBezTo>
                  <a:close/>
                  <a:moveTo>
                    <a:pt x="843" y="334"/>
                  </a:moveTo>
                  <a:cubicBezTo>
                    <a:pt x="835" y="282"/>
                    <a:pt x="790" y="241"/>
                    <a:pt x="735" y="241"/>
                  </a:cubicBezTo>
                  <a:cubicBezTo>
                    <a:pt x="688" y="241"/>
                    <a:pt x="688" y="241"/>
                    <a:pt x="688" y="241"/>
                  </a:cubicBezTo>
                  <a:cubicBezTo>
                    <a:pt x="673" y="241"/>
                    <a:pt x="673" y="241"/>
                    <a:pt x="673" y="241"/>
                  </a:cubicBezTo>
                  <a:cubicBezTo>
                    <a:pt x="614" y="319"/>
                    <a:pt x="614" y="319"/>
                    <a:pt x="614" y="319"/>
                  </a:cubicBezTo>
                  <a:cubicBezTo>
                    <a:pt x="554" y="241"/>
                    <a:pt x="554" y="241"/>
                    <a:pt x="554" y="241"/>
                  </a:cubicBezTo>
                  <a:cubicBezTo>
                    <a:pt x="539" y="241"/>
                    <a:pt x="539" y="241"/>
                    <a:pt x="539" y="241"/>
                  </a:cubicBezTo>
                  <a:cubicBezTo>
                    <a:pt x="492" y="241"/>
                    <a:pt x="492" y="241"/>
                    <a:pt x="492" y="241"/>
                  </a:cubicBezTo>
                  <a:cubicBezTo>
                    <a:pt x="466" y="241"/>
                    <a:pt x="442" y="250"/>
                    <a:pt x="423" y="266"/>
                  </a:cubicBezTo>
                  <a:cubicBezTo>
                    <a:pt x="480" y="269"/>
                    <a:pt x="525" y="317"/>
                    <a:pt x="525" y="375"/>
                  </a:cubicBezTo>
                  <a:cubicBezTo>
                    <a:pt x="525" y="394"/>
                    <a:pt x="520" y="413"/>
                    <a:pt x="511" y="428"/>
                  </a:cubicBezTo>
                  <a:cubicBezTo>
                    <a:pt x="546" y="434"/>
                    <a:pt x="572" y="464"/>
                    <a:pt x="572" y="501"/>
                  </a:cubicBezTo>
                  <a:cubicBezTo>
                    <a:pt x="572" y="666"/>
                    <a:pt x="572" y="666"/>
                    <a:pt x="572" y="666"/>
                  </a:cubicBezTo>
                  <a:cubicBezTo>
                    <a:pt x="572" y="705"/>
                    <a:pt x="541" y="737"/>
                    <a:pt x="502" y="739"/>
                  </a:cubicBezTo>
                  <a:cubicBezTo>
                    <a:pt x="502" y="814"/>
                    <a:pt x="502" y="814"/>
                    <a:pt x="502" y="814"/>
                  </a:cubicBezTo>
                  <a:cubicBezTo>
                    <a:pt x="595" y="795"/>
                    <a:pt x="677" y="748"/>
                    <a:pt x="739" y="682"/>
                  </a:cubicBezTo>
                  <a:cubicBezTo>
                    <a:pt x="731" y="564"/>
                    <a:pt x="731" y="564"/>
                    <a:pt x="731" y="564"/>
                  </a:cubicBezTo>
                  <a:cubicBezTo>
                    <a:pt x="731" y="415"/>
                    <a:pt x="731" y="415"/>
                    <a:pt x="731" y="415"/>
                  </a:cubicBezTo>
                  <a:cubicBezTo>
                    <a:pt x="759" y="415"/>
                    <a:pt x="759" y="415"/>
                    <a:pt x="759" y="415"/>
                  </a:cubicBezTo>
                  <a:cubicBezTo>
                    <a:pt x="761" y="415"/>
                    <a:pt x="764" y="414"/>
                    <a:pt x="766" y="414"/>
                  </a:cubicBezTo>
                  <a:cubicBezTo>
                    <a:pt x="791" y="614"/>
                    <a:pt x="791" y="614"/>
                    <a:pt x="791" y="614"/>
                  </a:cubicBezTo>
                  <a:cubicBezTo>
                    <a:pt x="825" y="559"/>
                    <a:pt x="848" y="496"/>
                    <a:pt x="855" y="429"/>
                  </a:cubicBezTo>
                  <a:cubicBezTo>
                    <a:pt x="848" y="375"/>
                    <a:pt x="843" y="335"/>
                    <a:pt x="843" y="334"/>
                  </a:cubicBezTo>
                  <a:close/>
                  <a:moveTo>
                    <a:pt x="416" y="822"/>
                  </a:moveTo>
                  <a:cubicBezTo>
                    <a:pt x="430" y="822"/>
                    <a:pt x="445" y="822"/>
                    <a:pt x="459" y="820"/>
                  </a:cubicBezTo>
                  <a:cubicBezTo>
                    <a:pt x="459" y="696"/>
                    <a:pt x="459" y="696"/>
                    <a:pt x="459" y="696"/>
                  </a:cubicBezTo>
                  <a:cubicBezTo>
                    <a:pt x="498" y="696"/>
                    <a:pt x="498" y="696"/>
                    <a:pt x="498" y="696"/>
                  </a:cubicBezTo>
                  <a:cubicBezTo>
                    <a:pt x="515" y="696"/>
                    <a:pt x="529" y="683"/>
                    <a:pt x="529" y="666"/>
                  </a:cubicBezTo>
                  <a:cubicBezTo>
                    <a:pt x="529" y="501"/>
                    <a:pt x="529" y="501"/>
                    <a:pt x="529" y="501"/>
                  </a:cubicBezTo>
                  <a:cubicBezTo>
                    <a:pt x="529" y="484"/>
                    <a:pt x="515" y="471"/>
                    <a:pt x="498" y="471"/>
                  </a:cubicBezTo>
                  <a:cubicBezTo>
                    <a:pt x="333" y="471"/>
                    <a:pt x="333" y="471"/>
                    <a:pt x="333" y="471"/>
                  </a:cubicBezTo>
                  <a:cubicBezTo>
                    <a:pt x="316" y="471"/>
                    <a:pt x="303" y="484"/>
                    <a:pt x="303" y="501"/>
                  </a:cubicBezTo>
                  <a:cubicBezTo>
                    <a:pt x="303" y="666"/>
                    <a:pt x="303" y="666"/>
                    <a:pt x="303" y="666"/>
                  </a:cubicBezTo>
                  <a:cubicBezTo>
                    <a:pt x="303" y="683"/>
                    <a:pt x="316" y="696"/>
                    <a:pt x="333" y="696"/>
                  </a:cubicBezTo>
                  <a:cubicBezTo>
                    <a:pt x="373" y="696"/>
                    <a:pt x="373" y="696"/>
                    <a:pt x="373" y="696"/>
                  </a:cubicBezTo>
                  <a:cubicBezTo>
                    <a:pt x="373" y="820"/>
                    <a:pt x="373" y="820"/>
                    <a:pt x="373" y="820"/>
                  </a:cubicBezTo>
                  <a:cubicBezTo>
                    <a:pt x="387" y="822"/>
                    <a:pt x="401" y="822"/>
                    <a:pt x="416" y="822"/>
                  </a:cubicBezTo>
                  <a:close/>
                  <a:moveTo>
                    <a:pt x="514" y="100"/>
                  </a:moveTo>
                  <a:cubicBezTo>
                    <a:pt x="514" y="155"/>
                    <a:pt x="559" y="199"/>
                    <a:pt x="614" y="199"/>
                  </a:cubicBezTo>
                  <a:cubicBezTo>
                    <a:pt x="668" y="199"/>
                    <a:pt x="713" y="155"/>
                    <a:pt x="713" y="100"/>
                  </a:cubicBezTo>
                  <a:cubicBezTo>
                    <a:pt x="713" y="70"/>
                    <a:pt x="700" y="43"/>
                    <a:pt x="679" y="25"/>
                  </a:cubicBezTo>
                  <a:cubicBezTo>
                    <a:pt x="673" y="21"/>
                    <a:pt x="667" y="17"/>
                    <a:pt x="661" y="13"/>
                  </a:cubicBezTo>
                  <a:cubicBezTo>
                    <a:pt x="647" y="5"/>
                    <a:pt x="631" y="0"/>
                    <a:pt x="614" y="0"/>
                  </a:cubicBezTo>
                  <a:cubicBezTo>
                    <a:pt x="559" y="0"/>
                    <a:pt x="514" y="45"/>
                    <a:pt x="514" y="100"/>
                  </a:cubicBezTo>
                  <a:close/>
                  <a:moveTo>
                    <a:pt x="416" y="441"/>
                  </a:moveTo>
                  <a:cubicBezTo>
                    <a:pt x="452" y="441"/>
                    <a:pt x="482" y="412"/>
                    <a:pt x="482" y="375"/>
                  </a:cubicBezTo>
                  <a:cubicBezTo>
                    <a:pt x="482" y="338"/>
                    <a:pt x="452" y="309"/>
                    <a:pt x="416" y="309"/>
                  </a:cubicBezTo>
                  <a:cubicBezTo>
                    <a:pt x="379" y="309"/>
                    <a:pt x="350" y="338"/>
                    <a:pt x="350" y="375"/>
                  </a:cubicBezTo>
                  <a:cubicBezTo>
                    <a:pt x="350" y="412"/>
                    <a:pt x="379" y="441"/>
                    <a:pt x="416" y="4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5614" name="Group 264"/>
          <p:cNvGrpSpPr>
            <a:grpSpLocks/>
          </p:cNvGrpSpPr>
          <p:nvPr/>
        </p:nvGrpSpPr>
        <p:grpSpPr bwMode="auto">
          <a:xfrm>
            <a:off x="7442200" y="4510088"/>
            <a:ext cx="250825" cy="252412"/>
            <a:chOff x="6571533" y="6737435"/>
            <a:chExt cx="612775" cy="612775"/>
          </a:xfrm>
        </p:grpSpPr>
        <p:sp>
          <p:nvSpPr>
            <p:cNvPr id="239" name="Oval 238">
              <a:extLst>
                <a:ext uri="{FF2B5EF4-FFF2-40B4-BE49-F238E27FC236}"/>
              </a:extLst>
            </p:cNvPr>
            <p:cNvSpPr/>
            <p:nvPr/>
          </p:nvSpPr>
          <p:spPr bwMode="ltGray">
            <a:xfrm>
              <a:off x="6571533" y="6737435"/>
              <a:ext cx="612775" cy="612775"/>
            </a:xfrm>
            <a:prstGeom prst="ellipse">
              <a:avLst/>
            </a:prstGeom>
            <a:solidFill>
              <a:srgbClr val="E03C3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700" kern="0">
                <a:solidFill>
                  <a:srgbClr val="FFFFFF"/>
                </a:solidFill>
                <a:latin typeface="Georgia" charset="0"/>
              </a:endParaRPr>
            </a:p>
          </p:txBody>
        </p:sp>
        <p:sp>
          <p:nvSpPr>
            <p:cNvPr id="240" name="Freeform 860">
              <a:extLst>
                <a:ext uri="{FF2B5EF4-FFF2-40B4-BE49-F238E27FC236}"/>
              </a:extLst>
            </p:cNvPr>
            <p:cNvSpPr>
              <a:spLocks/>
            </p:cNvSpPr>
            <p:nvPr/>
          </p:nvSpPr>
          <p:spPr bwMode="auto">
            <a:xfrm>
              <a:off x="6784842" y="6791390"/>
              <a:ext cx="209429" cy="485596"/>
            </a:xfrm>
            <a:custGeom>
              <a:avLst/>
              <a:gdLst>
                <a:gd name="T0" fmla="*/ 1034 w 2496"/>
                <a:gd name="T1" fmla="*/ 261 h 5747"/>
                <a:gd name="T2" fmla="*/ 1113 w 2496"/>
                <a:gd name="T3" fmla="*/ 126 h 5747"/>
                <a:gd name="T4" fmla="*/ 1240 w 2496"/>
                <a:gd name="T5" fmla="*/ 29 h 5747"/>
                <a:gd name="T6" fmla="*/ 1316 w 2496"/>
                <a:gd name="T7" fmla="*/ 3 h 5747"/>
                <a:gd name="T8" fmla="*/ 1444 w 2496"/>
                <a:gd name="T9" fmla="*/ 14 h 5747"/>
                <a:gd name="T10" fmla="*/ 1613 w 2496"/>
                <a:gd name="T11" fmla="*/ 89 h 5747"/>
                <a:gd name="T12" fmla="*/ 1923 w 2496"/>
                <a:gd name="T13" fmla="*/ 318 h 5747"/>
                <a:gd name="T14" fmla="*/ 1973 w 2496"/>
                <a:gd name="T15" fmla="*/ 426 h 5747"/>
                <a:gd name="T16" fmla="*/ 1881 w 2496"/>
                <a:gd name="T17" fmla="*/ 488 h 5747"/>
                <a:gd name="T18" fmla="*/ 1772 w 2496"/>
                <a:gd name="T19" fmla="*/ 519 h 5747"/>
                <a:gd name="T20" fmla="*/ 1838 w 2496"/>
                <a:gd name="T21" fmla="*/ 714 h 5747"/>
                <a:gd name="T22" fmla="*/ 1707 w 2496"/>
                <a:gd name="T23" fmla="*/ 929 h 5747"/>
                <a:gd name="T24" fmla="*/ 1634 w 2496"/>
                <a:gd name="T25" fmla="*/ 985 h 5747"/>
                <a:gd name="T26" fmla="*/ 1536 w 2496"/>
                <a:gd name="T27" fmla="*/ 1054 h 5747"/>
                <a:gd name="T28" fmla="*/ 1709 w 2496"/>
                <a:gd name="T29" fmla="*/ 1230 h 5747"/>
                <a:gd name="T30" fmla="*/ 1701 w 2496"/>
                <a:gd name="T31" fmla="*/ 1766 h 5747"/>
                <a:gd name="T32" fmla="*/ 1713 w 2496"/>
                <a:gd name="T33" fmla="*/ 2087 h 5747"/>
                <a:gd name="T34" fmla="*/ 1771 w 2496"/>
                <a:gd name="T35" fmla="*/ 2169 h 5747"/>
                <a:gd name="T36" fmla="*/ 1859 w 2496"/>
                <a:gd name="T37" fmla="*/ 2248 h 5747"/>
                <a:gd name="T38" fmla="*/ 1948 w 2496"/>
                <a:gd name="T39" fmla="*/ 2293 h 5747"/>
                <a:gd name="T40" fmla="*/ 2031 w 2496"/>
                <a:gd name="T41" fmla="*/ 2364 h 5747"/>
                <a:gd name="T42" fmla="*/ 2092 w 2496"/>
                <a:gd name="T43" fmla="*/ 2541 h 5747"/>
                <a:gd name="T44" fmla="*/ 2096 w 2496"/>
                <a:gd name="T45" fmla="*/ 2615 h 5747"/>
                <a:gd name="T46" fmla="*/ 2074 w 2496"/>
                <a:gd name="T47" fmla="*/ 2731 h 5747"/>
                <a:gd name="T48" fmla="*/ 2288 w 2496"/>
                <a:gd name="T49" fmla="*/ 4205 h 5747"/>
                <a:gd name="T50" fmla="*/ 2300 w 2496"/>
                <a:gd name="T51" fmla="*/ 5091 h 5747"/>
                <a:gd name="T52" fmla="*/ 2082 w 2496"/>
                <a:gd name="T53" fmla="*/ 3551 h 5747"/>
                <a:gd name="T54" fmla="*/ 1928 w 2496"/>
                <a:gd name="T55" fmla="*/ 2607 h 5747"/>
                <a:gd name="T56" fmla="*/ 1826 w 2496"/>
                <a:gd name="T57" fmla="*/ 2857 h 5747"/>
                <a:gd name="T58" fmla="*/ 1827 w 2496"/>
                <a:gd name="T59" fmla="*/ 3555 h 5747"/>
                <a:gd name="T60" fmla="*/ 1838 w 2496"/>
                <a:gd name="T61" fmla="*/ 4014 h 5747"/>
                <a:gd name="T62" fmla="*/ 1866 w 2496"/>
                <a:gd name="T63" fmla="*/ 4544 h 5747"/>
                <a:gd name="T64" fmla="*/ 1759 w 2496"/>
                <a:gd name="T65" fmla="*/ 4521 h 5747"/>
                <a:gd name="T66" fmla="*/ 1688 w 2496"/>
                <a:gd name="T67" fmla="*/ 4536 h 5747"/>
                <a:gd name="T68" fmla="*/ 1485 w 2496"/>
                <a:gd name="T69" fmla="*/ 4552 h 5747"/>
                <a:gd name="T70" fmla="*/ 1364 w 2496"/>
                <a:gd name="T71" fmla="*/ 4737 h 5747"/>
                <a:gd name="T72" fmla="*/ 1322 w 2496"/>
                <a:gd name="T73" fmla="*/ 4927 h 5747"/>
                <a:gd name="T74" fmla="*/ 1270 w 2496"/>
                <a:gd name="T75" fmla="*/ 5190 h 5747"/>
                <a:gd name="T76" fmla="*/ 1250 w 2496"/>
                <a:gd name="T77" fmla="*/ 5454 h 5747"/>
                <a:gd name="T78" fmla="*/ 1504 w 2496"/>
                <a:gd name="T79" fmla="*/ 5513 h 5747"/>
                <a:gd name="T80" fmla="*/ 1633 w 2496"/>
                <a:gd name="T81" fmla="*/ 5746 h 5747"/>
                <a:gd name="T82" fmla="*/ 466 w 2496"/>
                <a:gd name="T83" fmla="*/ 5640 h 5747"/>
                <a:gd name="T84" fmla="*/ 483 w 2496"/>
                <a:gd name="T85" fmla="*/ 5158 h 5747"/>
                <a:gd name="T86" fmla="*/ 468 w 2496"/>
                <a:gd name="T87" fmla="*/ 4892 h 5747"/>
                <a:gd name="T88" fmla="*/ 468 w 2496"/>
                <a:gd name="T89" fmla="*/ 4770 h 5747"/>
                <a:gd name="T90" fmla="*/ 487 w 2496"/>
                <a:gd name="T91" fmla="*/ 4666 h 5747"/>
                <a:gd name="T92" fmla="*/ 490 w 2496"/>
                <a:gd name="T93" fmla="*/ 4380 h 5747"/>
                <a:gd name="T94" fmla="*/ 188 w 2496"/>
                <a:gd name="T95" fmla="*/ 4275 h 5747"/>
                <a:gd name="T96" fmla="*/ 103 w 2496"/>
                <a:gd name="T97" fmla="*/ 3499 h 5747"/>
                <a:gd name="T98" fmla="*/ 239 w 2496"/>
                <a:gd name="T99" fmla="*/ 2622 h 5747"/>
                <a:gd name="T100" fmla="*/ 310 w 2496"/>
                <a:gd name="T101" fmla="*/ 2263 h 5747"/>
                <a:gd name="T102" fmla="*/ 332 w 2496"/>
                <a:gd name="T103" fmla="*/ 1868 h 5747"/>
                <a:gd name="T104" fmla="*/ 403 w 2496"/>
                <a:gd name="T105" fmla="*/ 1333 h 5747"/>
                <a:gd name="T106" fmla="*/ 519 w 2496"/>
                <a:gd name="T107" fmla="*/ 1066 h 5747"/>
                <a:gd name="T108" fmla="*/ 625 w 2496"/>
                <a:gd name="T109" fmla="*/ 905 h 5747"/>
                <a:gd name="T110" fmla="*/ 786 w 2496"/>
                <a:gd name="T111" fmla="*/ 744 h 5747"/>
                <a:gd name="T112" fmla="*/ 979 w 2496"/>
                <a:gd name="T113" fmla="*/ 590 h 5747"/>
                <a:gd name="T114" fmla="*/ 1020 w 2496"/>
                <a:gd name="T115" fmla="*/ 499 h 5747"/>
                <a:gd name="T116" fmla="*/ 1021 w 2496"/>
                <a:gd name="T117" fmla="*/ 357 h 5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6" h="5747">
                  <a:moveTo>
                    <a:pt x="1022" y="340"/>
                  </a:moveTo>
                  <a:lnTo>
                    <a:pt x="1022" y="340"/>
                  </a:lnTo>
                  <a:lnTo>
                    <a:pt x="1022" y="326"/>
                  </a:lnTo>
                  <a:lnTo>
                    <a:pt x="1024" y="313"/>
                  </a:lnTo>
                  <a:lnTo>
                    <a:pt x="1028" y="287"/>
                  </a:lnTo>
                  <a:lnTo>
                    <a:pt x="1034" y="261"/>
                  </a:lnTo>
                  <a:lnTo>
                    <a:pt x="1043" y="235"/>
                  </a:lnTo>
                  <a:lnTo>
                    <a:pt x="1053" y="212"/>
                  </a:lnTo>
                  <a:lnTo>
                    <a:pt x="1066" y="189"/>
                  </a:lnTo>
                  <a:lnTo>
                    <a:pt x="1080" y="166"/>
                  </a:lnTo>
                  <a:lnTo>
                    <a:pt x="1096" y="145"/>
                  </a:lnTo>
                  <a:lnTo>
                    <a:pt x="1113" y="126"/>
                  </a:lnTo>
                  <a:lnTo>
                    <a:pt x="1132" y="106"/>
                  </a:lnTo>
                  <a:lnTo>
                    <a:pt x="1153" y="88"/>
                  </a:lnTo>
                  <a:lnTo>
                    <a:pt x="1173" y="71"/>
                  </a:lnTo>
                  <a:lnTo>
                    <a:pt x="1195" y="55"/>
                  </a:lnTo>
                  <a:lnTo>
                    <a:pt x="1218" y="41"/>
                  </a:lnTo>
                  <a:lnTo>
                    <a:pt x="1240" y="29"/>
                  </a:lnTo>
                  <a:lnTo>
                    <a:pt x="1264" y="17"/>
                  </a:lnTo>
                  <a:lnTo>
                    <a:pt x="1264" y="17"/>
                  </a:lnTo>
                  <a:lnTo>
                    <a:pt x="1277" y="13"/>
                  </a:lnTo>
                  <a:lnTo>
                    <a:pt x="1290" y="8"/>
                  </a:lnTo>
                  <a:lnTo>
                    <a:pt x="1303" y="5"/>
                  </a:lnTo>
                  <a:lnTo>
                    <a:pt x="1316" y="3"/>
                  </a:lnTo>
                  <a:lnTo>
                    <a:pt x="1328" y="1"/>
                  </a:lnTo>
                  <a:lnTo>
                    <a:pt x="1341" y="0"/>
                  </a:lnTo>
                  <a:lnTo>
                    <a:pt x="1367" y="0"/>
                  </a:lnTo>
                  <a:lnTo>
                    <a:pt x="1392" y="3"/>
                  </a:lnTo>
                  <a:lnTo>
                    <a:pt x="1418" y="7"/>
                  </a:lnTo>
                  <a:lnTo>
                    <a:pt x="1444" y="14"/>
                  </a:lnTo>
                  <a:lnTo>
                    <a:pt x="1468" y="21"/>
                  </a:lnTo>
                  <a:lnTo>
                    <a:pt x="1493" y="31"/>
                  </a:lnTo>
                  <a:lnTo>
                    <a:pt x="1518" y="40"/>
                  </a:lnTo>
                  <a:lnTo>
                    <a:pt x="1542" y="52"/>
                  </a:lnTo>
                  <a:lnTo>
                    <a:pt x="1566" y="64"/>
                  </a:lnTo>
                  <a:lnTo>
                    <a:pt x="1613" y="89"/>
                  </a:lnTo>
                  <a:lnTo>
                    <a:pt x="1658" y="114"/>
                  </a:lnTo>
                  <a:lnTo>
                    <a:pt x="1658" y="114"/>
                  </a:lnTo>
                  <a:lnTo>
                    <a:pt x="1704" y="146"/>
                  </a:lnTo>
                  <a:lnTo>
                    <a:pt x="1747" y="180"/>
                  </a:lnTo>
                  <a:lnTo>
                    <a:pt x="1836" y="248"/>
                  </a:lnTo>
                  <a:lnTo>
                    <a:pt x="1923" y="318"/>
                  </a:lnTo>
                  <a:lnTo>
                    <a:pt x="1968" y="351"/>
                  </a:lnTo>
                  <a:lnTo>
                    <a:pt x="2013" y="384"/>
                  </a:lnTo>
                  <a:lnTo>
                    <a:pt x="2013" y="384"/>
                  </a:lnTo>
                  <a:lnTo>
                    <a:pt x="2000" y="399"/>
                  </a:lnTo>
                  <a:lnTo>
                    <a:pt x="1987" y="412"/>
                  </a:lnTo>
                  <a:lnTo>
                    <a:pt x="1973" y="426"/>
                  </a:lnTo>
                  <a:lnTo>
                    <a:pt x="1960" y="438"/>
                  </a:lnTo>
                  <a:lnTo>
                    <a:pt x="1945" y="450"/>
                  </a:lnTo>
                  <a:lnTo>
                    <a:pt x="1930" y="461"/>
                  </a:lnTo>
                  <a:lnTo>
                    <a:pt x="1914" y="471"/>
                  </a:lnTo>
                  <a:lnTo>
                    <a:pt x="1898" y="481"/>
                  </a:lnTo>
                  <a:lnTo>
                    <a:pt x="1881" y="488"/>
                  </a:lnTo>
                  <a:lnTo>
                    <a:pt x="1864" y="496"/>
                  </a:lnTo>
                  <a:lnTo>
                    <a:pt x="1846" y="503"/>
                  </a:lnTo>
                  <a:lnTo>
                    <a:pt x="1827" y="508"/>
                  </a:lnTo>
                  <a:lnTo>
                    <a:pt x="1809" y="513"/>
                  </a:lnTo>
                  <a:lnTo>
                    <a:pt x="1791" y="517"/>
                  </a:lnTo>
                  <a:lnTo>
                    <a:pt x="1772" y="519"/>
                  </a:lnTo>
                  <a:lnTo>
                    <a:pt x="1753" y="521"/>
                  </a:lnTo>
                  <a:lnTo>
                    <a:pt x="1753" y="521"/>
                  </a:lnTo>
                  <a:lnTo>
                    <a:pt x="1775" y="569"/>
                  </a:lnTo>
                  <a:lnTo>
                    <a:pt x="1796" y="617"/>
                  </a:lnTo>
                  <a:lnTo>
                    <a:pt x="1838" y="714"/>
                  </a:lnTo>
                  <a:lnTo>
                    <a:pt x="1838" y="714"/>
                  </a:lnTo>
                  <a:lnTo>
                    <a:pt x="1750" y="743"/>
                  </a:lnTo>
                  <a:lnTo>
                    <a:pt x="1750" y="743"/>
                  </a:lnTo>
                  <a:lnTo>
                    <a:pt x="1737" y="796"/>
                  </a:lnTo>
                  <a:lnTo>
                    <a:pt x="1726" y="851"/>
                  </a:lnTo>
                  <a:lnTo>
                    <a:pt x="1714" y="904"/>
                  </a:lnTo>
                  <a:lnTo>
                    <a:pt x="1707" y="929"/>
                  </a:lnTo>
                  <a:lnTo>
                    <a:pt x="1698" y="956"/>
                  </a:lnTo>
                  <a:lnTo>
                    <a:pt x="1698" y="956"/>
                  </a:lnTo>
                  <a:lnTo>
                    <a:pt x="1689" y="961"/>
                  </a:lnTo>
                  <a:lnTo>
                    <a:pt x="1678" y="968"/>
                  </a:lnTo>
                  <a:lnTo>
                    <a:pt x="1657" y="976"/>
                  </a:lnTo>
                  <a:lnTo>
                    <a:pt x="1634" y="985"/>
                  </a:lnTo>
                  <a:lnTo>
                    <a:pt x="1612" y="991"/>
                  </a:lnTo>
                  <a:lnTo>
                    <a:pt x="1566" y="1003"/>
                  </a:lnTo>
                  <a:lnTo>
                    <a:pt x="1544" y="1009"/>
                  </a:lnTo>
                  <a:lnTo>
                    <a:pt x="1521" y="1017"/>
                  </a:lnTo>
                  <a:lnTo>
                    <a:pt x="1521" y="1017"/>
                  </a:lnTo>
                  <a:lnTo>
                    <a:pt x="1536" y="1054"/>
                  </a:lnTo>
                  <a:lnTo>
                    <a:pt x="1550" y="1091"/>
                  </a:lnTo>
                  <a:lnTo>
                    <a:pt x="1563" y="1130"/>
                  </a:lnTo>
                  <a:lnTo>
                    <a:pt x="1576" y="1168"/>
                  </a:lnTo>
                  <a:lnTo>
                    <a:pt x="1576" y="1168"/>
                  </a:lnTo>
                  <a:lnTo>
                    <a:pt x="1642" y="1200"/>
                  </a:lnTo>
                  <a:lnTo>
                    <a:pt x="1709" y="1230"/>
                  </a:lnTo>
                  <a:lnTo>
                    <a:pt x="1709" y="1230"/>
                  </a:lnTo>
                  <a:lnTo>
                    <a:pt x="1710" y="1284"/>
                  </a:lnTo>
                  <a:lnTo>
                    <a:pt x="1710" y="1338"/>
                  </a:lnTo>
                  <a:lnTo>
                    <a:pt x="1709" y="1444"/>
                  </a:lnTo>
                  <a:lnTo>
                    <a:pt x="1703" y="1659"/>
                  </a:lnTo>
                  <a:lnTo>
                    <a:pt x="1701" y="1766"/>
                  </a:lnTo>
                  <a:lnTo>
                    <a:pt x="1701" y="1820"/>
                  </a:lnTo>
                  <a:lnTo>
                    <a:pt x="1702" y="1873"/>
                  </a:lnTo>
                  <a:lnTo>
                    <a:pt x="1703" y="1927"/>
                  </a:lnTo>
                  <a:lnTo>
                    <a:pt x="1705" y="1981"/>
                  </a:lnTo>
                  <a:lnTo>
                    <a:pt x="1708" y="2034"/>
                  </a:lnTo>
                  <a:lnTo>
                    <a:pt x="1713" y="2087"/>
                  </a:lnTo>
                  <a:lnTo>
                    <a:pt x="1713" y="2087"/>
                  </a:lnTo>
                  <a:lnTo>
                    <a:pt x="1723" y="2104"/>
                  </a:lnTo>
                  <a:lnTo>
                    <a:pt x="1734" y="2121"/>
                  </a:lnTo>
                  <a:lnTo>
                    <a:pt x="1745" y="2137"/>
                  </a:lnTo>
                  <a:lnTo>
                    <a:pt x="1758" y="2153"/>
                  </a:lnTo>
                  <a:lnTo>
                    <a:pt x="1771" y="2169"/>
                  </a:lnTo>
                  <a:lnTo>
                    <a:pt x="1784" y="2183"/>
                  </a:lnTo>
                  <a:lnTo>
                    <a:pt x="1798" y="2198"/>
                  </a:lnTo>
                  <a:lnTo>
                    <a:pt x="1812" y="2211"/>
                  </a:lnTo>
                  <a:lnTo>
                    <a:pt x="1827" y="2225"/>
                  </a:lnTo>
                  <a:lnTo>
                    <a:pt x="1843" y="2236"/>
                  </a:lnTo>
                  <a:lnTo>
                    <a:pt x="1859" y="2248"/>
                  </a:lnTo>
                  <a:lnTo>
                    <a:pt x="1876" y="2259"/>
                  </a:lnTo>
                  <a:lnTo>
                    <a:pt x="1893" y="2268"/>
                  </a:lnTo>
                  <a:lnTo>
                    <a:pt x="1912" y="2278"/>
                  </a:lnTo>
                  <a:lnTo>
                    <a:pt x="1930" y="2285"/>
                  </a:lnTo>
                  <a:lnTo>
                    <a:pt x="1948" y="2293"/>
                  </a:lnTo>
                  <a:lnTo>
                    <a:pt x="1948" y="2293"/>
                  </a:lnTo>
                  <a:lnTo>
                    <a:pt x="1966" y="2301"/>
                  </a:lnTo>
                  <a:lnTo>
                    <a:pt x="1982" y="2311"/>
                  </a:lnTo>
                  <a:lnTo>
                    <a:pt x="1997" y="2322"/>
                  </a:lnTo>
                  <a:lnTo>
                    <a:pt x="2010" y="2334"/>
                  </a:lnTo>
                  <a:lnTo>
                    <a:pt x="2020" y="2348"/>
                  </a:lnTo>
                  <a:lnTo>
                    <a:pt x="2031" y="2364"/>
                  </a:lnTo>
                  <a:lnTo>
                    <a:pt x="2040" y="2380"/>
                  </a:lnTo>
                  <a:lnTo>
                    <a:pt x="2048" y="2397"/>
                  </a:lnTo>
                  <a:lnTo>
                    <a:pt x="2054" y="2414"/>
                  </a:lnTo>
                  <a:lnTo>
                    <a:pt x="2061" y="2433"/>
                  </a:lnTo>
                  <a:lnTo>
                    <a:pt x="2073" y="2470"/>
                  </a:lnTo>
                  <a:lnTo>
                    <a:pt x="2092" y="2541"/>
                  </a:lnTo>
                  <a:lnTo>
                    <a:pt x="2092" y="2541"/>
                  </a:lnTo>
                  <a:lnTo>
                    <a:pt x="2095" y="2556"/>
                  </a:lnTo>
                  <a:lnTo>
                    <a:pt x="2097" y="2571"/>
                  </a:lnTo>
                  <a:lnTo>
                    <a:pt x="2098" y="2585"/>
                  </a:lnTo>
                  <a:lnTo>
                    <a:pt x="2097" y="2600"/>
                  </a:lnTo>
                  <a:lnTo>
                    <a:pt x="2096" y="2615"/>
                  </a:lnTo>
                  <a:lnTo>
                    <a:pt x="2093" y="2629"/>
                  </a:lnTo>
                  <a:lnTo>
                    <a:pt x="2086" y="2659"/>
                  </a:lnTo>
                  <a:lnTo>
                    <a:pt x="2080" y="2687"/>
                  </a:lnTo>
                  <a:lnTo>
                    <a:pt x="2077" y="2702"/>
                  </a:lnTo>
                  <a:lnTo>
                    <a:pt x="2075" y="2716"/>
                  </a:lnTo>
                  <a:lnTo>
                    <a:pt x="2074" y="2731"/>
                  </a:lnTo>
                  <a:lnTo>
                    <a:pt x="2074" y="2746"/>
                  </a:lnTo>
                  <a:lnTo>
                    <a:pt x="2076" y="2761"/>
                  </a:lnTo>
                  <a:lnTo>
                    <a:pt x="2079" y="2776"/>
                  </a:lnTo>
                  <a:lnTo>
                    <a:pt x="2079" y="2776"/>
                  </a:lnTo>
                  <a:lnTo>
                    <a:pt x="2183" y="3490"/>
                  </a:lnTo>
                  <a:lnTo>
                    <a:pt x="2288" y="4205"/>
                  </a:lnTo>
                  <a:lnTo>
                    <a:pt x="2496" y="5635"/>
                  </a:lnTo>
                  <a:lnTo>
                    <a:pt x="2496" y="5635"/>
                  </a:lnTo>
                  <a:lnTo>
                    <a:pt x="2377" y="5651"/>
                  </a:lnTo>
                  <a:lnTo>
                    <a:pt x="2377" y="5651"/>
                  </a:lnTo>
                  <a:lnTo>
                    <a:pt x="2338" y="5371"/>
                  </a:lnTo>
                  <a:lnTo>
                    <a:pt x="2300" y="5091"/>
                  </a:lnTo>
                  <a:lnTo>
                    <a:pt x="2225" y="4531"/>
                  </a:lnTo>
                  <a:lnTo>
                    <a:pt x="2187" y="4250"/>
                  </a:lnTo>
                  <a:lnTo>
                    <a:pt x="2146" y="3971"/>
                  </a:lnTo>
                  <a:lnTo>
                    <a:pt x="2126" y="3830"/>
                  </a:lnTo>
                  <a:lnTo>
                    <a:pt x="2104" y="3690"/>
                  </a:lnTo>
                  <a:lnTo>
                    <a:pt x="2082" y="3551"/>
                  </a:lnTo>
                  <a:lnTo>
                    <a:pt x="2059" y="3411"/>
                  </a:lnTo>
                  <a:lnTo>
                    <a:pt x="2059" y="3411"/>
                  </a:lnTo>
                  <a:lnTo>
                    <a:pt x="1992" y="3010"/>
                  </a:lnTo>
                  <a:lnTo>
                    <a:pt x="1959" y="2809"/>
                  </a:lnTo>
                  <a:lnTo>
                    <a:pt x="1928" y="2607"/>
                  </a:lnTo>
                  <a:lnTo>
                    <a:pt x="1928" y="2607"/>
                  </a:lnTo>
                  <a:lnTo>
                    <a:pt x="1816" y="2579"/>
                  </a:lnTo>
                  <a:lnTo>
                    <a:pt x="1816" y="2579"/>
                  </a:lnTo>
                  <a:lnTo>
                    <a:pt x="1820" y="2648"/>
                  </a:lnTo>
                  <a:lnTo>
                    <a:pt x="1823" y="2717"/>
                  </a:lnTo>
                  <a:lnTo>
                    <a:pt x="1825" y="2788"/>
                  </a:lnTo>
                  <a:lnTo>
                    <a:pt x="1826" y="2857"/>
                  </a:lnTo>
                  <a:lnTo>
                    <a:pt x="1827" y="2997"/>
                  </a:lnTo>
                  <a:lnTo>
                    <a:pt x="1826" y="3136"/>
                  </a:lnTo>
                  <a:lnTo>
                    <a:pt x="1825" y="3276"/>
                  </a:lnTo>
                  <a:lnTo>
                    <a:pt x="1825" y="3415"/>
                  </a:lnTo>
                  <a:lnTo>
                    <a:pt x="1826" y="3485"/>
                  </a:lnTo>
                  <a:lnTo>
                    <a:pt x="1827" y="3555"/>
                  </a:lnTo>
                  <a:lnTo>
                    <a:pt x="1831" y="3624"/>
                  </a:lnTo>
                  <a:lnTo>
                    <a:pt x="1835" y="3694"/>
                  </a:lnTo>
                  <a:lnTo>
                    <a:pt x="1835" y="3694"/>
                  </a:lnTo>
                  <a:lnTo>
                    <a:pt x="1835" y="3800"/>
                  </a:lnTo>
                  <a:lnTo>
                    <a:pt x="1836" y="3907"/>
                  </a:lnTo>
                  <a:lnTo>
                    <a:pt x="1838" y="4014"/>
                  </a:lnTo>
                  <a:lnTo>
                    <a:pt x="1841" y="4120"/>
                  </a:lnTo>
                  <a:lnTo>
                    <a:pt x="1847" y="4226"/>
                  </a:lnTo>
                  <a:lnTo>
                    <a:pt x="1852" y="4332"/>
                  </a:lnTo>
                  <a:lnTo>
                    <a:pt x="1858" y="4439"/>
                  </a:lnTo>
                  <a:lnTo>
                    <a:pt x="1866" y="4544"/>
                  </a:lnTo>
                  <a:lnTo>
                    <a:pt x="1866" y="4544"/>
                  </a:lnTo>
                  <a:lnTo>
                    <a:pt x="1853" y="4543"/>
                  </a:lnTo>
                  <a:lnTo>
                    <a:pt x="1840" y="4540"/>
                  </a:lnTo>
                  <a:lnTo>
                    <a:pt x="1812" y="4533"/>
                  </a:lnTo>
                  <a:lnTo>
                    <a:pt x="1786" y="4526"/>
                  </a:lnTo>
                  <a:lnTo>
                    <a:pt x="1773" y="4523"/>
                  </a:lnTo>
                  <a:lnTo>
                    <a:pt x="1759" y="4521"/>
                  </a:lnTo>
                  <a:lnTo>
                    <a:pt x="1746" y="4519"/>
                  </a:lnTo>
                  <a:lnTo>
                    <a:pt x="1734" y="4519"/>
                  </a:lnTo>
                  <a:lnTo>
                    <a:pt x="1722" y="4521"/>
                  </a:lnTo>
                  <a:lnTo>
                    <a:pt x="1709" y="4524"/>
                  </a:lnTo>
                  <a:lnTo>
                    <a:pt x="1698" y="4528"/>
                  </a:lnTo>
                  <a:lnTo>
                    <a:pt x="1688" y="4536"/>
                  </a:lnTo>
                  <a:lnTo>
                    <a:pt x="1677" y="4547"/>
                  </a:lnTo>
                  <a:lnTo>
                    <a:pt x="1667" y="4559"/>
                  </a:lnTo>
                  <a:lnTo>
                    <a:pt x="1667" y="4559"/>
                  </a:lnTo>
                  <a:lnTo>
                    <a:pt x="1607" y="4557"/>
                  </a:lnTo>
                  <a:lnTo>
                    <a:pt x="1546" y="4555"/>
                  </a:lnTo>
                  <a:lnTo>
                    <a:pt x="1485" y="4552"/>
                  </a:lnTo>
                  <a:lnTo>
                    <a:pt x="1455" y="4552"/>
                  </a:lnTo>
                  <a:lnTo>
                    <a:pt x="1424" y="4551"/>
                  </a:lnTo>
                  <a:lnTo>
                    <a:pt x="1424" y="4551"/>
                  </a:lnTo>
                  <a:lnTo>
                    <a:pt x="1393" y="4644"/>
                  </a:lnTo>
                  <a:lnTo>
                    <a:pt x="1379" y="4690"/>
                  </a:lnTo>
                  <a:lnTo>
                    <a:pt x="1364" y="4737"/>
                  </a:lnTo>
                  <a:lnTo>
                    <a:pt x="1351" y="4784"/>
                  </a:lnTo>
                  <a:lnTo>
                    <a:pt x="1339" y="4831"/>
                  </a:lnTo>
                  <a:lnTo>
                    <a:pt x="1330" y="4879"/>
                  </a:lnTo>
                  <a:lnTo>
                    <a:pt x="1325" y="4903"/>
                  </a:lnTo>
                  <a:lnTo>
                    <a:pt x="1322" y="4927"/>
                  </a:lnTo>
                  <a:lnTo>
                    <a:pt x="1322" y="4927"/>
                  </a:lnTo>
                  <a:lnTo>
                    <a:pt x="1318" y="4960"/>
                  </a:lnTo>
                  <a:lnTo>
                    <a:pt x="1312" y="4994"/>
                  </a:lnTo>
                  <a:lnTo>
                    <a:pt x="1307" y="5026"/>
                  </a:lnTo>
                  <a:lnTo>
                    <a:pt x="1301" y="5059"/>
                  </a:lnTo>
                  <a:lnTo>
                    <a:pt x="1286" y="5125"/>
                  </a:lnTo>
                  <a:lnTo>
                    <a:pt x="1270" y="5190"/>
                  </a:lnTo>
                  <a:lnTo>
                    <a:pt x="1252" y="5254"/>
                  </a:lnTo>
                  <a:lnTo>
                    <a:pt x="1234" y="5319"/>
                  </a:lnTo>
                  <a:lnTo>
                    <a:pt x="1197" y="5448"/>
                  </a:lnTo>
                  <a:lnTo>
                    <a:pt x="1197" y="5448"/>
                  </a:lnTo>
                  <a:lnTo>
                    <a:pt x="1224" y="5451"/>
                  </a:lnTo>
                  <a:lnTo>
                    <a:pt x="1250" y="5454"/>
                  </a:lnTo>
                  <a:lnTo>
                    <a:pt x="1275" y="5458"/>
                  </a:lnTo>
                  <a:lnTo>
                    <a:pt x="1301" y="5462"/>
                  </a:lnTo>
                  <a:lnTo>
                    <a:pt x="1352" y="5473"/>
                  </a:lnTo>
                  <a:lnTo>
                    <a:pt x="1403" y="5486"/>
                  </a:lnTo>
                  <a:lnTo>
                    <a:pt x="1454" y="5500"/>
                  </a:lnTo>
                  <a:lnTo>
                    <a:pt x="1504" y="5513"/>
                  </a:lnTo>
                  <a:lnTo>
                    <a:pt x="1606" y="5541"/>
                  </a:lnTo>
                  <a:lnTo>
                    <a:pt x="1606" y="5541"/>
                  </a:lnTo>
                  <a:lnTo>
                    <a:pt x="1612" y="5592"/>
                  </a:lnTo>
                  <a:lnTo>
                    <a:pt x="1619" y="5643"/>
                  </a:lnTo>
                  <a:lnTo>
                    <a:pt x="1633" y="5746"/>
                  </a:lnTo>
                  <a:lnTo>
                    <a:pt x="1633" y="5746"/>
                  </a:lnTo>
                  <a:lnTo>
                    <a:pt x="1341" y="5747"/>
                  </a:lnTo>
                  <a:lnTo>
                    <a:pt x="1048" y="5747"/>
                  </a:lnTo>
                  <a:lnTo>
                    <a:pt x="755" y="5747"/>
                  </a:lnTo>
                  <a:lnTo>
                    <a:pt x="462" y="5747"/>
                  </a:lnTo>
                  <a:lnTo>
                    <a:pt x="462" y="5747"/>
                  </a:lnTo>
                  <a:lnTo>
                    <a:pt x="466" y="5640"/>
                  </a:lnTo>
                  <a:lnTo>
                    <a:pt x="471" y="5533"/>
                  </a:lnTo>
                  <a:lnTo>
                    <a:pt x="477" y="5426"/>
                  </a:lnTo>
                  <a:lnTo>
                    <a:pt x="481" y="5318"/>
                  </a:lnTo>
                  <a:lnTo>
                    <a:pt x="483" y="5265"/>
                  </a:lnTo>
                  <a:lnTo>
                    <a:pt x="483" y="5212"/>
                  </a:lnTo>
                  <a:lnTo>
                    <a:pt x="483" y="5158"/>
                  </a:lnTo>
                  <a:lnTo>
                    <a:pt x="483" y="5105"/>
                  </a:lnTo>
                  <a:lnTo>
                    <a:pt x="481" y="5052"/>
                  </a:lnTo>
                  <a:lnTo>
                    <a:pt x="478" y="4999"/>
                  </a:lnTo>
                  <a:lnTo>
                    <a:pt x="473" y="4945"/>
                  </a:lnTo>
                  <a:lnTo>
                    <a:pt x="468" y="4892"/>
                  </a:lnTo>
                  <a:lnTo>
                    <a:pt x="468" y="4892"/>
                  </a:lnTo>
                  <a:lnTo>
                    <a:pt x="466" y="4872"/>
                  </a:lnTo>
                  <a:lnTo>
                    <a:pt x="464" y="4851"/>
                  </a:lnTo>
                  <a:lnTo>
                    <a:pt x="464" y="4831"/>
                  </a:lnTo>
                  <a:lnTo>
                    <a:pt x="464" y="4811"/>
                  </a:lnTo>
                  <a:lnTo>
                    <a:pt x="466" y="4791"/>
                  </a:lnTo>
                  <a:lnTo>
                    <a:pt x="468" y="4770"/>
                  </a:lnTo>
                  <a:lnTo>
                    <a:pt x="471" y="4750"/>
                  </a:lnTo>
                  <a:lnTo>
                    <a:pt x="476" y="4731"/>
                  </a:lnTo>
                  <a:lnTo>
                    <a:pt x="476" y="4731"/>
                  </a:lnTo>
                  <a:lnTo>
                    <a:pt x="481" y="4709"/>
                  </a:lnTo>
                  <a:lnTo>
                    <a:pt x="484" y="4687"/>
                  </a:lnTo>
                  <a:lnTo>
                    <a:pt x="487" y="4666"/>
                  </a:lnTo>
                  <a:lnTo>
                    <a:pt x="490" y="4644"/>
                  </a:lnTo>
                  <a:lnTo>
                    <a:pt x="493" y="4600"/>
                  </a:lnTo>
                  <a:lnTo>
                    <a:pt x="494" y="4556"/>
                  </a:lnTo>
                  <a:lnTo>
                    <a:pt x="494" y="4512"/>
                  </a:lnTo>
                  <a:lnTo>
                    <a:pt x="493" y="4468"/>
                  </a:lnTo>
                  <a:lnTo>
                    <a:pt x="490" y="4380"/>
                  </a:lnTo>
                  <a:lnTo>
                    <a:pt x="490" y="4380"/>
                  </a:lnTo>
                  <a:lnTo>
                    <a:pt x="431" y="4356"/>
                  </a:lnTo>
                  <a:lnTo>
                    <a:pt x="371" y="4333"/>
                  </a:lnTo>
                  <a:lnTo>
                    <a:pt x="310" y="4312"/>
                  </a:lnTo>
                  <a:lnTo>
                    <a:pt x="250" y="4293"/>
                  </a:lnTo>
                  <a:lnTo>
                    <a:pt x="188" y="4275"/>
                  </a:lnTo>
                  <a:lnTo>
                    <a:pt x="126" y="4259"/>
                  </a:lnTo>
                  <a:lnTo>
                    <a:pt x="63" y="4245"/>
                  </a:lnTo>
                  <a:lnTo>
                    <a:pt x="0" y="4232"/>
                  </a:lnTo>
                  <a:lnTo>
                    <a:pt x="0" y="4232"/>
                  </a:lnTo>
                  <a:lnTo>
                    <a:pt x="51" y="3865"/>
                  </a:lnTo>
                  <a:lnTo>
                    <a:pt x="103" y="3499"/>
                  </a:lnTo>
                  <a:lnTo>
                    <a:pt x="157" y="3133"/>
                  </a:lnTo>
                  <a:lnTo>
                    <a:pt x="211" y="2767"/>
                  </a:lnTo>
                  <a:lnTo>
                    <a:pt x="211" y="2767"/>
                  </a:lnTo>
                  <a:lnTo>
                    <a:pt x="217" y="2731"/>
                  </a:lnTo>
                  <a:lnTo>
                    <a:pt x="223" y="2695"/>
                  </a:lnTo>
                  <a:lnTo>
                    <a:pt x="239" y="2622"/>
                  </a:lnTo>
                  <a:lnTo>
                    <a:pt x="272" y="2479"/>
                  </a:lnTo>
                  <a:lnTo>
                    <a:pt x="287" y="2408"/>
                  </a:lnTo>
                  <a:lnTo>
                    <a:pt x="294" y="2372"/>
                  </a:lnTo>
                  <a:lnTo>
                    <a:pt x="301" y="2336"/>
                  </a:lnTo>
                  <a:lnTo>
                    <a:pt x="306" y="2299"/>
                  </a:lnTo>
                  <a:lnTo>
                    <a:pt x="310" y="2263"/>
                  </a:lnTo>
                  <a:lnTo>
                    <a:pt x="314" y="2227"/>
                  </a:lnTo>
                  <a:lnTo>
                    <a:pt x="316" y="2191"/>
                  </a:lnTo>
                  <a:lnTo>
                    <a:pt x="316" y="2191"/>
                  </a:lnTo>
                  <a:lnTo>
                    <a:pt x="319" y="2083"/>
                  </a:lnTo>
                  <a:lnTo>
                    <a:pt x="324" y="1975"/>
                  </a:lnTo>
                  <a:lnTo>
                    <a:pt x="332" y="1868"/>
                  </a:lnTo>
                  <a:lnTo>
                    <a:pt x="341" y="1760"/>
                  </a:lnTo>
                  <a:lnTo>
                    <a:pt x="353" y="1653"/>
                  </a:lnTo>
                  <a:lnTo>
                    <a:pt x="368" y="1547"/>
                  </a:lnTo>
                  <a:lnTo>
                    <a:pt x="384" y="1440"/>
                  </a:lnTo>
                  <a:lnTo>
                    <a:pt x="403" y="1333"/>
                  </a:lnTo>
                  <a:lnTo>
                    <a:pt x="403" y="1333"/>
                  </a:lnTo>
                  <a:lnTo>
                    <a:pt x="416" y="1294"/>
                  </a:lnTo>
                  <a:lnTo>
                    <a:pt x="431" y="1256"/>
                  </a:lnTo>
                  <a:lnTo>
                    <a:pt x="448" y="1217"/>
                  </a:lnTo>
                  <a:lnTo>
                    <a:pt x="465" y="1179"/>
                  </a:lnTo>
                  <a:lnTo>
                    <a:pt x="501" y="1104"/>
                  </a:lnTo>
                  <a:lnTo>
                    <a:pt x="519" y="1066"/>
                  </a:lnTo>
                  <a:lnTo>
                    <a:pt x="536" y="1029"/>
                  </a:lnTo>
                  <a:lnTo>
                    <a:pt x="536" y="1029"/>
                  </a:lnTo>
                  <a:lnTo>
                    <a:pt x="557" y="997"/>
                  </a:lnTo>
                  <a:lnTo>
                    <a:pt x="578" y="965"/>
                  </a:lnTo>
                  <a:lnTo>
                    <a:pt x="601" y="935"/>
                  </a:lnTo>
                  <a:lnTo>
                    <a:pt x="625" y="905"/>
                  </a:lnTo>
                  <a:lnTo>
                    <a:pt x="649" y="876"/>
                  </a:lnTo>
                  <a:lnTo>
                    <a:pt x="675" y="848"/>
                  </a:lnTo>
                  <a:lnTo>
                    <a:pt x="702" y="821"/>
                  </a:lnTo>
                  <a:lnTo>
                    <a:pt x="729" y="795"/>
                  </a:lnTo>
                  <a:lnTo>
                    <a:pt x="757" y="770"/>
                  </a:lnTo>
                  <a:lnTo>
                    <a:pt x="786" y="744"/>
                  </a:lnTo>
                  <a:lnTo>
                    <a:pt x="815" y="719"/>
                  </a:lnTo>
                  <a:lnTo>
                    <a:pt x="844" y="695"/>
                  </a:lnTo>
                  <a:lnTo>
                    <a:pt x="904" y="648"/>
                  </a:lnTo>
                  <a:lnTo>
                    <a:pt x="965" y="603"/>
                  </a:lnTo>
                  <a:lnTo>
                    <a:pt x="965" y="603"/>
                  </a:lnTo>
                  <a:lnTo>
                    <a:pt x="979" y="590"/>
                  </a:lnTo>
                  <a:lnTo>
                    <a:pt x="990" y="578"/>
                  </a:lnTo>
                  <a:lnTo>
                    <a:pt x="1000" y="563"/>
                  </a:lnTo>
                  <a:lnTo>
                    <a:pt x="1008" y="548"/>
                  </a:lnTo>
                  <a:lnTo>
                    <a:pt x="1013" y="532"/>
                  </a:lnTo>
                  <a:lnTo>
                    <a:pt x="1017" y="516"/>
                  </a:lnTo>
                  <a:lnTo>
                    <a:pt x="1020" y="499"/>
                  </a:lnTo>
                  <a:lnTo>
                    <a:pt x="1021" y="481"/>
                  </a:lnTo>
                  <a:lnTo>
                    <a:pt x="1022" y="464"/>
                  </a:lnTo>
                  <a:lnTo>
                    <a:pt x="1022" y="445"/>
                  </a:lnTo>
                  <a:lnTo>
                    <a:pt x="1022" y="409"/>
                  </a:lnTo>
                  <a:lnTo>
                    <a:pt x="1021" y="374"/>
                  </a:lnTo>
                  <a:lnTo>
                    <a:pt x="1021" y="357"/>
                  </a:lnTo>
                  <a:lnTo>
                    <a:pt x="1022" y="340"/>
                  </a:lnTo>
                  <a:lnTo>
                    <a:pt x="1022" y="340"/>
                  </a:lnTo>
                  <a:close/>
                </a:path>
              </a:pathLst>
            </a:custGeom>
            <a:solidFill>
              <a:srgbClr val="FFFFFF"/>
            </a:solidFill>
            <a:ln w="0">
              <a:noFill/>
              <a:prstDash val="solid"/>
              <a:round/>
              <a:headEnd/>
              <a:tailEnd/>
            </a:ln>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nvGrpSpPr>
          <p:cNvPr id="65615" name="Group 267"/>
          <p:cNvGrpSpPr>
            <a:grpSpLocks/>
          </p:cNvGrpSpPr>
          <p:nvPr/>
        </p:nvGrpSpPr>
        <p:grpSpPr bwMode="auto">
          <a:xfrm>
            <a:off x="7434263" y="4865688"/>
            <a:ext cx="252412" cy="252412"/>
            <a:chOff x="7274139" y="4494604"/>
            <a:chExt cx="252000" cy="252000"/>
          </a:xfrm>
        </p:grpSpPr>
        <p:sp>
          <p:nvSpPr>
            <p:cNvPr id="242" name="Oval 241">
              <a:extLst>
                <a:ext uri="{FF2B5EF4-FFF2-40B4-BE49-F238E27FC236}"/>
              </a:extLst>
            </p:cNvPr>
            <p:cNvSpPr/>
            <p:nvPr/>
          </p:nvSpPr>
          <p:spPr bwMode="ltGray">
            <a:xfrm>
              <a:off x="7274139" y="4494604"/>
              <a:ext cx="252000" cy="252000"/>
            </a:xfrm>
            <a:prstGeom prst="ellipse">
              <a:avLst/>
            </a:prstGeom>
            <a:solidFill>
              <a:srgbClr val="E03C3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43" name="Freeform 74">
              <a:extLst>
                <a:ext uri="{FF2B5EF4-FFF2-40B4-BE49-F238E27FC236}"/>
              </a:extLst>
            </p:cNvPr>
            <p:cNvSpPr>
              <a:spLocks noEditPoints="1"/>
            </p:cNvSpPr>
            <p:nvPr/>
          </p:nvSpPr>
          <p:spPr bwMode="auto">
            <a:xfrm>
              <a:off x="7315347" y="4535812"/>
              <a:ext cx="169585" cy="169585"/>
            </a:xfrm>
            <a:custGeom>
              <a:avLst/>
              <a:gdLst>
                <a:gd name="T0" fmla="*/ 11309184 w 307"/>
                <a:gd name="T1" fmla="*/ 144614908 h 331"/>
                <a:gd name="T2" fmla="*/ 9693666 w 307"/>
                <a:gd name="T3" fmla="*/ 197065977 h 331"/>
                <a:gd name="T4" fmla="*/ 42005143 w 307"/>
                <a:gd name="T5" fmla="*/ 245020873 h 331"/>
                <a:gd name="T6" fmla="*/ 54929845 w 307"/>
                <a:gd name="T7" fmla="*/ 164846145 h 331"/>
                <a:gd name="T8" fmla="*/ 145401649 w 307"/>
                <a:gd name="T9" fmla="*/ 74180688 h 331"/>
                <a:gd name="T10" fmla="*/ 147017167 w 307"/>
                <a:gd name="T11" fmla="*/ 90665457 h 331"/>
                <a:gd name="T12" fmla="*/ 164788980 w 307"/>
                <a:gd name="T13" fmla="*/ 90665457 h 331"/>
                <a:gd name="T14" fmla="*/ 166404499 w 307"/>
                <a:gd name="T15" fmla="*/ 74180688 h 331"/>
                <a:gd name="T16" fmla="*/ 175289849 w 307"/>
                <a:gd name="T17" fmla="*/ 41960856 h 331"/>
                <a:gd name="T18" fmla="*/ 139747335 w 307"/>
                <a:gd name="T19" fmla="*/ 39712769 h 331"/>
                <a:gd name="T20" fmla="*/ 166404499 w 307"/>
                <a:gd name="T21" fmla="*/ 74180688 h 331"/>
                <a:gd name="T22" fmla="*/ 81586453 w 307"/>
                <a:gd name="T23" fmla="*/ 74180688 h 331"/>
                <a:gd name="T24" fmla="*/ 83201971 w 307"/>
                <a:gd name="T25" fmla="*/ 90665457 h 331"/>
                <a:gd name="T26" fmla="*/ 100973784 w 307"/>
                <a:gd name="T27" fmla="*/ 90665457 h 331"/>
                <a:gd name="T28" fmla="*/ 102589303 w 307"/>
                <a:gd name="T29" fmla="*/ 74180688 h 331"/>
                <a:gd name="T30" fmla="*/ 111474653 w 307"/>
                <a:gd name="T31" fmla="*/ 41960856 h 331"/>
                <a:gd name="T32" fmla="*/ 75124380 w 307"/>
                <a:gd name="T33" fmla="*/ 39712769 h 331"/>
                <a:gd name="T34" fmla="*/ 102589303 w 307"/>
                <a:gd name="T35" fmla="*/ 74180688 h 331"/>
                <a:gd name="T36" fmla="*/ 142170613 w 307"/>
                <a:gd name="T37" fmla="*/ 137121971 h 331"/>
                <a:gd name="T38" fmla="*/ 139747335 w 307"/>
                <a:gd name="T39" fmla="*/ 105651330 h 331"/>
                <a:gd name="T40" fmla="*/ 123591596 w 307"/>
                <a:gd name="T41" fmla="*/ 86918989 h 331"/>
                <a:gd name="T42" fmla="*/ 108243617 w 307"/>
                <a:gd name="T43" fmla="*/ 105651330 h 331"/>
                <a:gd name="T44" fmla="*/ 105820339 w 307"/>
                <a:gd name="T45" fmla="*/ 137121971 h 331"/>
                <a:gd name="T46" fmla="*/ 115513449 w 307"/>
                <a:gd name="T47" fmla="*/ 143116011 h 331"/>
                <a:gd name="T48" fmla="*/ 134093021 w 307"/>
                <a:gd name="T49" fmla="*/ 126631757 h 331"/>
                <a:gd name="T50" fmla="*/ 139747335 w 307"/>
                <a:gd name="T51" fmla="*/ 144614908 h 331"/>
                <a:gd name="T52" fmla="*/ 138131817 w 307"/>
                <a:gd name="T53" fmla="*/ 197065977 h 331"/>
                <a:gd name="T54" fmla="*/ 170443294 w 307"/>
                <a:gd name="T55" fmla="*/ 245020873 h 331"/>
                <a:gd name="T56" fmla="*/ 183367997 w 307"/>
                <a:gd name="T57" fmla="*/ 164846145 h 331"/>
                <a:gd name="T58" fmla="*/ 92087878 w 307"/>
                <a:gd name="T59" fmla="*/ 139369543 h 331"/>
                <a:gd name="T60" fmla="*/ 64622955 w 307"/>
                <a:gd name="T61" fmla="*/ 194068700 h 331"/>
                <a:gd name="T62" fmla="*/ 79970935 w 307"/>
                <a:gd name="T63" fmla="*/ 248018150 h 331"/>
                <a:gd name="T64" fmla="*/ 116321764 w 307"/>
                <a:gd name="T65" fmla="*/ 197065977 h 331"/>
                <a:gd name="T66" fmla="*/ 71085584 w 307"/>
                <a:gd name="T67" fmla="*/ 140868440 h 331"/>
                <a:gd name="T68" fmla="*/ 69469510 w 307"/>
                <a:gd name="T69" fmla="*/ 120637202 h 331"/>
                <a:gd name="T70" fmla="*/ 76739898 w 307"/>
                <a:gd name="T71" fmla="*/ 92163838 h 331"/>
                <a:gd name="T72" fmla="*/ 40389625 w 307"/>
                <a:gd name="T73" fmla="*/ 94411925 h 331"/>
                <a:gd name="T74" fmla="*/ 49274976 w 307"/>
                <a:gd name="T75" fmla="*/ 126631757 h 331"/>
                <a:gd name="T76" fmla="*/ 50890494 w 307"/>
                <a:gd name="T77" fmla="*/ 143116011 h 331"/>
                <a:gd name="T78" fmla="*/ 70277825 w 307"/>
                <a:gd name="T79" fmla="*/ 126631757 h 331"/>
                <a:gd name="T80" fmla="*/ 220526029 w 307"/>
                <a:gd name="T81" fmla="*/ 139369543 h 331"/>
                <a:gd name="T82" fmla="*/ 193061106 w 307"/>
                <a:gd name="T83" fmla="*/ 164846145 h 331"/>
                <a:gd name="T84" fmla="*/ 205985809 w 307"/>
                <a:gd name="T85" fmla="*/ 245020873 h 331"/>
                <a:gd name="T86" fmla="*/ 238297286 w 307"/>
                <a:gd name="T87" fmla="*/ 197065977 h 331"/>
                <a:gd name="T88" fmla="*/ 199523735 w 307"/>
                <a:gd name="T89" fmla="*/ 140868440 h 331"/>
                <a:gd name="T90" fmla="*/ 197908217 w 307"/>
                <a:gd name="T91" fmla="*/ 120637202 h 331"/>
                <a:gd name="T92" fmla="*/ 205178049 w 307"/>
                <a:gd name="T93" fmla="*/ 92163838 h 331"/>
                <a:gd name="T94" fmla="*/ 168827776 w 307"/>
                <a:gd name="T95" fmla="*/ 94411925 h 331"/>
                <a:gd name="T96" fmla="*/ 177713127 w 307"/>
                <a:gd name="T97" fmla="*/ 126631757 h 331"/>
                <a:gd name="T98" fmla="*/ 179329201 w 307"/>
                <a:gd name="T99" fmla="*/ 143116011 h 331"/>
                <a:gd name="T100" fmla="*/ 199523735 w 307"/>
                <a:gd name="T101" fmla="*/ 140868440 h 331"/>
                <a:gd name="T102" fmla="*/ 140555094 w 307"/>
                <a:gd name="T103" fmla="*/ 67436942 h 331"/>
                <a:gd name="T104" fmla="*/ 59776400 w 307"/>
                <a:gd name="T105" fmla="*/ 52451070 h 331"/>
                <a:gd name="T106" fmla="*/ 204370290 w 307"/>
                <a:gd name="T107" fmla="*/ 67436942 h 331"/>
                <a:gd name="T108" fmla="*/ 109051376 w 307"/>
                <a:gd name="T109" fmla="*/ 120637202 h 331"/>
                <a:gd name="T110" fmla="*/ 27464923 w 307"/>
                <a:gd name="T111" fmla="*/ 104902139 h 331"/>
                <a:gd name="T112" fmla="*/ 172866572 w 307"/>
                <a:gd name="T113" fmla="*/ 120637202 h 331"/>
                <a:gd name="T114" fmla="*/ 92087878 w 307"/>
                <a:gd name="T115" fmla="*/ 0 h 331"/>
                <a:gd name="T116" fmla="*/ 155903074 w 307"/>
                <a:gd name="T117" fmla="*/ 0 h 331"/>
                <a:gd name="T118" fmla="*/ 237489527 w 307"/>
                <a:gd name="T119" fmla="*/ 120637202 h 33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7" h="331">
                  <a:moveTo>
                    <a:pt x="55" y="193"/>
                  </a:moveTo>
                  <a:cubicBezTo>
                    <a:pt x="49" y="189"/>
                    <a:pt x="42" y="186"/>
                    <a:pt x="34" y="186"/>
                  </a:cubicBezTo>
                  <a:cubicBezTo>
                    <a:pt x="34" y="186"/>
                    <a:pt x="34" y="186"/>
                    <a:pt x="34" y="186"/>
                  </a:cubicBezTo>
                  <a:cubicBezTo>
                    <a:pt x="34" y="186"/>
                    <a:pt x="34" y="186"/>
                    <a:pt x="34" y="186"/>
                  </a:cubicBezTo>
                  <a:cubicBezTo>
                    <a:pt x="26" y="186"/>
                    <a:pt x="19" y="189"/>
                    <a:pt x="14" y="193"/>
                  </a:cubicBezTo>
                  <a:cubicBezTo>
                    <a:pt x="12" y="194"/>
                    <a:pt x="11" y="195"/>
                    <a:pt x="10" y="196"/>
                  </a:cubicBezTo>
                  <a:cubicBezTo>
                    <a:pt x="4" y="203"/>
                    <a:pt x="0" y="211"/>
                    <a:pt x="0" y="220"/>
                  </a:cubicBezTo>
                  <a:cubicBezTo>
                    <a:pt x="0" y="259"/>
                    <a:pt x="0" y="259"/>
                    <a:pt x="0" y="259"/>
                  </a:cubicBezTo>
                  <a:cubicBezTo>
                    <a:pt x="0" y="261"/>
                    <a:pt x="2" y="263"/>
                    <a:pt x="4" y="263"/>
                  </a:cubicBezTo>
                  <a:cubicBezTo>
                    <a:pt x="12" y="263"/>
                    <a:pt x="12" y="263"/>
                    <a:pt x="12" y="263"/>
                  </a:cubicBezTo>
                  <a:cubicBezTo>
                    <a:pt x="14" y="263"/>
                    <a:pt x="16" y="265"/>
                    <a:pt x="16" y="267"/>
                  </a:cubicBezTo>
                  <a:cubicBezTo>
                    <a:pt x="16" y="327"/>
                    <a:pt x="16" y="327"/>
                    <a:pt x="16" y="327"/>
                  </a:cubicBezTo>
                  <a:cubicBezTo>
                    <a:pt x="16" y="329"/>
                    <a:pt x="18" y="331"/>
                    <a:pt x="20" y="331"/>
                  </a:cubicBezTo>
                  <a:cubicBezTo>
                    <a:pt x="48" y="331"/>
                    <a:pt x="48" y="331"/>
                    <a:pt x="48" y="331"/>
                  </a:cubicBezTo>
                  <a:cubicBezTo>
                    <a:pt x="51" y="331"/>
                    <a:pt x="52" y="329"/>
                    <a:pt x="52" y="327"/>
                  </a:cubicBezTo>
                  <a:cubicBezTo>
                    <a:pt x="52" y="267"/>
                    <a:pt x="52" y="267"/>
                    <a:pt x="52" y="267"/>
                  </a:cubicBezTo>
                  <a:cubicBezTo>
                    <a:pt x="52" y="265"/>
                    <a:pt x="54" y="263"/>
                    <a:pt x="56" y="263"/>
                  </a:cubicBezTo>
                  <a:cubicBezTo>
                    <a:pt x="64" y="263"/>
                    <a:pt x="64" y="263"/>
                    <a:pt x="64" y="263"/>
                  </a:cubicBezTo>
                  <a:cubicBezTo>
                    <a:pt x="66" y="263"/>
                    <a:pt x="68" y="261"/>
                    <a:pt x="68" y="259"/>
                  </a:cubicBezTo>
                  <a:cubicBezTo>
                    <a:pt x="68" y="220"/>
                    <a:pt x="68" y="220"/>
                    <a:pt x="68" y="220"/>
                  </a:cubicBezTo>
                  <a:cubicBezTo>
                    <a:pt x="68" y="211"/>
                    <a:pt x="65" y="203"/>
                    <a:pt x="58" y="196"/>
                  </a:cubicBezTo>
                  <a:cubicBezTo>
                    <a:pt x="57" y="195"/>
                    <a:pt x="56" y="194"/>
                    <a:pt x="55" y="193"/>
                  </a:cubicBezTo>
                  <a:close/>
                  <a:moveTo>
                    <a:pt x="180" y="83"/>
                  </a:moveTo>
                  <a:cubicBezTo>
                    <a:pt x="182" y="91"/>
                    <a:pt x="182" y="91"/>
                    <a:pt x="182" y="91"/>
                  </a:cubicBezTo>
                  <a:cubicBezTo>
                    <a:pt x="182" y="91"/>
                    <a:pt x="180" y="99"/>
                    <a:pt x="180" y="99"/>
                  </a:cubicBezTo>
                  <a:cubicBezTo>
                    <a:pt x="179" y="103"/>
                    <a:pt x="177" y="107"/>
                    <a:pt x="173" y="111"/>
                  </a:cubicBezTo>
                  <a:cubicBezTo>
                    <a:pt x="172" y="112"/>
                    <a:pt x="171" y="112"/>
                    <a:pt x="171" y="113"/>
                  </a:cubicBezTo>
                  <a:cubicBezTo>
                    <a:pt x="173" y="114"/>
                    <a:pt x="176" y="116"/>
                    <a:pt x="178" y="118"/>
                  </a:cubicBezTo>
                  <a:cubicBezTo>
                    <a:pt x="179" y="118"/>
                    <a:pt x="179" y="118"/>
                    <a:pt x="179" y="118"/>
                  </a:cubicBezTo>
                  <a:cubicBezTo>
                    <a:pt x="182" y="121"/>
                    <a:pt x="182" y="121"/>
                    <a:pt x="182" y="121"/>
                  </a:cubicBezTo>
                  <a:cubicBezTo>
                    <a:pt x="182" y="121"/>
                    <a:pt x="182" y="121"/>
                    <a:pt x="182" y="121"/>
                  </a:cubicBezTo>
                  <a:cubicBezTo>
                    <a:pt x="182" y="121"/>
                    <a:pt x="182" y="121"/>
                    <a:pt x="182" y="121"/>
                  </a:cubicBezTo>
                  <a:cubicBezTo>
                    <a:pt x="188" y="127"/>
                    <a:pt x="191" y="133"/>
                    <a:pt x="193" y="140"/>
                  </a:cubicBezTo>
                  <a:cubicBezTo>
                    <a:pt x="194" y="140"/>
                    <a:pt x="194" y="140"/>
                    <a:pt x="194" y="140"/>
                  </a:cubicBezTo>
                  <a:cubicBezTo>
                    <a:pt x="195" y="133"/>
                    <a:pt x="199" y="127"/>
                    <a:pt x="204" y="121"/>
                  </a:cubicBezTo>
                  <a:cubicBezTo>
                    <a:pt x="207" y="118"/>
                    <a:pt x="207" y="118"/>
                    <a:pt x="207" y="118"/>
                  </a:cubicBezTo>
                  <a:cubicBezTo>
                    <a:pt x="207" y="118"/>
                    <a:pt x="208" y="118"/>
                    <a:pt x="208" y="118"/>
                  </a:cubicBezTo>
                  <a:cubicBezTo>
                    <a:pt x="211" y="116"/>
                    <a:pt x="213" y="114"/>
                    <a:pt x="216" y="113"/>
                  </a:cubicBezTo>
                  <a:cubicBezTo>
                    <a:pt x="215" y="112"/>
                    <a:pt x="214" y="112"/>
                    <a:pt x="213" y="111"/>
                  </a:cubicBezTo>
                  <a:cubicBezTo>
                    <a:pt x="210" y="107"/>
                    <a:pt x="207" y="103"/>
                    <a:pt x="206" y="99"/>
                  </a:cubicBezTo>
                  <a:cubicBezTo>
                    <a:pt x="206" y="99"/>
                    <a:pt x="205" y="91"/>
                    <a:pt x="205" y="91"/>
                  </a:cubicBezTo>
                  <a:cubicBezTo>
                    <a:pt x="206" y="83"/>
                    <a:pt x="206" y="83"/>
                    <a:pt x="206" y="83"/>
                  </a:cubicBezTo>
                  <a:cubicBezTo>
                    <a:pt x="207" y="78"/>
                    <a:pt x="210" y="74"/>
                    <a:pt x="213" y="71"/>
                  </a:cubicBezTo>
                  <a:cubicBezTo>
                    <a:pt x="216" y="68"/>
                    <a:pt x="219" y="66"/>
                    <a:pt x="223" y="64"/>
                  </a:cubicBezTo>
                  <a:cubicBezTo>
                    <a:pt x="222" y="61"/>
                    <a:pt x="220" y="59"/>
                    <a:pt x="217" y="56"/>
                  </a:cubicBezTo>
                  <a:cubicBezTo>
                    <a:pt x="216" y="55"/>
                    <a:pt x="215" y="54"/>
                    <a:pt x="214" y="53"/>
                  </a:cubicBezTo>
                  <a:cubicBezTo>
                    <a:pt x="208" y="48"/>
                    <a:pt x="201" y="46"/>
                    <a:pt x="193" y="46"/>
                  </a:cubicBezTo>
                  <a:cubicBezTo>
                    <a:pt x="193" y="46"/>
                    <a:pt x="193" y="46"/>
                    <a:pt x="193" y="46"/>
                  </a:cubicBezTo>
                  <a:cubicBezTo>
                    <a:pt x="193" y="46"/>
                    <a:pt x="193" y="46"/>
                    <a:pt x="193" y="46"/>
                  </a:cubicBezTo>
                  <a:cubicBezTo>
                    <a:pt x="185" y="46"/>
                    <a:pt x="179" y="48"/>
                    <a:pt x="173" y="53"/>
                  </a:cubicBezTo>
                  <a:cubicBezTo>
                    <a:pt x="171" y="54"/>
                    <a:pt x="170" y="55"/>
                    <a:pt x="169" y="56"/>
                  </a:cubicBezTo>
                  <a:cubicBezTo>
                    <a:pt x="167" y="59"/>
                    <a:pt x="165" y="61"/>
                    <a:pt x="163" y="64"/>
                  </a:cubicBezTo>
                  <a:cubicBezTo>
                    <a:pt x="167" y="66"/>
                    <a:pt x="170" y="68"/>
                    <a:pt x="173" y="71"/>
                  </a:cubicBezTo>
                  <a:cubicBezTo>
                    <a:pt x="177" y="74"/>
                    <a:pt x="179" y="78"/>
                    <a:pt x="180" y="83"/>
                  </a:cubicBezTo>
                  <a:close/>
                  <a:moveTo>
                    <a:pt x="206" y="99"/>
                  </a:moveTo>
                  <a:cubicBezTo>
                    <a:pt x="206" y="99"/>
                    <a:pt x="206" y="99"/>
                    <a:pt x="206" y="99"/>
                  </a:cubicBezTo>
                  <a:cubicBezTo>
                    <a:pt x="206" y="99"/>
                    <a:pt x="206" y="99"/>
                    <a:pt x="206" y="99"/>
                  </a:cubicBezTo>
                  <a:close/>
                  <a:moveTo>
                    <a:pt x="101" y="83"/>
                  </a:moveTo>
                  <a:cubicBezTo>
                    <a:pt x="102" y="91"/>
                    <a:pt x="102" y="91"/>
                    <a:pt x="102" y="91"/>
                  </a:cubicBezTo>
                  <a:cubicBezTo>
                    <a:pt x="102" y="91"/>
                    <a:pt x="101" y="99"/>
                    <a:pt x="101" y="99"/>
                  </a:cubicBezTo>
                  <a:cubicBezTo>
                    <a:pt x="100" y="103"/>
                    <a:pt x="97" y="107"/>
                    <a:pt x="94" y="111"/>
                  </a:cubicBezTo>
                  <a:cubicBezTo>
                    <a:pt x="93" y="112"/>
                    <a:pt x="92" y="112"/>
                    <a:pt x="91" y="113"/>
                  </a:cubicBezTo>
                  <a:cubicBezTo>
                    <a:pt x="94" y="114"/>
                    <a:pt x="96" y="116"/>
                    <a:pt x="99" y="118"/>
                  </a:cubicBezTo>
                  <a:cubicBezTo>
                    <a:pt x="99" y="118"/>
                    <a:pt x="99" y="118"/>
                    <a:pt x="99" y="118"/>
                  </a:cubicBezTo>
                  <a:cubicBezTo>
                    <a:pt x="103" y="121"/>
                    <a:pt x="103" y="121"/>
                    <a:pt x="103" y="121"/>
                  </a:cubicBezTo>
                  <a:cubicBezTo>
                    <a:pt x="103" y="121"/>
                    <a:pt x="103" y="121"/>
                    <a:pt x="103" y="121"/>
                  </a:cubicBezTo>
                  <a:cubicBezTo>
                    <a:pt x="103" y="121"/>
                    <a:pt x="103" y="121"/>
                    <a:pt x="103" y="121"/>
                  </a:cubicBezTo>
                  <a:cubicBezTo>
                    <a:pt x="108" y="127"/>
                    <a:pt x="112" y="133"/>
                    <a:pt x="113" y="140"/>
                  </a:cubicBezTo>
                  <a:cubicBezTo>
                    <a:pt x="114" y="140"/>
                    <a:pt x="114" y="140"/>
                    <a:pt x="114" y="140"/>
                  </a:cubicBezTo>
                  <a:cubicBezTo>
                    <a:pt x="116" y="133"/>
                    <a:pt x="119" y="127"/>
                    <a:pt x="125" y="121"/>
                  </a:cubicBezTo>
                  <a:cubicBezTo>
                    <a:pt x="128" y="118"/>
                    <a:pt x="128" y="118"/>
                    <a:pt x="128" y="118"/>
                  </a:cubicBezTo>
                  <a:cubicBezTo>
                    <a:pt x="128" y="118"/>
                    <a:pt x="128" y="118"/>
                    <a:pt x="129" y="118"/>
                  </a:cubicBezTo>
                  <a:cubicBezTo>
                    <a:pt x="131" y="116"/>
                    <a:pt x="134" y="114"/>
                    <a:pt x="136" y="113"/>
                  </a:cubicBezTo>
                  <a:cubicBezTo>
                    <a:pt x="135" y="112"/>
                    <a:pt x="134" y="112"/>
                    <a:pt x="134" y="111"/>
                  </a:cubicBezTo>
                  <a:cubicBezTo>
                    <a:pt x="130" y="107"/>
                    <a:pt x="128" y="103"/>
                    <a:pt x="127" y="99"/>
                  </a:cubicBezTo>
                  <a:cubicBezTo>
                    <a:pt x="127" y="99"/>
                    <a:pt x="125" y="91"/>
                    <a:pt x="125" y="91"/>
                  </a:cubicBezTo>
                  <a:cubicBezTo>
                    <a:pt x="127" y="83"/>
                    <a:pt x="127" y="83"/>
                    <a:pt x="127" y="83"/>
                  </a:cubicBezTo>
                  <a:cubicBezTo>
                    <a:pt x="128" y="78"/>
                    <a:pt x="130" y="74"/>
                    <a:pt x="133" y="71"/>
                  </a:cubicBezTo>
                  <a:cubicBezTo>
                    <a:pt x="136" y="68"/>
                    <a:pt x="140" y="66"/>
                    <a:pt x="144" y="64"/>
                  </a:cubicBezTo>
                  <a:cubicBezTo>
                    <a:pt x="142" y="61"/>
                    <a:pt x="140" y="59"/>
                    <a:pt x="138" y="56"/>
                  </a:cubicBezTo>
                  <a:cubicBezTo>
                    <a:pt x="137" y="55"/>
                    <a:pt x="135" y="54"/>
                    <a:pt x="134" y="53"/>
                  </a:cubicBezTo>
                  <a:cubicBezTo>
                    <a:pt x="128" y="48"/>
                    <a:pt x="122" y="46"/>
                    <a:pt x="114" y="46"/>
                  </a:cubicBezTo>
                  <a:cubicBezTo>
                    <a:pt x="114" y="46"/>
                    <a:pt x="114" y="46"/>
                    <a:pt x="114" y="46"/>
                  </a:cubicBezTo>
                  <a:cubicBezTo>
                    <a:pt x="114" y="46"/>
                    <a:pt x="114" y="46"/>
                    <a:pt x="114" y="46"/>
                  </a:cubicBezTo>
                  <a:cubicBezTo>
                    <a:pt x="106" y="46"/>
                    <a:pt x="99" y="48"/>
                    <a:pt x="93" y="53"/>
                  </a:cubicBezTo>
                  <a:cubicBezTo>
                    <a:pt x="92" y="54"/>
                    <a:pt x="91" y="55"/>
                    <a:pt x="90" y="56"/>
                  </a:cubicBezTo>
                  <a:cubicBezTo>
                    <a:pt x="87" y="59"/>
                    <a:pt x="85" y="61"/>
                    <a:pt x="84" y="64"/>
                  </a:cubicBezTo>
                  <a:cubicBezTo>
                    <a:pt x="87" y="66"/>
                    <a:pt x="91" y="68"/>
                    <a:pt x="94" y="71"/>
                  </a:cubicBezTo>
                  <a:cubicBezTo>
                    <a:pt x="97" y="74"/>
                    <a:pt x="100" y="78"/>
                    <a:pt x="101" y="83"/>
                  </a:cubicBezTo>
                  <a:close/>
                  <a:moveTo>
                    <a:pt x="127" y="99"/>
                  </a:moveTo>
                  <a:cubicBezTo>
                    <a:pt x="127" y="99"/>
                    <a:pt x="127" y="99"/>
                    <a:pt x="127" y="99"/>
                  </a:cubicBezTo>
                  <a:cubicBezTo>
                    <a:pt x="127" y="99"/>
                    <a:pt x="127" y="99"/>
                    <a:pt x="127" y="99"/>
                  </a:cubicBezTo>
                  <a:close/>
                  <a:moveTo>
                    <a:pt x="168" y="188"/>
                  </a:moveTo>
                  <a:cubicBezTo>
                    <a:pt x="168" y="188"/>
                    <a:pt x="168" y="188"/>
                    <a:pt x="168" y="188"/>
                  </a:cubicBezTo>
                  <a:cubicBezTo>
                    <a:pt x="171" y="186"/>
                    <a:pt x="173" y="184"/>
                    <a:pt x="176" y="183"/>
                  </a:cubicBezTo>
                  <a:cubicBezTo>
                    <a:pt x="175" y="182"/>
                    <a:pt x="174" y="182"/>
                    <a:pt x="173" y="181"/>
                  </a:cubicBezTo>
                  <a:cubicBezTo>
                    <a:pt x="170" y="177"/>
                    <a:pt x="168" y="173"/>
                    <a:pt x="166" y="169"/>
                  </a:cubicBezTo>
                  <a:cubicBezTo>
                    <a:pt x="166" y="169"/>
                    <a:pt x="165" y="161"/>
                    <a:pt x="165" y="161"/>
                  </a:cubicBezTo>
                  <a:cubicBezTo>
                    <a:pt x="166" y="153"/>
                    <a:pt x="166" y="153"/>
                    <a:pt x="166" y="153"/>
                  </a:cubicBezTo>
                  <a:cubicBezTo>
                    <a:pt x="168" y="148"/>
                    <a:pt x="170" y="144"/>
                    <a:pt x="173" y="141"/>
                  </a:cubicBezTo>
                  <a:cubicBezTo>
                    <a:pt x="176" y="138"/>
                    <a:pt x="180" y="136"/>
                    <a:pt x="183" y="134"/>
                  </a:cubicBezTo>
                  <a:cubicBezTo>
                    <a:pt x="182" y="131"/>
                    <a:pt x="180" y="129"/>
                    <a:pt x="177" y="126"/>
                  </a:cubicBezTo>
                  <a:cubicBezTo>
                    <a:pt x="176" y="125"/>
                    <a:pt x="175" y="124"/>
                    <a:pt x="174" y="123"/>
                  </a:cubicBezTo>
                  <a:cubicBezTo>
                    <a:pt x="168" y="119"/>
                    <a:pt x="161" y="116"/>
                    <a:pt x="154" y="116"/>
                  </a:cubicBezTo>
                  <a:cubicBezTo>
                    <a:pt x="154" y="116"/>
                    <a:pt x="153" y="116"/>
                    <a:pt x="153" y="116"/>
                  </a:cubicBezTo>
                  <a:cubicBezTo>
                    <a:pt x="153" y="116"/>
                    <a:pt x="153" y="116"/>
                    <a:pt x="153" y="116"/>
                  </a:cubicBezTo>
                  <a:cubicBezTo>
                    <a:pt x="146" y="116"/>
                    <a:pt x="139" y="119"/>
                    <a:pt x="133" y="123"/>
                  </a:cubicBezTo>
                  <a:cubicBezTo>
                    <a:pt x="132" y="124"/>
                    <a:pt x="131" y="125"/>
                    <a:pt x="129" y="126"/>
                  </a:cubicBezTo>
                  <a:cubicBezTo>
                    <a:pt x="127" y="129"/>
                    <a:pt x="125" y="131"/>
                    <a:pt x="124" y="134"/>
                  </a:cubicBezTo>
                  <a:cubicBezTo>
                    <a:pt x="127" y="136"/>
                    <a:pt x="131" y="138"/>
                    <a:pt x="134" y="141"/>
                  </a:cubicBezTo>
                  <a:cubicBezTo>
                    <a:pt x="137" y="144"/>
                    <a:pt x="139" y="148"/>
                    <a:pt x="141" y="153"/>
                  </a:cubicBezTo>
                  <a:cubicBezTo>
                    <a:pt x="142" y="161"/>
                    <a:pt x="142" y="161"/>
                    <a:pt x="142" y="161"/>
                  </a:cubicBezTo>
                  <a:cubicBezTo>
                    <a:pt x="142" y="161"/>
                    <a:pt x="141" y="169"/>
                    <a:pt x="141" y="169"/>
                  </a:cubicBezTo>
                  <a:cubicBezTo>
                    <a:pt x="139" y="173"/>
                    <a:pt x="137" y="177"/>
                    <a:pt x="134" y="181"/>
                  </a:cubicBezTo>
                  <a:cubicBezTo>
                    <a:pt x="133" y="182"/>
                    <a:pt x="132" y="182"/>
                    <a:pt x="131" y="183"/>
                  </a:cubicBezTo>
                  <a:cubicBezTo>
                    <a:pt x="133" y="184"/>
                    <a:pt x="136" y="186"/>
                    <a:pt x="139" y="188"/>
                  </a:cubicBezTo>
                  <a:cubicBezTo>
                    <a:pt x="139" y="188"/>
                    <a:pt x="139" y="188"/>
                    <a:pt x="139" y="188"/>
                  </a:cubicBezTo>
                  <a:cubicBezTo>
                    <a:pt x="143" y="191"/>
                    <a:pt x="143" y="191"/>
                    <a:pt x="143" y="191"/>
                  </a:cubicBezTo>
                  <a:cubicBezTo>
                    <a:pt x="142" y="191"/>
                    <a:pt x="142" y="191"/>
                    <a:pt x="142" y="191"/>
                  </a:cubicBezTo>
                  <a:cubicBezTo>
                    <a:pt x="143" y="191"/>
                    <a:pt x="143" y="191"/>
                    <a:pt x="143" y="191"/>
                  </a:cubicBezTo>
                  <a:cubicBezTo>
                    <a:pt x="148" y="197"/>
                    <a:pt x="152" y="203"/>
                    <a:pt x="153" y="211"/>
                  </a:cubicBezTo>
                  <a:cubicBezTo>
                    <a:pt x="155" y="203"/>
                    <a:pt x="159" y="197"/>
                    <a:pt x="164" y="191"/>
                  </a:cubicBezTo>
                  <a:lnTo>
                    <a:pt x="168" y="188"/>
                  </a:lnTo>
                  <a:close/>
                  <a:moveTo>
                    <a:pt x="166" y="169"/>
                  </a:moveTo>
                  <a:cubicBezTo>
                    <a:pt x="166" y="169"/>
                    <a:pt x="166" y="169"/>
                    <a:pt x="166" y="169"/>
                  </a:cubicBezTo>
                  <a:close/>
                  <a:moveTo>
                    <a:pt x="214" y="193"/>
                  </a:moveTo>
                  <a:cubicBezTo>
                    <a:pt x="208" y="189"/>
                    <a:pt x="201" y="186"/>
                    <a:pt x="193" y="186"/>
                  </a:cubicBezTo>
                  <a:cubicBezTo>
                    <a:pt x="193" y="186"/>
                    <a:pt x="193" y="186"/>
                    <a:pt x="193" y="186"/>
                  </a:cubicBezTo>
                  <a:cubicBezTo>
                    <a:pt x="193" y="186"/>
                    <a:pt x="193" y="186"/>
                    <a:pt x="193" y="186"/>
                  </a:cubicBezTo>
                  <a:cubicBezTo>
                    <a:pt x="185" y="186"/>
                    <a:pt x="179" y="189"/>
                    <a:pt x="173" y="193"/>
                  </a:cubicBezTo>
                  <a:cubicBezTo>
                    <a:pt x="171" y="194"/>
                    <a:pt x="170" y="195"/>
                    <a:pt x="169" y="196"/>
                  </a:cubicBezTo>
                  <a:cubicBezTo>
                    <a:pt x="163" y="203"/>
                    <a:pt x="159" y="211"/>
                    <a:pt x="159" y="220"/>
                  </a:cubicBezTo>
                  <a:cubicBezTo>
                    <a:pt x="159" y="259"/>
                    <a:pt x="159" y="259"/>
                    <a:pt x="159" y="259"/>
                  </a:cubicBezTo>
                  <a:cubicBezTo>
                    <a:pt x="159" y="261"/>
                    <a:pt x="161" y="263"/>
                    <a:pt x="163" y="263"/>
                  </a:cubicBezTo>
                  <a:cubicBezTo>
                    <a:pt x="171" y="263"/>
                    <a:pt x="171" y="263"/>
                    <a:pt x="171" y="263"/>
                  </a:cubicBezTo>
                  <a:cubicBezTo>
                    <a:pt x="173" y="263"/>
                    <a:pt x="175" y="265"/>
                    <a:pt x="175" y="267"/>
                  </a:cubicBezTo>
                  <a:cubicBezTo>
                    <a:pt x="175" y="327"/>
                    <a:pt x="175" y="327"/>
                    <a:pt x="175" y="327"/>
                  </a:cubicBezTo>
                  <a:cubicBezTo>
                    <a:pt x="175" y="329"/>
                    <a:pt x="177" y="331"/>
                    <a:pt x="179" y="331"/>
                  </a:cubicBezTo>
                  <a:cubicBezTo>
                    <a:pt x="207" y="331"/>
                    <a:pt x="207" y="331"/>
                    <a:pt x="207" y="331"/>
                  </a:cubicBezTo>
                  <a:cubicBezTo>
                    <a:pt x="210" y="331"/>
                    <a:pt x="211" y="329"/>
                    <a:pt x="211" y="327"/>
                  </a:cubicBezTo>
                  <a:cubicBezTo>
                    <a:pt x="211" y="267"/>
                    <a:pt x="211" y="267"/>
                    <a:pt x="211" y="267"/>
                  </a:cubicBezTo>
                  <a:cubicBezTo>
                    <a:pt x="211" y="265"/>
                    <a:pt x="213" y="263"/>
                    <a:pt x="216" y="263"/>
                  </a:cubicBezTo>
                  <a:cubicBezTo>
                    <a:pt x="223" y="263"/>
                    <a:pt x="223" y="263"/>
                    <a:pt x="223" y="263"/>
                  </a:cubicBezTo>
                  <a:cubicBezTo>
                    <a:pt x="225" y="263"/>
                    <a:pt x="227" y="261"/>
                    <a:pt x="227" y="259"/>
                  </a:cubicBezTo>
                  <a:cubicBezTo>
                    <a:pt x="227" y="220"/>
                    <a:pt x="227" y="220"/>
                    <a:pt x="227" y="220"/>
                  </a:cubicBezTo>
                  <a:cubicBezTo>
                    <a:pt x="227" y="211"/>
                    <a:pt x="224" y="203"/>
                    <a:pt x="217" y="196"/>
                  </a:cubicBezTo>
                  <a:cubicBezTo>
                    <a:pt x="216" y="195"/>
                    <a:pt x="215" y="194"/>
                    <a:pt x="214" y="193"/>
                  </a:cubicBezTo>
                  <a:close/>
                  <a:moveTo>
                    <a:pt x="134" y="193"/>
                  </a:moveTo>
                  <a:cubicBezTo>
                    <a:pt x="128" y="189"/>
                    <a:pt x="122" y="186"/>
                    <a:pt x="114" y="186"/>
                  </a:cubicBezTo>
                  <a:cubicBezTo>
                    <a:pt x="114" y="186"/>
                    <a:pt x="114" y="186"/>
                    <a:pt x="114" y="186"/>
                  </a:cubicBezTo>
                  <a:cubicBezTo>
                    <a:pt x="114" y="186"/>
                    <a:pt x="114" y="186"/>
                    <a:pt x="114" y="186"/>
                  </a:cubicBezTo>
                  <a:cubicBezTo>
                    <a:pt x="106" y="186"/>
                    <a:pt x="99" y="189"/>
                    <a:pt x="93" y="193"/>
                  </a:cubicBezTo>
                  <a:cubicBezTo>
                    <a:pt x="92" y="194"/>
                    <a:pt x="91" y="195"/>
                    <a:pt x="90" y="196"/>
                  </a:cubicBezTo>
                  <a:cubicBezTo>
                    <a:pt x="83" y="203"/>
                    <a:pt x="80" y="211"/>
                    <a:pt x="80" y="220"/>
                  </a:cubicBezTo>
                  <a:cubicBezTo>
                    <a:pt x="80" y="259"/>
                    <a:pt x="80" y="259"/>
                    <a:pt x="80" y="259"/>
                  </a:cubicBezTo>
                  <a:cubicBezTo>
                    <a:pt x="80" y="261"/>
                    <a:pt x="82" y="263"/>
                    <a:pt x="84" y="263"/>
                  </a:cubicBezTo>
                  <a:cubicBezTo>
                    <a:pt x="91" y="263"/>
                    <a:pt x="91" y="263"/>
                    <a:pt x="91" y="263"/>
                  </a:cubicBezTo>
                  <a:cubicBezTo>
                    <a:pt x="94" y="263"/>
                    <a:pt x="95" y="265"/>
                    <a:pt x="95" y="267"/>
                  </a:cubicBezTo>
                  <a:cubicBezTo>
                    <a:pt x="95" y="327"/>
                    <a:pt x="95" y="327"/>
                    <a:pt x="95" y="327"/>
                  </a:cubicBezTo>
                  <a:cubicBezTo>
                    <a:pt x="95" y="329"/>
                    <a:pt x="97" y="331"/>
                    <a:pt x="99" y="331"/>
                  </a:cubicBezTo>
                  <a:cubicBezTo>
                    <a:pt x="128" y="331"/>
                    <a:pt x="128" y="331"/>
                    <a:pt x="128" y="331"/>
                  </a:cubicBezTo>
                  <a:cubicBezTo>
                    <a:pt x="130" y="331"/>
                    <a:pt x="132" y="329"/>
                    <a:pt x="132" y="327"/>
                  </a:cubicBezTo>
                  <a:cubicBezTo>
                    <a:pt x="132" y="267"/>
                    <a:pt x="132" y="267"/>
                    <a:pt x="132" y="267"/>
                  </a:cubicBezTo>
                  <a:cubicBezTo>
                    <a:pt x="132" y="265"/>
                    <a:pt x="134" y="263"/>
                    <a:pt x="136" y="263"/>
                  </a:cubicBezTo>
                  <a:cubicBezTo>
                    <a:pt x="144" y="263"/>
                    <a:pt x="144" y="263"/>
                    <a:pt x="144" y="263"/>
                  </a:cubicBezTo>
                  <a:cubicBezTo>
                    <a:pt x="146" y="263"/>
                    <a:pt x="148" y="261"/>
                    <a:pt x="148" y="259"/>
                  </a:cubicBezTo>
                  <a:cubicBezTo>
                    <a:pt x="148" y="220"/>
                    <a:pt x="148" y="220"/>
                    <a:pt x="148" y="220"/>
                  </a:cubicBezTo>
                  <a:cubicBezTo>
                    <a:pt x="148" y="211"/>
                    <a:pt x="144" y="203"/>
                    <a:pt x="138" y="196"/>
                  </a:cubicBezTo>
                  <a:cubicBezTo>
                    <a:pt x="137" y="195"/>
                    <a:pt x="135" y="194"/>
                    <a:pt x="134" y="193"/>
                  </a:cubicBezTo>
                  <a:close/>
                  <a:moveTo>
                    <a:pt x="88" y="188"/>
                  </a:moveTo>
                  <a:cubicBezTo>
                    <a:pt x="88" y="188"/>
                    <a:pt x="89" y="188"/>
                    <a:pt x="89" y="188"/>
                  </a:cubicBezTo>
                  <a:cubicBezTo>
                    <a:pt x="91" y="186"/>
                    <a:pt x="94" y="184"/>
                    <a:pt x="97" y="183"/>
                  </a:cubicBezTo>
                  <a:cubicBezTo>
                    <a:pt x="96" y="182"/>
                    <a:pt x="95" y="182"/>
                    <a:pt x="94" y="181"/>
                  </a:cubicBezTo>
                  <a:cubicBezTo>
                    <a:pt x="90" y="177"/>
                    <a:pt x="88" y="173"/>
                    <a:pt x="87" y="169"/>
                  </a:cubicBezTo>
                  <a:cubicBezTo>
                    <a:pt x="87" y="169"/>
                    <a:pt x="86" y="161"/>
                    <a:pt x="86" y="161"/>
                  </a:cubicBezTo>
                  <a:cubicBezTo>
                    <a:pt x="87" y="153"/>
                    <a:pt x="87" y="153"/>
                    <a:pt x="87" y="153"/>
                  </a:cubicBezTo>
                  <a:cubicBezTo>
                    <a:pt x="88" y="148"/>
                    <a:pt x="90" y="144"/>
                    <a:pt x="94" y="141"/>
                  </a:cubicBezTo>
                  <a:cubicBezTo>
                    <a:pt x="97" y="138"/>
                    <a:pt x="100" y="136"/>
                    <a:pt x="104" y="134"/>
                  </a:cubicBezTo>
                  <a:cubicBezTo>
                    <a:pt x="102" y="131"/>
                    <a:pt x="100" y="129"/>
                    <a:pt x="98" y="126"/>
                  </a:cubicBezTo>
                  <a:cubicBezTo>
                    <a:pt x="97" y="125"/>
                    <a:pt x="96" y="124"/>
                    <a:pt x="95" y="123"/>
                  </a:cubicBezTo>
                  <a:cubicBezTo>
                    <a:pt x="89" y="119"/>
                    <a:pt x="82" y="116"/>
                    <a:pt x="74" y="116"/>
                  </a:cubicBezTo>
                  <a:cubicBezTo>
                    <a:pt x="74" y="116"/>
                    <a:pt x="74" y="116"/>
                    <a:pt x="74" y="116"/>
                  </a:cubicBezTo>
                  <a:cubicBezTo>
                    <a:pt x="74" y="116"/>
                    <a:pt x="74" y="116"/>
                    <a:pt x="74" y="116"/>
                  </a:cubicBezTo>
                  <a:cubicBezTo>
                    <a:pt x="66" y="116"/>
                    <a:pt x="59" y="119"/>
                    <a:pt x="53" y="123"/>
                  </a:cubicBezTo>
                  <a:cubicBezTo>
                    <a:pt x="52" y="124"/>
                    <a:pt x="51" y="125"/>
                    <a:pt x="50" y="126"/>
                  </a:cubicBezTo>
                  <a:cubicBezTo>
                    <a:pt x="47" y="129"/>
                    <a:pt x="46" y="131"/>
                    <a:pt x="44" y="134"/>
                  </a:cubicBezTo>
                  <a:cubicBezTo>
                    <a:pt x="48" y="136"/>
                    <a:pt x="51" y="138"/>
                    <a:pt x="54" y="141"/>
                  </a:cubicBezTo>
                  <a:cubicBezTo>
                    <a:pt x="57" y="144"/>
                    <a:pt x="60" y="148"/>
                    <a:pt x="61" y="153"/>
                  </a:cubicBezTo>
                  <a:cubicBezTo>
                    <a:pt x="62" y="161"/>
                    <a:pt x="62" y="161"/>
                    <a:pt x="62" y="161"/>
                  </a:cubicBezTo>
                  <a:cubicBezTo>
                    <a:pt x="62" y="161"/>
                    <a:pt x="61" y="169"/>
                    <a:pt x="61" y="169"/>
                  </a:cubicBezTo>
                  <a:cubicBezTo>
                    <a:pt x="60" y="173"/>
                    <a:pt x="57" y="177"/>
                    <a:pt x="54" y="181"/>
                  </a:cubicBezTo>
                  <a:cubicBezTo>
                    <a:pt x="53" y="182"/>
                    <a:pt x="52" y="182"/>
                    <a:pt x="51" y="183"/>
                  </a:cubicBezTo>
                  <a:cubicBezTo>
                    <a:pt x="54" y="184"/>
                    <a:pt x="57" y="186"/>
                    <a:pt x="59" y="188"/>
                  </a:cubicBezTo>
                  <a:cubicBezTo>
                    <a:pt x="60" y="188"/>
                    <a:pt x="60" y="188"/>
                    <a:pt x="60" y="188"/>
                  </a:cubicBezTo>
                  <a:cubicBezTo>
                    <a:pt x="63" y="191"/>
                    <a:pt x="63" y="191"/>
                    <a:pt x="63" y="191"/>
                  </a:cubicBezTo>
                  <a:cubicBezTo>
                    <a:pt x="63" y="191"/>
                    <a:pt x="63" y="191"/>
                    <a:pt x="63" y="191"/>
                  </a:cubicBezTo>
                  <a:cubicBezTo>
                    <a:pt x="69" y="197"/>
                    <a:pt x="72" y="203"/>
                    <a:pt x="74" y="211"/>
                  </a:cubicBezTo>
                  <a:cubicBezTo>
                    <a:pt x="76" y="203"/>
                    <a:pt x="79" y="197"/>
                    <a:pt x="85" y="191"/>
                  </a:cubicBezTo>
                  <a:lnTo>
                    <a:pt x="88" y="188"/>
                  </a:lnTo>
                  <a:close/>
                  <a:moveTo>
                    <a:pt x="87" y="169"/>
                  </a:moveTo>
                  <a:cubicBezTo>
                    <a:pt x="87" y="169"/>
                    <a:pt x="87" y="169"/>
                    <a:pt x="87" y="169"/>
                  </a:cubicBezTo>
                  <a:cubicBezTo>
                    <a:pt x="87" y="169"/>
                    <a:pt x="87" y="169"/>
                    <a:pt x="87" y="169"/>
                  </a:cubicBezTo>
                  <a:close/>
                  <a:moveTo>
                    <a:pt x="297" y="196"/>
                  </a:moveTo>
                  <a:cubicBezTo>
                    <a:pt x="296" y="195"/>
                    <a:pt x="295" y="194"/>
                    <a:pt x="293" y="193"/>
                  </a:cubicBezTo>
                  <a:cubicBezTo>
                    <a:pt x="287" y="189"/>
                    <a:pt x="281" y="186"/>
                    <a:pt x="273" y="186"/>
                  </a:cubicBezTo>
                  <a:cubicBezTo>
                    <a:pt x="273" y="186"/>
                    <a:pt x="273" y="186"/>
                    <a:pt x="273" y="186"/>
                  </a:cubicBezTo>
                  <a:cubicBezTo>
                    <a:pt x="273" y="186"/>
                    <a:pt x="273" y="186"/>
                    <a:pt x="273" y="186"/>
                  </a:cubicBezTo>
                  <a:cubicBezTo>
                    <a:pt x="265" y="186"/>
                    <a:pt x="258" y="189"/>
                    <a:pt x="252" y="193"/>
                  </a:cubicBezTo>
                  <a:cubicBezTo>
                    <a:pt x="251" y="194"/>
                    <a:pt x="250" y="195"/>
                    <a:pt x="249" y="196"/>
                  </a:cubicBezTo>
                  <a:cubicBezTo>
                    <a:pt x="242" y="203"/>
                    <a:pt x="239" y="211"/>
                    <a:pt x="239" y="220"/>
                  </a:cubicBezTo>
                  <a:cubicBezTo>
                    <a:pt x="239" y="259"/>
                    <a:pt x="239" y="259"/>
                    <a:pt x="239" y="259"/>
                  </a:cubicBezTo>
                  <a:cubicBezTo>
                    <a:pt x="239" y="261"/>
                    <a:pt x="241" y="263"/>
                    <a:pt x="243" y="263"/>
                  </a:cubicBezTo>
                  <a:cubicBezTo>
                    <a:pt x="250" y="263"/>
                    <a:pt x="250" y="263"/>
                    <a:pt x="250" y="263"/>
                  </a:cubicBezTo>
                  <a:cubicBezTo>
                    <a:pt x="253" y="263"/>
                    <a:pt x="255" y="265"/>
                    <a:pt x="255" y="267"/>
                  </a:cubicBezTo>
                  <a:cubicBezTo>
                    <a:pt x="255" y="327"/>
                    <a:pt x="255" y="327"/>
                    <a:pt x="255" y="327"/>
                  </a:cubicBezTo>
                  <a:cubicBezTo>
                    <a:pt x="255" y="329"/>
                    <a:pt x="256" y="331"/>
                    <a:pt x="259" y="331"/>
                  </a:cubicBezTo>
                  <a:cubicBezTo>
                    <a:pt x="287" y="331"/>
                    <a:pt x="287" y="331"/>
                    <a:pt x="287" y="331"/>
                  </a:cubicBezTo>
                  <a:cubicBezTo>
                    <a:pt x="289" y="331"/>
                    <a:pt x="291" y="329"/>
                    <a:pt x="291" y="327"/>
                  </a:cubicBezTo>
                  <a:cubicBezTo>
                    <a:pt x="291" y="267"/>
                    <a:pt x="291" y="267"/>
                    <a:pt x="291" y="267"/>
                  </a:cubicBezTo>
                  <a:cubicBezTo>
                    <a:pt x="291" y="265"/>
                    <a:pt x="293" y="263"/>
                    <a:pt x="295" y="263"/>
                  </a:cubicBezTo>
                  <a:cubicBezTo>
                    <a:pt x="303" y="263"/>
                    <a:pt x="303" y="263"/>
                    <a:pt x="303" y="263"/>
                  </a:cubicBezTo>
                  <a:cubicBezTo>
                    <a:pt x="305" y="263"/>
                    <a:pt x="307" y="261"/>
                    <a:pt x="307" y="259"/>
                  </a:cubicBezTo>
                  <a:cubicBezTo>
                    <a:pt x="307" y="220"/>
                    <a:pt x="307" y="220"/>
                    <a:pt x="307" y="220"/>
                  </a:cubicBezTo>
                  <a:cubicBezTo>
                    <a:pt x="307" y="211"/>
                    <a:pt x="303" y="203"/>
                    <a:pt x="297" y="196"/>
                  </a:cubicBezTo>
                  <a:close/>
                  <a:moveTo>
                    <a:pt x="247" y="188"/>
                  </a:moveTo>
                  <a:cubicBezTo>
                    <a:pt x="247" y="188"/>
                    <a:pt x="248" y="188"/>
                    <a:pt x="248" y="188"/>
                  </a:cubicBezTo>
                  <a:cubicBezTo>
                    <a:pt x="250" y="186"/>
                    <a:pt x="253" y="184"/>
                    <a:pt x="256" y="183"/>
                  </a:cubicBezTo>
                  <a:cubicBezTo>
                    <a:pt x="255" y="182"/>
                    <a:pt x="254" y="182"/>
                    <a:pt x="253" y="181"/>
                  </a:cubicBezTo>
                  <a:cubicBezTo>
                    <a:pt x="249" y="177"/>
                    <a:pt x="247" y="173"/>
                    <a:pt x="246" y="169"/>
                  </a:cubicBezTo>
                  <a:cubicBezTo>
                    <a:pt x="246" y="169"/>
                    <a:pt x="245" y="161"/>
                    <a:pt x="245" y="161"/>
                  </a:cubicBezTo>
                  <a:cubicBezTo>
                    <a:pt x="246" y="153"/>
                    <a:pt x="246" y="153"/>
                    <a:pt x="246" y="153"/>
                  </a:cubicBezTo>
                  <a:cubicBezTo>
                    <a:pt x="247" y="148"/>
                    <a:pt x="249" y="144"/>
                    <a:pt x="253" y="141"/>
                  </a:cubicBezTo>
                  <a:cubicBezTo>
                    <a:pt x="256" y="138"/>
                    <a:pt x="259" y="136"/>
                    <a:pt x="263" y="134"/>
                  </a:cubicBezTo>
                  <a:cubicBezTo>
                    <a:pt x="261" y="131"/>
                    <a:pt x="259" y="129"/>
                    <a:pt x="257" y="126"/>
                  </a:cubicBezTo>
                  <a:cubicBezTo>
                    <a:pt x="256" y="125"/>
                    <a:pt x="255" y="124"/>
                    <a:pt x="254" y="123"/>
                  </a:cubicBezTo>
                  <a:cubicBezTo>
                    <a:pt x="248" y="119"/>
                    <a:pt x="241" y="116"/>
                    <a:pt x="233" y="116"/>
                  </a:cubicBezTo>
                  <a:cubicBezTo>
                    <a:pt x="233" y="116"/>
                    <a:pt x="233" y="116"/>
                    <a:pt x="233" y="116"/>
                  </a:cubicBezTo>
                  <a:cubicBezTo>
                    <a:pt x="233" y="116"/>
                    <a:pt x="233" y="116"/>
                    <a:pt x="233" y="116"/>
                  </a:cubicBezTo>
                  <a:cubicBezTo>
                    <a:pt x="225" y="116"/>
                    <a:pt x="218" y="119"/>
                    <a:pt x="212" y="123"/>
                  </a:cubicBezTo>
                  <a:cubicBezTo>
                    <a:pt x="211" y="124"/>
                    <a:pt x="210" y="125"/>
                    <a:pt x="209" y="126"/>
                  </a:cubicBezTo>
                  <a:cubicBezTo>
                    <a:pt x="207" y="129"/>
                    <a:pt x="205" y="131"/>
                    <a:pt x="203" y="134"/>
                  </a:cubicBezTo>
                  <a:cubicBezTo>
                    <a:pt x="207" y="136"/>
                    <a:pt x="210" y="138"/>
                    <a:pt x="213" y="141"/>
                  </a:cubicBezTo>
                  <a:cubicBezTo>
                    <a:pt x="217" y="144"/>
                    <a:pt x="219" y="148"/>
                    <a:pt x="220" y="153"/>
                  </a:cubicBezTo>
                  <a:cubicBezTo>
                    <a:pt x="221" y="161"/>
                    <a:pt x="221" y="161"/>
                    <a:pt x="221" y="161"/>
                  </a:cubicBezTo>
                  <a:cubicBezTo>
                    <a:pt x="221" y="161"/>
                    <a:pt x="220" y="169"/>
                    <a:pt x="220" y="169"/>
                  </a:cubicBezTo>
                  <a:cubicBezTo>
                    <a:pt x="219" y="173"/>
                    <a:pt x="217" y="177"/>
                    <a:pt x="213" y="181"/>
                  </a:cubicBezTo>
                  <a:cubicBezTo>
                    <a:pt x="212" y="182"/>
                    <a:pt x="211" y="182"/>
                    <a:pt x="210" y="183"/>
                  </a:cubicBezTo>
                  <a:cubicBezTo>
                    <a:pt x="213" y="184"/>
                    <a:pt x="216" y="186"/>
                    <a:pt x="218" y="188"/>
                  </a:cubicBezTo>
                  <a:cubicBezTo>
                    <a:pt x="219" y="188"/>
                    <a:pt x="219" y="188"/>
                    <a:pt x="219" y="188"/>
                  </a:cubicBezTo>
                  <a:cubicBezTo>
                    <a:pt x="222" y="191"/>
                    <a:pt x="222" y="191"/>
                    <a:pt x="222" y="191"/>
                  </a:cubicBezTo>
                  <a:cubicBezTo>
                    <a:pt x="222" y="191"/>
                    <a:pt x="222" y="191"/>
                    <a:pt x="222" y="191"/>
                  </a:cubicBezTo>
                  <a:cubicBezTo>
                    <a:pt x="222" y="191"/>
                    <a:pt x="222" y="191"/>
                    <a:pt x="222" y="191"/>
                  </a:cubicBezTo>
                  <a:cubicBezTo>
                    <a:pt x="228" y="197"/>
                    <a:pt x="231" y="203"/>
                    <a:pt x="233" y="211"/>
                  </a:cubicBezTo>
                  <a:cubicBezTo>
                    <a:pt x="235" y="203"/>
                    <a:pt x="238" y="197"/>
                    <a:pt x="244" y="191"/>
                  </a:cubicBezTo>
                  <a:lnTo>
                    <a:pt x="247" y="188"/>
                  </a:lnTo>
                  <a:close/>
                  <a:moveTo>
                    <a:pt x="246" y="169"/>
                  </a:moveTo>
                  <a:cubicBezTo>
                    <a:pt x="246" y="169"/>
                    <a:pt x="246" y="169"/>
                    <a:pt x="246" y="169"/>
                  </a:cubicBezTo>
                  <a:close/>
                  <a:moveTo>
                    <a:pt x="133" y="90"/>
                  </a:moveTo>
                  <a:cubicBezTo>
                    <a:pt x="133" y="102"/>
                    <a:pt x="142" y="111"/>
                    <a:pt x="154" y="111"/>
                  </a:cubicBezTo>
                  <a:cubicBezTo>
                    <a:pt x="165" y="111"/>
                    <a:pt x="174" y="102"/>
                    <a:pt x="174" y="90"/>
                  </a:cubicBezTo>
                  <a:cubicBezTo>
                    <a:pt x="174" y="79"/>
                    <a:pt x="165" y="70"/>
                    <a:pt x="154" y="70"/>
                  </a:cubicBezTo>
                  <a:cubicBezTo>
                    <a:pt x="142" y="70"/>
                    <a:pt x="133" y="79"/>
                    <a:pt x="133" y="90"/>
                  </a:cubicBezTo>
                  <a:close/>
                  <a:moveTo>
                    <a:pt x="74" y="111"/>
                  </a:moveTo>
                  <a:cubicBezTo>
                    <a:pt x="86" y="111"/>
                    <a:pt x="95" y="102"/>
                    <a:pt x="95" y="90"/>
                  </a:cubicBezTo>
                  <a:cubicBezTo>
                    <a:pt x="95" y="79"/>
                    <a:pt x="86" y="70"/>
                    <a:pt x="74" y="70"/>
                  </a:cubicBezTo>
                  <a:cubicBezTo>
                    <a:pt x="63" y="70"/>
                    <a:pt x="54" y="79"/>
                    <a:pt x="54" y="90"/>
                  </a:cubicBezTo>
                  <a:cubicBezTo>
                    <a:pt x="54" y="102"/>
                    <a:pt x="63" y="111"/>
                    <a:pt x="74" y="111"/>
                  </a:cubicBezTo>
                  <a:close/>
                  <a:moveTo>
                    <a:pt x="212" y="90"/>
                  </a:moveTo>
                  <a:cubicBezTo>
                    <a:pt x="212" y="102"/>
                    <a:pt x="221" y="111"/>
                    <a:pt x="233" y="111"/>
                  </a:cubicBezTo>
                  <a:cubicBezTo>
                    <a:pt x="244" y="111"/>
                    <a:pt x="253" y="102"/>
                    <a:pt x="253" y="90"/>
                  </a:cubicBezTo>
                  <a:cubicBezTo>
                    <a:pt x="253" y="79"/>
                    <a:pt x="244" y="70"/>
                    <a:pt x="233" y="70"/>
                  </a:cubicBezTo>
                  <a:cubicBezTo>
                    <a:pt x="221" y="70"/>
                    <a:pt x="212" y="79"/>
                    <a:pt x="212" y="90"/>
                  </a:cubicBezTo>
                  <a:close/>
                  <a:moveTo>
                    <a:pt x="93" y="161"/>
                  </a:moveTo>
                  <a:cubicBezTo>
                    <a:pt x="93" y="172"/>
                    <a:pt x="103" y="181"/>
                    <a:pt x="114" y="181"/>
                  </a:cubicBezTo>
                  <a:cubicBezTo>
                    <a:pt x="125" y="181"/>
                    <a:pt x="135" y="172"/>
                    <a:pt x="135" y="161"/>
                  </a:cubicBezTo>
                  <a:cubicBezTo>
                    <a:pt x="135" y="149"/>
                    <a:pt x="125" y="140"/>
                    <a:pt x="114" y="140"/>
                  </a:cubicBezTo>
                  <a:cubicBezTo>
                    <a:pt x="103" y="140"/>
                    <a:pt x="93" y="149"/>
                    <a:pt x="93" y="161"/>
                  </a:cubicBezTo>
                  <a:close/>
                  <a:moveTo>
                    <a:pt x="34" y="181"/>
                  </a:moveTo>
                  <a:cubicBezTo>
                    <a:pt x="46" y="181"/>
                    <a:pt x="55" y="172"/>
                    <a:pt x="55" y="161"/>
                  </a:cubicBezTo>
                  <a:cubicBezTo>
                    <a:pt x="55" y="149"/>
                    <a:pt x="46" y="140"/>
                    <a:pt x="34" y="140"/>
                  </a:cubicBezTo>
                  <a:cubicBezTo>
                    <a:pt x="23" y="140"/>
                    <a:pt x="14" y="149"/>
                    <a:pt x="14" y="161"/>
                  </a:cubicBezTo>
                  <a:cubicBezTo>
                    <a:pt x="14" y="172"/>
                    <a:pt x="23" y="181"/>
                    <a:pt x="34" y="181"/>
                  </a:cubicBezTo>
                  <a:close/>
                  <a:moveTo>
                    <a:pt x="172" y="161"/>
                  </a:moveTo>
                  <a:cubicBezTo>
                    <a:pt x="172" y="172"/>
                    <a:pt x="182" y="181"/>
                    <a:pt x="193" y="181"/>
                  </a:cubicBezTo>
                  <a:cubicBezTo>
                    <a:pt x="204" y="181"/>
                    <a:pt x="214" y="172"/>
                    <a:pt x="214" y="161"/>
                  </a:cubicBezTo>
                  <a:cubicBezTo>
                    <a:pt x="214" y="149"/>
                    <a:pt x="204" y="140"/>
                    <a:pt x="193" y="140"/>
                  </a:cubicBezTo>
                  <a:cubicBezTo>
                    <a:pt x="182" y="140"/>
                    <a:pt x="172" y="149"/>
                    <a:pt x="172" y="161"/>
                  </a:cubicBezTo>
                  <a:close/>
                  <a:moveTo>
                    <a:pt x="114" y="42"/>
                  </a:moveTo>
                  <a:cubicBezTo>
                    <a:pt x="125" y="42"/>
                    <a:pt x="135" y="32"/>
                    <a:pt x="135" y="21"/>
                  </a:cubicBezTo>
                  <a:cubicBezTo>
                    <a:pt x="135" y="9"/>
                    <a:pt x="125" y="0"/>
                    <a:pt x="114" y="0"/>
                  </a:cubicBezTo>
                  <a:cubicBezTo>
                    <a:pt x="103" y="0"/>
                    <a:pt x="93" y="9"/>
                    <a:pt x="93" y="21"/>
                  </a:cubicBezTo>
                  <a:cubicBezTo>
                    <a:pt x="93" y="32"/>
                    <a:pt x="103" y="42"/>
                    <a:pt x="114" y="42"/>
                  </a:cubicBezTo>
                  <a:close/>
                  <a:moveTo>
                    <a:pt x="193" y="42"/>
                  </a:moveTo>
                  <a:cubicBezTo>
                    <a:pt x="204" y="42"/>
                    <a:pt x="214" y="32"/>
                    <a:pt x="214" y="21"/>
                  </a:cubicBezTo>
                  <a:cubicBezTo>
                    <a:pt x="214" y="9"/>
                    <a:pt x="204" y="0"/>
                    <a:pt x="193" y="0"/>
                  </a:cubicBezTo>
                  <a:cubicBezTo>
                    <a:pt x="182" y="0"/>
                    <a:pt x="172" y="9"/>
                    <a:pt x="172" y="21"/>
                  </a:cubicBezTo>
                  <a:cubicBezTo>
                    <a:pt x="172" y="32"/>
                    <a:pt x="182" y="42"/>
                    <a:pt x="193" y="42"/>
                  </a:cubicBezTo>
                  <a:close/>
                  <a:moveTo>
                    <a:pt x="253" y="161"/>
                  </a:moveTo>
                  <a:cubicBezTo>
                    <a:pt x="253" y="172"/>
                    <a:pt x="262" y="181"/>
                    <a:pt x="273" y="181"/>
                  </a:cubicBezTo>
                  <a:cubicBezTo>
                    <a:pt x="285" y="181"/>
                    <a:pt x="294" y="172"/>
                    <a:pt x="294" y="161"/>
                  </a:cubicBezTo>
                  <a:cubicBezTo>
                    <a:pt x="294" y="149"/>
                    <a:pt x="285" y="140"/>
                    <a:pt x="273" y="140"/>
                  </a:cubicBezTo>
                  <a:cubicBezTo>
                    <a:pt x="262" y="140"/>
                    <a:pt x="253" y="149"/>
                    <a:pt x="253" y="1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pic>
        <p:nvPicPr>
          <p:cNvPr id="65616" name="Picture 12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19138" y="2273300"/>
            <a:ext cx="7527925"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 Placeholder 8">
            <a:extLst>
              <a:ext uri="{FF2B5EF4-FFF2-40B4-BE49-F238E27FC236}"/>
            </a:extLst>
          </p:cNvPr>
          <p:cNvSpPr txBox="1">
            <a:spLocks/>
          </p:cNvSpPr>
          <p:nvPr/>
        </p:nvSpPr>
        <p:spPr bwMode="auto">
          <a:xfrm>
            <a:off x="244475" y="1628775"/>
            <a:ext cx="6842125"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ADABA1"/>
                </a:solidFill>
                <a:miter lim="800000"/>
                <a:headEnd/>
                <a:tailEnd/>
              </a14:hiddenLine>
            </a:ext>
          </a:extLst>
        </p:spPr>
        <p:txBody>
          <a:bodyPr lIns="0" tIns="0" rIns="0" bIns="0">
            <a:spAutoFit/>
          </a:bodyPr>
          <a:lstStyle>
            <a:lvl1pPr>
              <a:defRPr sz="1300">
                <a:solidFill>
                  <a:srgbClr val="000000"/>
                </a:solidFill>
                <a:latin typeface="Arial" charset="0"/>
                <a:ea typeface="Arial" charset="0"/>
                <a:cs typeface="Arial" charset="0"/>
                <a:sym typeface="Arial" charset="0"/>
              </a:defRPr>
            </a:lvl1pPr>
            <a:lvl2pPr marL="741363" indent="-233363">
              <a:defRPr sz="1300">
                <a:solidFill>
                  <a:srgbClr val="000000"/>
                </a:solidFill>
                <a:latin typeface="Arial" charset="0"/>
                <a:ea typeface="Arial" charset="0"/>
                <a:cs typeface="Arial" charset="0"/>
                <a:sym typeface="Arial" charset="0"/>
              </a:defRPr>
            </a:lvl2pPr>
            <a:lvl3pPr marL="1141413" indent="-176213">
              <a:defRPr sz="1300">
                <a:solidFill>
                  <a:srgbClr val="000000"/>
                </a:solidFill>
                <a:latin typeface="Arial" charset="0"/>
                <a:ea typeface="Arial" charset="0"/>
                <a:cs typeface="Arial" charset="0"/>
                <a:sym typeface="Arial" charset="0"/>
              </a:defRPr>
            </a:lvl3pPr>
            <a:lvl4pPr marL="1598613" indent="-176213">
              <a:defRPr sz="1300">
                <a:solidFill>
                  <a:srgbClr val="000000"/>
                </a:solidFill>
                <a:latin typeface="Arial" charset="0"/>
                <a:ea typeface="Arial" charset="0"/>
                <a:cs typeface="Arial" charset="0"/>
                <a:sym typeface="Arial" charset="0"/>
              </a:defRPr>
            </a:lvl4pPr>
            <a:lvl5pPr marL="2055813" indent="-176213">
              <a:defRPr sz="1300">
                <a:solidFill>
                  <a:srgbClr val="000000"/>
                </a:solidFill>
                <a:latin typeface="Arial" charset="0"/>
                <a:ea typeface="Arial" charset="0"/>
                <a:cs typeface="Arial" charset="0"/>
                <a:sym typeface="Arial" charset="0"/>
              </a:defRPr>
            </a:lvl5pPr>
            <a:lvl6pPr marL="25130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6pPr>
            <a:lvl7pPr marL="29702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7pPr>
            <a:lvl8pPr marL="34274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8pPr>
            <a:lvl9pPr marL="38846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9pPr>
          </a:lstStyle>
          <a:p>
            <a:pPr>
              <a:lnSpc>
                <a:spcPct val="90000"/>
              </a:lnSpc>
              <a:buClr>
                <a:srgbClr val="000000"/>
              </a:buClr>
              <a:defRPr/>
            </a:pPr>
            <a:r>
              <a:rPr lang="en-GB" altLang="en-US" sz="1800" b="1" kern="0" dirty="0">
                <a:solidFill>
                  <a:schemeClr val="tx1"/>
                </a:solidFill>
                <a:latin typeface="Arial" panose="020B0604020202020204" pitchFamily="34" charset="0"/>
                <a:ea typeface="Calibri" charset="0"/>
                <a:cs typeface="Calibri" charset="0"/>
                <a:sym typeface="Calibri" charset="0"/>
              </a:rPr>
              <a:t>Model of Care Interventions</a:t>
            </a:r>
          </a:p>
        </p:txBody>
      </p:sp>
      <p:sp>
        <p:nvSpPr>
          <p:cNvPr id="15" name="Rectangle 14">
            <a:extLst>
              <a:ext uri="{FF2B5EF4-FFF2-40B4-BE49-F238E27FC236}"/>
            </a:extLst>
          </p:cNvPr>
          <p:cNvSpPr/>
          <p:nvPr/>
        </p:nvSpPr>
        <p:spPr>
          <a:xfrm>
            <a:off x="244475" y="1989138"/>
            <a:ext cx="5335588" cy="220662"/>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nSpc>
                <a:spcPct val="90000"/>
              </a:lnSpc>
              <a:defRPr/>
            </a:pPr>
            <a:r>
              <a:rPr lang="en-US" sz="1600" b="1" dirty="0">
                <a:solidFill>
                  <a:schemeClr val="tx1"/>
                </a:solidFill>
                <a:latin typeface="Arial" panose="020B0604020202020204" pitchFamily="34" charset="0"/>
                <a:cs typeface="Arial" pitchFamily="34" charset="0"/>
              </a:rPr>
              <a:t>Interventions cross-cutting all Systems of Care</a:t>
            </a:r>
          </a:p>
        </p:txBody>
      </p:sp>
      <p:sp>
        <p:nvSpPr>
          <p:cNvPr id="267" name="Rectangle 266">
            <a:extLst>
              <a:ext uri="{FF2B5EF4-FFF2-40B4-BE49-F238E27FC236}"/>
            </a:extLst>
          </p:cNvPr>
          <p:cNvSpPr/>
          <p:nvPr/>
        </p:nvSpPr>
        <p:spPr>
          <a:xfrm>
            <a:off x="244475" y="3536950"/>
            <a:ext cx="4903788" cy="222250"/>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nSpc>
                <a:spcPct val="90000"/>
              </a:lnSpc>
              <a:defRPr/>
            </a:pPr>
            <a:r>
              <a:rPr lang="en-US" sz="1600" b="1" dirty="0">
                <a:solidFill>
                  <a:schemeClr val="tx1"/>
                </a:solidFill>
                <a:latin typeface="Arial" panose="020B0604020202020204" pitchFamily="34" charset="0"/>
                <a:cs typeface="Arial" pitchFamily="34" charset="0"/>
              </a:rPr>
              <a:t>Interventions specific to Systems of Care</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562"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06" name="think-cell Slide" r:id="rId4" imgW="360" imgH="360" progId="TCLayout.ActiveDocument.1">
                  <p:embed/>
                </p:oleObj>
              </mc:Choice>
              <mc:Fallback>
                <p:oleObj name="think-cell Slide" r:id="rId4" imgW="360" imgH="360" progId="TCLayout.ActiveDocument.1">
                  <p:embed/>
                  <p:pic>
                    <p:nvPicPr>
                      <p:cNvPr id="0"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63" name="Group 51">
            <a:extLst>
              <a:ext uri="{FF2B5EF4-FFF2-40B4-BE49-F238E27FC236}"/>
            </a:extLst>
          </p:cNvPr>
          <p:cNvGrpSpPr/>
          <p:nvPr/>
        </p:nvGrpSpPr>
        <p:grpSpPr>
          <a:xfrm>
            <a:off x="3342705" y="3504016"/>
            <a:ext cx="906581" cy="927573"/>
            <a:chOff x="6003925" y="1822450"/>
            <a:chExt cx="1096963" cy="1122363"/>
          </a:xfrm>
          <a:solidFill>
            <a:schemeClr val="bg2"/>
          </a:solidFill>
        </p:grpSpPr>
        <p:sp>
          <p:nvSpPr>
            <p:cNvPr id="264" name="Freeform 37">
              <a:extLst>
                <a:ext uri="{FF2B5EF4-FFF2-40B4-BE49-F238E27FC236}"/>
              </a:extLst>
            </p:cNvPr>
            <p:cNvSpPr>
              <a:spLocks/>
            </p:cNvSpPr>
            <p:nvPr/>
          </p:nvSpPr>
          <p:spPr bwMode="auto">
            <a:xfrm>
              <a:off x="6087517" y="1822450"/>
              <a:ext cx="928312" cy="1122363"/>
            </a:xfrm>
            <a:custGeom>
              <a:avLst/>
              <a:gdLst>
                <a:gd name="T0" fmla="*/ 0 w 633"/>
                <a:gd name="T1" fmla="*/ 0 h 707"/>
                <a:gd name="T2" fmla="*/ 204 w 633"/>
                <a:gd name="T3" fmla="*/ 594 h 707"/>
                <a:gd name="T4" fmla="*/ 129 w 633"/>
                <a:gd name="T5" fmla="*/ 594 h 707"/>
                <a:gd name="T6" fmla="*/ 327 w 633"/>
                <a:gd name="T7" fmla="*/ 707 h 707"/>
                <a:gd name="T8" fmla="*/ 520 w 633"/>
                <a:gd name="T9" fmla="*/ 594 h 707"/>
                <a:gd name="T10" fmla="*/ 445 w 633"/>
                <a:gd name="T11" fmla="*/ 594 h 707"/>
                <a:gd name="T12" fmla="*/ 633 w 633"/>
                <a:gd name="T13" fmla="*/ 2 h 707"/>
                <a:gd name="T14" fmla="*/ 0 60000 65536"/>
                <a:gd name="T15" fmla="*/ 0 60000 65536"/>
                <a:gd name="T16" fmla="*/ 0 60000 65536"/>
                <a:gd name="T17" fmla="*/ 0 60000 65536"/>
                <a:gd name="T18" fmla="*/ 0 60000 65536"/>
                <a:gd name="T19" fmla="*/ 0 60000 65536"/>
                <a:gd name="T20" fmla="*/ 0 60000 65536"/>
                <a:gd name="T21" fmla="*/ 0 w 633"/>
                <a:gd name="T22" fmla="*/ 0 h 707"/>
                <a:gd name="T23" fmla="*/ 633 w 633"/>
                <a:gd name="T24" fmla="*/ 707 h 7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3" h="707">
                  <a:moveTo>
                    <a:pt x="0" y="0"/>
                  </a:moveTo>
                  <a:lnTo>
                    <a:pt x="204" y="594"/>
                  </a:lnTo>
                  <a:lnTo>
                    <a:pt x="129" y="594"/>
                  </a:lnTo>
                  <a:lnTo>
                    <a:pt x="327" y="707"/>
                  </a:lnTo>
                  <a:lnTo>
                    <a:pt x="520" y="594"/>
                  </a:lnTo>
                  <a:lnTo>
                    <a:pt x="445" y="594"/>
                  </a:lnTo>
                  <a:lnTo>
                    <a:pt x="633" y="2"/>
                  </a:lnTo>
                </a:path>
              </a:pathLst>
            </a:custGeom>
            <a:solidFill>
              <a:srgbClr val="964B73">
                <a:alpha val="63000"/>
              </a:srgbClr>
            </a:solidFill>
            <a:ln w="6350" cap="flat">
              <a:noFill/>
              <a:miter lim="800000"/>
              <a:headEnd/>
              <a:tailEnd/>
            </a:ln>
          </p:spPr>
          <p:txBody>
            <a:bodyPr wrap="none" lIns="90488" tIns="44450" rIns="90488" bIns="44450" anchor="ctr"/>
            <a:lstStyle/>
            <a:p>
              <a:pPr>
                <a:lnSpc>
                  <a:spcPct val="90000"/>
                </a:lnSpc>
                <a:defRPr/>
              </a:pPr>
              <a:endParaRPr lang="fr-FR" sz="1000" b="1"/>
            </a:p>
          </p:txBody>
        </p:sp>
        <p:sp>
          <p:nvSpPr>
            <p:cNvPr id="265" name="Rectangle 39">
              <a:extLst>
                <a:ext uri="{FF2B5EF4-FFF2-40B4-BE49-F238E27FC236}"/>
              </a:extLst>
            </p:cNvPr>
            <p:cNvSpPr>
              <a:spLocks noChangeArrowheads="1"/>
            </p:cNvSpPr>
            <p:nvPr/>
          </p:nvSpPr>
          <p:spPr bwMode="auto">
            <a:xfrm>
              <a:off x="6003925" y="1880828"/>
              <a:ext cx="1096963" cy="150813"/>
            </a:xfrm>
            <a:prstGeom prst="rect">
              <a:avLst/>
            </a:prstGeom>
            <a:solidFill>
              <a:schemeClr val="accent2"/>
            </a:solidFill>
            <a:ln w="6350" cap="flat">
              <a:noFill/>
              <a:miter lim="800000"/>
              <a:headEnd/>
              <a:tailEnd/>
            </a:ln>
          </p:spPr>
          <p:txBody>
            <a:bodyPr wrap="none" lIns="90488" tIns="44450" rIns="90488" bIns="44450" anchor="ctr"/>
            <a:lstStyle/>
            <a:p>
              <a:pPr algn="ctr">
                <a:lnSpc>
                  <a:spcPct val="90000"/>
                </a:lnSpc>
                <a:defRPr/>
              </a:pPr>
              <a:r>
                <a:rPr lang="de-DE" sz="1000" b="1" dirty="0"/>
                <a:t>C1</a:t>
              </a:r>
            </a:p>
          </p:txBody>
        </p:sp>
      </p:grpSp>
      <p:grpSp>
        <p:nvGrpSpPr>
          <p:cNvPr id="248" name="Group 51">
            <a:extLst>
              <a:ext uri="{FF2B5EF4-FFF2-40B4-BE49-F238E27FC236}"/>
            </a:extLst>
          </p:cNvPr>
          <p:cNvGrpSpPr/>
          <p:nvPr/>
        </p:nvGrpSpPr>
        <p:grpSpPr>
          <a:xfrm>
            <a:off x="7693628" y="3514347"/>
            <a:ext cx="906581" cy="927573"/>
            <a:chOff x="6003925" y="1822450"/>
            <a:chExt cx="1096963" cy="1122363"/>
          </a:xfrm>
          <a:solidFill>
            <a:schemeClr val="bg2"/>
          </a:solidFill>
        </p:grpSpPr>
        <p:sp>
          <p:nvSpPr>
            <p:cNvPr id="249" name="Freeform 37">
              <a:extLst>
                <a:ext uri="{FF2B5EF4-FFF2-40B4-BE49-F238E27FC236}"/>
              </a:extLst>
            </p:cNvPr>
            <p:cNvSpPr>
              <a:spLocks/>
            </p:cNvSpPr>
            <p:nvPr/>
          </p:nvSpPr>
          <p:spPr bwMode="auto">
            <a:xfrm>
              <a:off x="6087517" y="1822450"/>
              <a:ext cx="928312" cy="1122363"/>
            </a:xfrm>
            <a:custGeom>
              <a:avLst/>
              <a:gdLst>
                <a:gd name="T0" fmla="*/ 0 w 633"/>
                <a:gd name="T1" fmla="*/ 0 h 707"/>
                <a:gd name="T2" fmla="*/ 204 w 633"/>
                <a:gd name="T3" fmla="*/ 594 h 707"/>
                <a:gd name="T4" fmla="*/ 129 w 633"/>
                <a:gd name="T5" fmla="*/ 594 h 707"/>
                <a:gd name="T6" fmla="*/ 327 w 633"/>
                <a:gd name="T7" fmla="*/ 707 h 707"/>
                <a:gd name="T8" fmla="*/ 520 w 633"/>
                <a:gd name="T9" fmla="*/ 594 h 707"/>
                <a:gd name="T10" fmla="*/ 445 w 633"/>
                <a:gd name="T11" fmla="*/ 594 h 707"/>
                <a:gd name="T12" fmla="*/ 633 w 633"/>
                <a:gd name="T13" fmla="*/ 2 h 707"/>
                <a:gd name="T14" fmla="*/ 0 60000 65536"/>
                <a:gd name="T15" fmla="*/ 0 60000 65536"/>
                <a:gd name="T16" fmla="*/ 0 60000 65536"/>
                <a:gd name="T17" fmla="*/ 0 60000 65536"/>
                <a:gd name="T18" fmla="*/ 0 60000 65536"/>
                <a:gd name="T19" fmla="*/ 0 60000 65536"/>
                <a:gd name="T20" fmla="*/ 0 60000 65536"/>
                <a:gd name="T21" fmla="*/ 0 w 633"/>
                <a:gd name="T22" fmla="*/ 0 h 707"/>
                <a:gd name="T23" fmla="*/ 633 w 633"/>
                <a:gd name="T24" fmla="*/ 707 h 7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3" h="707">
                  <a:moveTo>
                    <a:pt x="0" y="0"/>
                  </a:moveTo>
                  <a:lnTo>
                    <a:pt x="204" y="594"/>
                  </a:lnTo>
                  <a:lnTo>
                    <a:pt x="129" y="594"/>
                  </a:lnTo>
                  <a:lnTo>
                    <a:pt x="327" y="707"/>
                  </a:lnTo>
                  <a:lnTo>
                    <a:pt x="520" y="594"/>
                  </a:lnTo>
                  <a:lnTo>
                    <a:pt x="445" y="594"/>
                  </a:lnTo>
                  <a:lnTo>
                    <a:pt x="633" y="2"/>
                  </a:lnTo>
                </a:path>
              </a:pathLst>
            </a:custGeom>
            <a:solidFill>
              <a:srgbClr val="E03C31">
                <a:alpha val="50000"/>
              </a:srgbClr>
            </a:solidFill>
            <a:ln w="6350" cap="flat">
              <a:noFill/>
              <a:miter lim="800000"/>
              <a:headEnd/>
              <a:tailEnd/>
            </a:ln>
          </p:spPr>
          <p:txBody>
            <a:bodyPr wrap="none" lIns="90488" tIns="44450" rIns="90488" bIns="44450" anchor="ctr"/>
            <a:lstStyle/>
            <a:p>
              <a:pPr>
                <a:lnSpc>
                  <a:spcPct val="90000"/>
                </a:lnSpc>
                <a:defRPr/>
              </a:pPr>
              <a:endParaRPr lang="fr-FR" sz="1000" b="1"/>
            </a:p>
          </p:txBody>
        </p:sp>
        <p:sp>
          <p:nvSpPr>
            <p:cNvPr id="251" name="Rectangle 39">
              <a:extLst>
                <a:ext uri="{FF2B5EF4-FFF2-40B4-BE49-F238E27FC236}"/>
              </a:extLst>
            </p:cNvPr>
            <p:cNvSpPr>
              <a:spLocks noChangeArrowheads="1"/>
            </p:cNvSpPr>
            <p:nvPr/>
          </p:nvSpPr>
          <p:spPr bwMode="auto">
            <a:xfrm>
              <a:off x="6003925" y="1880828"/>
              <a:ext cx="1096963" cy="150813"/>
            </a:xfrm>
            <a:prstGeom prst="rect">
              <a:avLst/>
            </a:prstGeom>
            <a:solidFill>
              <a:schemeClr val="accent2"/>
            </a:solidFill>
            <a:ln w="6350" cap="flat">
              <a:noFill/>
              <a:miter lim="800000"/>
              <a:headEnd/>
              <a:tailEnd/>
            </a:ln>
          </p:spPr>
          <p:txBody>
            <a:bodyPr wrap="none" lIns="90488" tIns="44450" rIns="90488" bIns="44450" anchor="ctr"/>
            <a:lstStyle/>
            <a:p>
              <a:pPr algn="ctr">
                <a:lnSpc>
                  <a:spcPct val="90000"/>
                </a:lnSpc>
                <a:defRPr/>
              </a:pPr>
              <a:r>
                <a:rPr lang="de-DE" sz="1000" b="1" dirty="0"/>
                <a:t>C2</a:t>
              </a:r>
            </a:p>
          </p:txBody>
        </p:sp>
      </p:grpSp>
      <p:sp>
        <p:nvSpPr>
          <p:cNvPr id="2" name="Title 1">
            <a:extLst>
              <a:ext uri="{FF2B5EF4-FFF2-40B4-BE49-F238E27FC236}"/>
            </a:extLst>
          </p:cNvPr>
          <p:cNvSpPr>
            <a:spLocks noGrp="1"/>
          </p:cNvSpPr>
          <p:nvPr>
            <p:ph type="title"/>
          </p:nvPr>
        </p:nvSpPr>
        <p:spPr>
          <a:xfrm>
            <a:off x="304800" y="-11113"/>
            <a:ext cx="7748588" cy="1731963"/>
          </a:xfrm>
        </p:spPr>
        <p:txBody>
          <a:bodyPr>
            <a:normAutofit fontScale="90000"/>
          </a:bodyPr>
          <a:lstStyle/>
          <a:p>
            <a:pPr fontAlgn="auto">
              <a:spcAft>
                <a:spcPts val="0"/>
              </a:spcAft>
              <a:defRPr/>
            </a:pPr>
            <a:r>
              <a:rPr lang="en-US" dirty="0" smtClean="0">
                <a:solidFill>
                  <a:schemeClr val="tx1">
                    <a:lumMod val="75000"/>
                    <a:lumOff val="25000"/>
                  </a:schemeClr>
                </a:solidFill>
              </a:rPr>
              <a:t/>
            </a:r>
            <a:br>
              <a:rPr lang="en-US" dirty="0" smtClean="0">
                <a:solidFill>
                  <a:schemeClr val="tx1">
                    <a:lumMod val="75000"/>
                    <a:lumOff val="25000"/>
                  </a:schemeClr>
                </a:solidFill>
              </a:rPr>
            </a:br>
            <a:r>
              <a:rPr lang="en-US" dirty="0" smtClean="0">
                <a:solidFill>
                  <a:schemeClr val="tx1">
                    <a:lumMod val="75000"/>
                    <a:lumOff val="25000"/>
                  </a:schemeClr>
                </a:solidFill>
              </a:rPr>
              <a:t>Currently</a:t>
            </a:r>
            <a:r>
              <a:rPr lang="en-US" dirty="0">
                <a:solidFill>
                  <a:schemeClr val="tx1">
                    <a:lumMod val="75000"/>
                    <a:lumOff val="25000"/>
                  </a:schemeClr>
                </a:solidFill>
              </a:rPr>
              <a:t>, each Cluster is running specific pilots corresponding to a given System of Care</a:t>
            </a:r>
          </a:p>
        </p:txBody>
      </p:sp>
      <p:graphicFrame>
        <p:nvGraphicFramePr>
          <p:cNvPr id="126" name="Table 125">
            <a:extLst>
              <a:ext uri="{FF2B5EF4-FFF2-40B4-BE49-F238E27FC236}"/>
            </a:extLst>
          </p:cNvPr>
          <p:cNvGraphicFramePr>
            <a:graphicFrameLocks noGrp="1"/>
          </p:cNvGraphicFramePr>
          <p:nvPr/>
        </p:nvGraphicFramePr>
        <p:xfrm>
          <a:off x="244475" y="3867150"/>
          <a:ext cx="8612188" cy="2706688"/>
        </p:xfrm>
        <a:graphic>
          <a:graphicData uri="http://schemas.openxmlformats.org/drawingml/2006/table">
            <a:tbl>
              <a:tblPr>
                <a:tableStyleId>{2D5ABB26-0587-4C30-8999-92F81FD0307C}</a:tableStyleId>
              </a:tblPr>
              <a:tblGrid>
                <a:gridCol w="1453661">
                  <a:extLst>
                    <a:ext uri="{9D8B030D-6E8A-4147-A177-3AD203B41FA5}"/>
                  </a:extLst>
                </a:gridCol>
                <a:gridCol w="1417069">
                  <a:extLst>
                    <a:ext uri="{9D8B030D-6E8A-4147-A177-3AD203B41FA5}"/>
                  </a:extLst>
                </a:gridCol>
                <a:gridCol w="1435366">
                  <a:extLst>
                    <a:ext uri="{9D8B030D-6E8A-4147-A177-3AD203B41FA5}"/>
                  </a:extLst>
                </a:gridCol>
                <a:gridCol w="1435363">
                  <a:extLst>
                    <a:ext uri="{9D8B030D-6E8A-4147-A177-3AD203B41FA5}"/>
                  </a:extLst>
                </a:gridCol>
                <a:gridCol w="1435366">
                  <a:extLst>
                    <a:ext uri="{9D8B030D-6E8A-4147-A177-3AD203B41FA5}"/>
                  </a:extLst>
                </a:gridCol>
                <a:gridCol w="1435363">
                  <a:extLst>
                    <a:ext uri="{9D8B030D-6E8A-4147-A177-3AD203B41FA5}"/>
                  </a:extLst>
                </a:gridCol>
              </a:tblGrid>
              <a:tr h="260403">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Keep Well</a:t>
                      </a:r>
                      <a:endParaRPr kumimoji="0" lang="en-GB" altLang="en-US" sz="1000" b="1" i="0" u="none" strike="noStrike" cap="none" normalizeH="0" baseline="0" dirty="0">
                        <a:ln>
                          <a:noFill/>
                        </a:ln>
                        <a:solidFill>
                          <a:srgbClr val="008755"/>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Planned Care</a:t>
                      </a:r>
                      <a:endParaRPr kumimoji="0" lang="en-GB" altLang="en-US" sz="1000" b="1" i="0" u="none" strike="noStrike" cap="none" normalizeH="0" baseline="0" dirty="0">
                        <a:ln>
                          <a:noFill/>
                        </a:ln>
                        <a:solidFill>
                          <a:srgbClr val="9CA700"/>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Safe Birth</a:t>
                      </a:r>
                      <a:endParaRPr kumimoji="0" lang="en-GB" altLang="en-US" sz="1000" b="1" i="0" u="none" strike="noStrike" cap="none" normalizeH="0" baseline="0" dirty="0">
                        <a:ln>
                          <a:noFill/>
                        </a:ln>
                        <a:solidFill>
                          <a:srgbClr val="960051"/>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Urgent Care</a:t>
                      </a:r>
                      <a:endParaRPr kumimoji="0" lang="en-GB" altLang="en-US" sz="1000" b="1" i="0" u="none" strike="noStrike" cap="none" normalizeH="0" baseline="0" dirty="0">
                        <a:ln>
                          <a:noFill/>
                        </a:ln>
                        <a:solidFill>
                          <a:schemeClr val="accent5"/>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Chronic Care</a:t>
                      </a:r>
                      <a:endParaRPr kumimoji="0" lang="en-GB" altLang="en-US" sz="1000" b="1" i="0" u="none" strike="noStrike" cap="none" normalizeH="0" baseline="0" dirty="0">
                        <a:ln>
                          <a:noFill/>
                        </a:ln>
                        <a:solidFill>
                          <a:srgbClr val="009ACE"/>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1" u="none" strike="noStrike" cap="none" normalizeH="0" baseline="0" dirty="0">
                          <a:ln>
                            <a:noFill/>
                          </a:ln>
                          <a:effectLst/>
                          <a:sym typeface="Arial" charset="0"/>
                        </a:rPr>
                        <a:t>Last Phase</a:t>
                      </a:r>
                      <a:endParaRPr kumimoji="0" lang="en-GB" altLang="en-US" sz="1000" b="1" i="0" u="none" strike="noStrike" cap="none" normalizeH="0" baseline="0" dirty="0">
                        <a:ln>
                          <a:noFill/>
                        </a:ln>
                        <a:solidFill>
                          <a:srgbClr val="E03C31"/>
                        </a:solidFill>
                        <a:effectLst/>
                        <a:latin typeface="Calibri" charset="0"/>
                        <a:ea typeface="Arial" charset="0"/>
                        <a:cs typeface="Arial" charset="0"/>
                        <a:sym typeface="Arial" charset="0"/>
                      </a:endParaRPr>
                    </a:p>
                  </a:txBody>
                  <a:tcPr marL="0"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ealth Coach Program</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One-Stop Clinic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Premarital Screening</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Resource Control </a:t>
                      </a:r>
                      <a:br>
                        <a:rPr kumimoji="0" lang="en-US" altLang="en-US" sz="800" u="none" strike="noStrike" cap="none" normalizeH="0" baseline="0">
                          <a:ln>
                            <a:noFill/>
                          </a:ln>
                          <a:effectLst/>
                          <a:sym typeface="Arial" charset="0"/>
                        </a:rPr>
                      </a:br>
                      <a:r>
                        <a:rPr kumimoji="0" lang="en-US" altLang="en-US" sz="800" u="none" strike="noStrike" cap="none" normalizeH="0" baseline="0">
                          <a:ln>
                            <a:noFill/>
                          </a:ln>
                          <a:effectLst/>
                          <a:sym typeface="Arial" charset="0"/>
                        </a:rPr>
                        <a:t>Center</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Chronic Disease Screening</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atient and Family Support</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Community-Based Wellness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athway Optimisation</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Preconception Care Services</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Urgent Care Clinics</a:t>
                      </a:r>
                      <a:endParaRPr kumimoji="0" lang="en-US"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Case Coordination </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ospice Care Service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Workplace Wellness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Length of Stay Reduction Initiatives</a:t>
                      </a:r>
                      <a:endParaRPr kumimoji="0" lang="en-US"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dirty="0">
                          <a:ln>
                            <a:noFill/>
                          </a:ln>
                          <a:effectLst/>
                          <a:sym typeface="Arial" charset="0"/>
                        </a:rPr>
                        <a:t>Maternity Care </a:t>
                      </a:r>
                      <a:br>
                        <a:rPr kumimoji="0" lang="en-US" altLang="en-US" sz="800" u="none" strike="noStrike" cap="none" normalizeH="0" baseline="0" dirty="0">
                          <a:ln>
                            <a:noFill/>
                          </a:ln>
                          <a:effectLst/>
                          <a:sym typeface="Arial" charset="0"/>
                        </a:rPr>
                      </a:br>
                      <a:r>
                        <a:rPr kumimoji="0" lang="en-US" altLang="en-US" sz="800" u="none" strike="noStrike" cap="none" normalizeH="0" baseline="0" dirty="0">
                          <a:ln>
                            <a:noFill/>
                          </a:ln>
                          <a:effectLst/>
                          <a:sym typeface="Arial" charset="0"/>
                        </a:rPr>
                        <a:t>Services</a:t>
                      </a: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Population-Based Critical Care Centers</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Continuing Care </a:t>
                      </a:r>
                      <a:br>
                        <a:rPr kumimoji="0" lang="en-GB" altLang="en-US" sz="800" u="none" strike="noStrike" cap="none" normalizeH="0" baseline="0" dirty="0">
                          <a:ln>
                            <a:noFill/>
                          </a:ln>
                          <a:effectLst/>
                          <a:sym typeface="Arial" charset="0"/>
                        </a:rPr>
                      </a:br>
                      <a:r>
                        <a:rPr kumimoji="0" lang="en-GB" altLang="en-US" sz="800" u="none" strike="noStrike" cap="none" normalizeH="0" baseline="0" dirty="0">
                          <a:ln>
                            <a:noFill/>
                          </a:ln>
                          <a:effectLst/>
                          <a:sym typeface="Arial" charset="0"/>
                        </a:rPr>
                        <a:t>Service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Multidisciplinary Team Development</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School Wellness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Step-Down and Post-Discharge Service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a:ln>
                            <a:noFill/>
                          </a:ln>
                          <a:effectLst/>
                          <a:sym typeface="Arial" charset="0"/>
                        </a:rPr>
                        <a:t>National Birth Registry</a:t>
                      </a: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35219">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ealthy Food Promotion</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ostnatal Care Services</a:t>
                      </a: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r" defTabSz="455613" rtl="1"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Health Edutainment Programs</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a:ln>
                            <a:noFill/>
                          </a:ln>
                          <a:effectLst/>
                          <a:sym typeface="Arial" charset="0"/>
                        </a:rPr>
                        <a:t>Neonatal Care Services</a:t>
                      </a:r>
                      <a:endParaRPr kumimoji="0" lang="en-US"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r h="351844">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GB" altLang="en-US" sz="800" u="none" strike="noStrike" cap="none" normalizeH="0" baseline="0" dirty="0">
                          <a:ln>
                            <a:noFill/>
                          </a:ln>
                          <a:effectLst/>
                          <a:sym typeface="Arial" charset="0"/>
                        </a:rPr>
                        <a:t>Promoting the Saudi CDC</a:t>
                      </a: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100" kern="1200">
                          <a:solidFill>
                            <a:srgbClr val="000000"/>
                          </a:solidFill>
                          <a:latin typeface="Arial" charset="0"/>
                          <a:ea typeface="Arial" charset="0"/>
                          <a:cs typeface="Arial" charset="0"/>
                          <a:sym typeface="Arial" charset="0"/>
                        </a:defRPr>
                      </a:lvl1pPr>
                      <a:lvl2pPr marL="742950" indent="-285750" algn="l" defTabSz="914400"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914400"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914400"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914400"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914400"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r>
                        <a:rPr kumimoji="0" lang="en-US" altLang="en-US" sz="800" u="none" strike="noStrike" cap="none" normalizeH="0" baseline="0" dirty="0">
                          <a:ln>
                            <a:noFill/>
                          </a:ln>
                          <a:effectLst/>
                          <a:sym typeface="Arial" charset="0"/>
                        </a:rPr>
                        <a:t>Well Baby Clinics</a:t>
                      </a:r>
                      <a:endParaRPr kumimoji="0" lang="en-US"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lvl1pPr marL="342900" indent="-342900" algn="l" defTabSz="455613" rtl="0" eaLnBrk="1" latinLnBrk="0" hangingPunct="1">
                        <a:defRPr sz="1100" kern="1200">
                          <a:solidFill>
                            <a:srgbClr val="000000"/>
                          </a:solidFill>
                          <a:latin typeface="Arial" charset="0"/>
                          <a:ea typeface="Arial" charset="0"/>
                          <a:cs typeface="Arial" charset="0"/>
                          <a:sym typeface="Arial" charset="0"/>
                        </a:defRPr>
                      </a:lvl1pPr>
                      <a:lvl2pPr marL="457200" algn="l" defTabSz="455613" rtl="0" eaLnBrk="1" latinLnBrk="0" hangingPunct="1">
                        <a:defRPr sz="1100" kern="1200">
                          <a:solidFill>
                            <a:srgbClr val="000000"/>
                          </a:solidFill>
                          <a:latin typeface="Arial" charset="0"/>
                          <a:ea typeface="Arial" charset="0"/>
                          <a:cs typeface="Arial" charset="0"/>
                          <a:sym typeface="Arial" charset="0"/>
                        </a:defRPr>
                      </a:lvl2pPr>
                      <a:lvl3pPr marL="1143000" indent="-228600" algn="l" defTabSz="455613" rtl="0" eaLnBrk="1" latinLnBrk="0" hangingPunct="1">
                        <a:defRPr sz="1100" kern="1200">
                          <a:solidFill>
                            <a:srgbClr val="000000"/>
                          </a:solidFill>
                          <a:latin typeface="Arial" charset="0"/>
                          <a:ea typeface="Arial" charset="0"/>
                          <a:cs typeface="Arial" charset="0"/>
                          <a:sym typeface="Arial" charset="0"/>
                        </a:defRPr>
                      </a:lvl3pPr>
                      <a:lvl4pPr marL="1600200" indent="-228600" algn="l" defTabSz="455613" rtl="0" eaLnBrk="1" latinLnBrk="0" hangingPunct="1">
                        <a:defRPr sz="1100" kern="1200">
                          <a:solidFill>
                            <a:srgbClr val="000000"/>
                          </a:solidFill>
                          <a:latin typeface="Arial" charset="0"/>
                          <a:ea typeface="Arial" charset="0"/>
                          <a:cs typeface="Arial" charset="0"/>
                          <a:sym typeface="Arial" charset="0"/>
                        </a:defRPr>
                      </a:lvl4pPr>
                      <a:lvl5pPr marL="2057400" indent="-228600" algn="l" defTabSz="455613" rtl="0" eaLnBrk="1" latinLnBrk="0" hangingPunct="1">
                        <a:defRPr sz="1100" kern="1200">
                          <a:solidFill>
                            <a:srgbClr val="000000"/>
                          </a:solidFill>
                          <a:latin typeface="Arial" charset="0"/>
                          <a:ea typeface="Arial" charset="0"/>
                          <a:cs typeface="Arial" charset="0"/>
                          <a:sym typeface="Arial" charset="0"/>
                        </a:defRPr>
                      </a:lvl5pPr>
                      <a:lvl6pPr marL="25146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6pPr>
                      <a:lvl7pPr marL="29718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7pPr>
                      <a:lvl8pPr marL="34290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8pPr>
                      <a:lvl9pPr marL="3886200" indent="-228600" algn="l" defTabSz="455613" rtl="0" eaLnBrk="0" fontAlgn="base" latinLnBrk="0" hangingPunct="0">
                        <a:spcBef>
                          <a:spcPct val="0"/>
                        </a:spcBef>
                        <a:spcAft>
                          <a:spcPct val="0"/>
                        </a:spcAft>
                        <a:defRPr sz="1100" kern="1200">
                          <a:solidFill>
                            <a:srgbClr val="000000"/>
                          </a:solidFill>
                          <a:latin typeface="Arial" charset="0"/>
                          <a:ea typeface="Arial" charset="0"/>
                          <a:cs typeface="Arial" charset="0"/>
                          <a:sym typeface="Arial" charset="0"/>
                        </a:defRPr>
                      </a:lvl9pPr>
                    </a:lstStyle>
                    <a:p>
                      <a:pPr marL="0" marR="0" lvl="1" indent="0" algn="l" defTabSz="4556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Calibri" charset="0"/>
                        <a:ea typeface="Arial" charset="0"/>
                        <a:cs typeface="Arial" charset="0"/>
                        <a:sym typeface="Arial" charset="0"/>
                      </a:endParaRPr>
                    </a:p>
                  </a:txBody>
                  <a:tcPr marL="288017" marR="36002" marT="54001" marB="54001"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extLst>
              </a:tr>
            </a:tbl>
          </a:graphicData>
        </a:graphic>
      </p:graphicFrame>
      <p:grpSp>
        <p:nvGrpSpPr>
          <p:cNvPr id="66615" name="Group 153"/>
          <p:cNvGrpSpPr>
            <a:grpSpLocks noChangeAspect="1"/>
          </p:cNvGrpSpPr>
          <p:nvPr/>
        </p:nvGrpSpPr>
        <p:grpSpPr bwMode="auto">
          <a:xfrm>
            <a:off x="250825" y="4154488"/>
            <a:ext cx="252413" cy="250825"/>
            <a:chOff x="4962800" y="3032119"/>
            <a:chExt cx="612775" cy="612775"/>
          </a:xfrm>
        </p:grpSpPr>
        <p:sp>
          <p:nvSpPr>
            <p:cNvPr id="128" name="Oval 127">
              <a:extLst>
                <a:ext uri="{FF2B5EF4-FFF2-40B4-BE49-F238E27FC236}"/>
              </a:extLst>
            </p:cNvPr>
            <p:cNvSpPr/>
            <p:nvPr/>
          </p:nvSpPr>
          <p:spPr bwMode="ltGray">
            <a:xfrm>
              <a:off x="4962800" y="3032119"/>
              <a:ext cx="612775" cy="612775"/>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29" name="Freeform 41">
              <a:extLst>
                <a:ext uri="{FF2B5EF4-FFF2-40B4-BE49-F238E27FC236}"/>
              </a:extLst>
            </p:cNvPr>
            <p:cNvSpPr>
              <a:spLocks noEditPoints="1"/>
            </p:cNvSpPr>
            <p:nvPr/>
          </p:nvSpPr>
          <p:spPr bwMode="auto">
            <a:xfrm>
              <a:off x="5059149" y="3214399"/>
              <a:ext cx="431639" cy="232699"/>
            </a:xfrm>
            <a:custGeom>
              <a:avLst/>
              <a:gdLst>
                <a:gd name="T0" fmla="*/ 108870 w 929"/>
                <a:gd name="T1" fmla="*/ 1382 h 507"/>
                <a:gd name="T2" fmla="*/ 123171 w 929"/>
                <a:gd name="T3" fmla="*/ 18433 h 507"/>
                <a:gd name="T4" fmla="*/ 121787 w 929"/>
                <a:gd name="T5" fmla="*/ 218889 h 507"/>
                <a:gd name="T6" fmla="*/ 104257 w 929"/>
                <a:gd name="T7" fmla="*/ 233174 h 507"/>
                <a:gd name="T8" fmla="*/ 68275 w 929"/>
                <a:gd name="T9" fmla="*/ 231331 h 507"/>
                <a:gd name="T10" fmla="*/ 53974 w 929"/>
                <a:gd name="T11" fmla="*/ 214281 h 507"/>
                <a:gd name="T12" fmla="*/ 55819 w 929"/>
                <a:gd name="T13" fmla="*/ 14285 h 507"/>
                <a:gd name="T14" fmla="*/ 72888 w 929"/>
                <a:gd name="T15" fmla="*/ 461 h 507"/>
                <a:gd name="T16" fmla="*/ 296626 w 929"/>
                <a:gd name="T17" fmla="*/ 137324 h 507"/>
                <a:gd name="T18" fmla="*/ 395347 w 929"/>
                <a:gd name="T19" fmla="*/ 33640 h 507"/>
                <a:gd name="T20" fmla="*/ 383814 w 929"/>
                <a:gd name="T21" fmla="*/ 38709 h 507"/>
                <a:gd name="T22" fmla="*/ 378740 w 929"/>
                <a:gd name="T23" fmla="*/ 182484 h 507"/>
                <a:gd name="T24" fmla="*/ 383814 w 929"/>
                <a:gd name="T25" fmla="*/ 194005 h 507"/>
                <a:gd name="T26" fmla="*/ 411493 w 929"/>
                <a:gd name="T27" fmla="*/ 199074 h 507"/>
                <a:gd name="T28" fmla="*/ 423949 w 929"/>
                <a:gd name="T29" fmla="*/ 194005 h 507"/>
                <a:gd name="T30" fmla="*/ 428562 w 929"/>
                <a:gd name="T31" fmla="*/ 50690 h 507"/>
                <a:gd name="T32" fmla="*/ 423949 w 929"/>
                <a:gd name="T33" fmla="*/ 38709 h 507"/>
                <a:gd name="T34" fmla="*/ 411493 w 929"/>
                <a:gd name="T35" fmla="*/ 33640 h 507"/>
                <a:gd name="T36" fmla="*/ 410109 w 929"/>
                <a:gd name="T37" fmla="*/ 182023 h 507"/>
                <a:gd name="T38" fmla="*/ 408725 w 929"/>
                <a:gd name="T39" fmla="*/ 42856 h 507"/>
                <a:gd name="T40" fmla="*/ 417029 w 929"/>
                <a:gd name="T41" fmla="*/ 48386 h 507"/>
                <a:gd name="T42" fmla="*/ 419797 w 929"/>
                <a:gd name="T43" fmla="*/ 176033 h 507"/>
                <a:gd name="T44" fmla="*/ 415645 w 929"/>
                <a:gd name="T45" fmla="*/ 186632 h 507"/>
                <a:gd name="T46" fmla="*/ 403651 w 929"/>
                <a:gd name="T47" fmla="*/ 190779 h 507"/>
                <a:gd name="T48" fmla="*/ 323843 w 929"/>
                <a:gd name="T49" fmla="*/ 461 h 507"/>
                <a:gd name="T50" fmla="*/ 306775 w 929"/>
                <a:gd name="T51" fmla="*/ 14285 h 507"/>
                <a:gd name="T52" fmla="*/ 304929 w 929"/>
                <a:gd name="T53" fmla="*/ 214281 h 507"/>
                <a:gd name="T54" fmla="*/ 319692 w 929"/>
                <a:gd name="T55" fmla="*/ 231331 h 507"/>
                <a:gd name="T56" fmla="*/ 356135 w 929"/>
                <a:gd name="T57" fmla="*/ 233174 h 507"/>
                <a:gd name="T58" fmla="*/ 373204 w 929"/>
                <a:gd name="T59" fmla="*/ 218889 h 507"/>
                <a:gd name="T60" fmla="*/ 374588 w 929"/>
                <a:gd name="T61" fmla="*/ 18433 h 507"/>
                <a:gd name="T62" fmla="*/ 360749 w 929"/>
                <a:gd name="T63" fmla="*/ 1382 h 507"/>
                <a:gd name="T64" fmla="*/ 339989 w 929"/>
                <a:gd name="T65" fmla="*/ 221193 h 507"/>
                <a:gd name="T66" fmla="*/ 348754 w 929"/>
                <a:gd name="T67" fmla="*/ 20737 h 507"/>
                <a:gd name="T68" fmla="*/ 350600 w 929"/>
                <a:gd name="T69" fmla="*/ 14285 h 507"/>
                <a:gd name="T70" fmla="*/ 361671 w 929"/>
                <a:gd name="T71" fmla="*/ 26267 h 507"/>
                <a:gd name="T72" fmla="*/ 362594 w 929"/>
                <a:gd name="T73" fmla="*/ 204603 h 507"/>
                <a:gd name="T74" fmla="*/ 350138 w 929"/>
                <a:gd name="T75" fmla="*/ 219810 h 507"/>
                <a:gd name="T76" fmla="*/ 16607 w 929"/>
                <a:gd name="T77" fmla="*/ 33640 h 507"/>
                <a:gd name="T78" fmla="*/ 42441 w 929"/>
                <a:gd name="T79" fmla="*/ 36865 h 507"/>
                <a:gd name="T80" fmla="*/ 49361 w 929"/>
                <a:gd name="T81" fmla="*/ 50690 h 507"/>
                <a:gd name="T82" fmla="*/ 46593 w 929"/>
                <a:gd name="T83" fmla="*/ 192161 h 507"/>
                <a:gd name="T84" fmla="*/ 32753 w 929"/>
                <a:gd name="T85" fmla="*/ 199074 h 507"/>
                <a:gd name="T86" fmla="*/ 7381 w 929"/>
                <a:gd name="T87" fmla="*/ 196309 h 507"/>
                <a:gd name="T88" fmla="*/ 0 w 929"/>
                <a:gd name="T89" fmla="*/ 182484 h 507"/>
                <a:gd name="T90" fmla="*/ 2768 w 929"/>
                <a:gd name="T91" fmla="*/ 41474 h 507"/>
                <a:gd name="T92" fmla="*/ 16607 w 929"/>
                <a:gd name="T93" fmla="*/ 33640 h 507"/>
                <a:gd name="T94" fmla="*/ 20298 w 929"/>
                <a:gd name="T95" fmla="*/ 185249 h 507"/>
                <a:gd name="T96" fmla="*/ 18453 w 929"/>
                <a:gd name="T97" fmla="*/ 45621 h 507"/>
                <a:gd name="T98" fmla="*/ 12917 w 929"/>
                <a:gd name="T99" fmla="*/ 47003 h 507"/>
                <a:gd name="T100" fmla="*/ 8304 w 929"/>
                <a:gd name="T101" fmla="*/ 58063 h 507"/>
                <a:gd name="T102" fmla="*/ 11072 w 929"/>
                <a:gd name="T103" fmla="*/ 184327 h 507"/>
                <a:gd name="T104" fmla="*/ 23527 w 929"/>
                <a:gd name="T105" fmla="*/ 190779 h 507"/>
                <a:gd name="T106" fmla="*/ 84421 w 929"/>
                <a:gd name="T107" fmla="*/ 217967 h 507"/>
                <a:gd name="T108" fmla="*/ 79346 w 929"/>
                <a:gd name="T109" fmla="*/ 20737 h 507"/>
                <a:gd name="T110" fmla="*/ 75194 w 929"/>
                <a:gd name="T111" fmla="*/ 15668 h 507"/>
                <a:gd name="T112" fmla="*/ 65507 w 929"/>
                <a:gd name="T113" fmla="*/ 29492 h 507"/>
                <a:gd name="T114" fmla="*/ 67352 w 929"/>
                <a:gd name="T115" fmla="*/ 208751 h 507"/>
                <a:gd name="T116" fmla="*/ 82575 w 929"/>
                <a:gd name="T117" fmla="*/ 220732 h 50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29" h="507">
                  <a:moveTo>
                    <a:pt x="167" y="0"/>
                  </a:moveTo>
                  <a:lnTo>
                    <a:pt x="217" y="0"/>
                  </a:lnTo>
                  <a:lnTo>
                    <a:pt x="226" y="1"/>
                  </a:lnTo>
                  <a:lnTo>
                    <a:pt x="236" y="3"/>
                  </a:lnTo>
                  <a:lnTo>
                    <a:pt x="246" y="8"/>
                  </a:lnTo>
                  <a:lnTo>
                    <a:pt x="253" y="14"/>
                  </a:lnTo>
                  <a:lnTo>
                    <a:pt x="259" y="22"/>
                  </a:lnTo>
                  <a:lnTo>
                    <a:pt x="264" y="31"/>
                  </a:lnTo>
                  <a:lnTo>
                    <a:pt x="267" y="40"/>
                  </a:lnTo>
                  <a:lnTo>
                    <a:pt x="268" y="51"/>
                  </a:lnTo>
                  <a:lnTo>
                    <a:pt x="268" y="455"/>
                  </a:lnTo>
                  <a:lnTo>
                    <a:pt x="267" y="465"/>
                  </a:lnTo>
                  <a:lnTo>
                    <a:pt x="264" y="475"/>
                  </a:lnTo>
                  <a:lnTo>
                    <a:pt x="259" y="484"/>
                  </a:lnTo>
                  <a:lnTo>
                    <a:pt x="253" y="491"/>
                  </a:lnTo>
                  <a:lnTo>
                    <a:pt x="246" y="497"/>
                  </a:lnTo>
                  <a:lnTo>
                    <a:pt x="236" y="502"/>
                  </a:lnTo>
                  <a:lnTo>
                    <a:pt x="226" y="506"/>
                  </a:lnTo>
                  <a:lnTo>
                    <a:pt x="217" y="507"/>
                  </a:lnTo>
                  <a:lnTo>
                    <a:pt x="167" y="507"/>
                  </a:lnTo>
                  <a:lnTo>
                    <a:pt x="158" y="506"/>
                  </a:lnTo>
                  <a:lnTo>
                    <a:pt x="148" y="502"/>
                  </a:lnTo>
                  <a:lnTo>
                    <a:pt x="139" y="497"/>
                  </a:lnTo>
                  <a:lnTo>
                    <a:pt x="131" y="491"/>
                  </a:lnTo>
                  <a:lnTo>
                    <a:pt x="125" y="484"/>
                  </a:lnTo>
                  <a:lnTo>
                    <a:pt x="121" y="475"/>
                  </a:lnTo>
                  <a:lnTo>
                    <a:pt x="117" y="465"/>
                  </a:lnTo>
                  <a:lnTo>
                    <a:pt x="116" y="455"/>
                  </a:lnTo>
                  <a:lnTo>
                    <a:pt x="116" y="51"/>
                  </a:lnTo>
                  <a:lnTo>
                    <a:pt x="117" y="40"/>
                  </a:lnTo>
                  <a:lnTo>
                    <a:pt x="121" y="31"/>
                  </a:lnTo>
                  <a:lnTo>
                    <a:pt x="125" y="22"/>
                  </a:lnTo>
                  <a:lnTo>
                    <a:pt x="131" y="14"/>
                  </a:lnTo>
                  <a:lnTo>
                    <a:pt x="139" y="8"/>
                  </a:lnTo>
                  <a:lnTo>
                    <a:pt x="148" y="3"/>
                  </a:lnTo>
                  <a:lnTo>
                    <a:pt x="158" y="1"/>
                  </a:lnTo>
                  <a:lnTo>
                    <a:pt x="167" y="0"/>
                  </a:lnTo>
                  <a:close/>
                  <a:moveTo>
                    <a:pt x="289" y="204"/>
                  </a:moveTo>
                  <a:lnTo>
                    <a:pt x="643" y="204"/>
                  </a:lnTo>
                  <a:lnTo>
                    <a:pt x="643" y="298"/>
                  </a:lnTo>
                  <a:lnTo>
                    <a:pt x="289" y="298"/>
                  </a:lnTo>
                  <a:lnTo>
                    <a:pt x="289" y="204"/>
                  </a:lnTo>
                  <a:close/>
                  <a:moveTo>
                    <a:pt x="892" y="73"/>
                  </a:moveTo>
                  <a:lnTo>
                    <a:pt x="857" y="73"/>
                  </a:lnTo>
                  <a:lnTo>
                    <a:pt x="850" y="74"/>
                  </a:lnTo>
                  <a:lnTo>
                    <a:pt x="844" y="76"/>
                  </a:lnTo>
                  <a:lnTo>
                    <a:pt x="838" y="80"/>
                  </a:lnTo>
                  <a:lnTo>
                    <a:pt x="832" y="84"/>
                  </a:lnTo>
                  <a:lnTo>
                    <a:pt x="827" y="90"/>
                  </a:lnTo>
                  <a:lnTo>
                    <a:pt x="825" y="96"/>
                  </a:lnTo>
                  <a:lnTo>
                    <a:pt x="822" y="103"/>
                  </a:lnTo>
                  <a:lnTo>
                    <a:pt x="821" y="110"/>
                  </a:lnTo>
                  <a:lnTo>
                    <a:pt x="821" y="396"/>
                  </a:lnTo>
                  <a:lnTo>
                    <a:pt x="822" y="403"/>
                  </a:lnTo>
                  <a:lnTo>
                    <a:pt x="825" y="411"/>
                  </a:lnTo>
                  <a:lnTo>
                    <a:pt x="827" y="417"/>
                  </a:lnTo>
                  <a:lnTo>
                    <a:pt x="832" y="421"/>
                  </a:lnTo>
                  <a:lnTo>
                    <a:pt x="838" y="426"/>
                  </a:lnTo>
                  <a:lnTo>
                    <a:pt x="844" y="430"/>
                  </a:lnTo>
                  <a:lnTo>
                    <a:pt x="850" y="431"/>
                  </a:lnTo>
                  <a:lnTo>
                    <a:pt x="857" y="432"/>
                  </a:lnTo>
                  <a:lnTo>
                    <a:pt x="892" y="432"/>
                  </a:lnTo>
                  <a:lnTo>
                    <a:pt x="899" y="431"/>
                  </a:lnTo>
                  <a:lnTo>
                    <a:pt x="907" y="430"/>
                  </a:lnTo>
                  <a:lnTo>
                    <a:pt x="913" y="426"/>
                  </a:lnTo>
                  <a:lnTo>
                    <a:pt x="919" y="421"/>
                  </a:lnTo>
                  <a:lnTo>
                    <a:pt x="922" y="417"/>
                  </a:lnTo>
                  <a:lnTo>
                    <a:pt x="926" y="411"/>
                  </a:lnTo>
                  <a:lnTo>
                    <a:pt x="928" y="403"/>
                  </a:lnTo>
                  <a:lnTo>
                    <a:pt x="929" y="396"/>
                  </a:lnTo>
                  <a:lnTo>
                    <a:pt x="929" y="110"/>
                  </a:lnTo>
                  <a:lnTo>
                    <a:pt x="928" y="103"/>
                  </a:lnTo>
                  <a:lnTo>
                    <a:pt x="926" y="96"/>
                  </a:lnTo>
                  <a:lnTo>
                    <a:pt x="922" y="90"/>
                  </a:lnTo>
                  <a:lnTo>
                    <a:pt x="919" y="84"/>
                  </a:lnTo>
                  <a:lnTo>
                    <a:pt x="913" y="80"/>
                  </a:lnTo>
                  <a:lnTo>
                    <a:pt x="907" y="76"/>
                  </a:lnTo>
                  <a:lnTo>
                    <a:pt x="899" y="74"/>
                  </a:lnTo>
                  <a:lnTo>
                    <a:pt x="892" y="73"/>
                  </a:lnTo>
                  <a:close/>
                  <a:moveTo>
                    <a:pt x="875" y="414"/>
                  </a:moveTo>
                  <a:lnTo>
                    <a:pt x="875" y="414"/>
                  </a:lnTo>
                  <a:lnTo>
                    <a:pt x="881" y="409"/>
                  </a:lnTo>
                  <a:lnTo>
                    <a:pt x="885" y="402"/>
                  </a:lnTo>
                  <a:lnTo>
                    <a:pt x="889" y="395"/>
                  </a:lnTo>
                  <a:lnTo>
                    <a:pt x="889" y="388"/>
                  </a:lnTo>
                  <a:lnTo>
                    <a:pt x="889" y="106"/>
                  </a:lnTo>
                  <a:lnTo>
                    <a:pt x="889" y="99"/>
                  </a:lnTo>
                  <a:lnTo>
                    <a:pt x="886" y="93"/>
                  </a:lnTo>
                  <a:lnTo>
                    <a:pt x="892" y="96"/>
                  </a:lnTo>
                  <a:lnTo>
                    <a:pt x="896" y="98"/>
                  </a:lnTo>
                  <a:lnTo>
                    <a:pt x="901" y="102"/>
                  </a:lnTo>
                  <a:lnTo>
                    <a:pt x="904" y="105"/>
                  </a:lnTo>
                  <a:lnTo>
                    <a:pt x="907" y="110"/>
                  </a:lnTo>
                  <a:lnTo>
                    <a:pt x="909" y="115"/>
                  </a:lnTo>
                  <a:lnTo>
                    <a:pt x="910" y="120"/>
                  </a:lnTo>
                  <a:lnTo>
                    <a:pt x="910" y="126"/>
                  </a:lnTo>
                  <a:lnTo>
                    <a:pt x="910" y="382"/>
                  </a:lnTo>
                  <a:lnTo>
                    <a:pt x="910" y="388"/>
                  </a:lnTo>
                  <a:lnTo>
                    <a:pt x="908" y="394"/>
                  </a:lnTo>
                  <a:lnTo>
                    <a:pt x="905" y="400"/>
                  </a:lnTo>
                  <a:lnTo>
                    <a:pt x="901" y="405"/>
                  </a:lnTo>
                  <a:lnTo>
                    <a:pt x="896" y="408"/>
                  </a:lnTo>
                  <a:lnTo>
                    <a:pt x="891" y="412"/>
                  </a:lnTo>
                  <a:lnTo>
                    <a:pt x="885" y="413"/>
                  </a:lnTo>
                  <a:lnTo>
                    <a:pt x="878" y="414"/>
                  </a:lnTo>
                  <a:lnTo>
                    <a:pt x="875" y="414"/>
                  </a:lnTo>
                  <a:close/>
                  <a:moveTo>
                    <a:pt x="761" y="0"/>
                  </a:moveTo>
                  <a:lnTo>
                    <a:pt x="712" y="0"/>
                  </a:lnTo>
                  <a:lnTo>
                    <a:pt x="702" y="1"/>
                  </a:lnTo>
                  <a:lnTo>
                    <a:pt x="693" y="3"/>
                  </a:lnTo>
                  <a:lnTo>
                    <a:pt x="683" y="8"/>
                  </a:lnTo>
                  <a:lnTo>
                    <a:pt x="676" y="14"/>
                  </a:lnTo>
                  <a:lnTo>
                    <a:pt x="670" y="22"/>
                  </a:lnTo>
                  <a:lnTo>
                    <a:pt x="665" y="31"/>
                  </a:lnTo>
                  <a:lnTo>
                    <a:pt x="661" y="40"/>
                  </a:lnTo>
                  <a:lnTo>
                    <a:pt x="660" y="51"/>
                  </a:lnTo>
                  <a:lnTo>
                    <a:pt x="660" y="455"/>
                  </a:lnTo>
                  <a:lnTo>
                    <a:pt x="661" y="465"/>
                  </a:lnTo>
                  <a:lnTo>
                    <a:pt x="665" y="475"/>
                  </a:lnTo>
                  <a:lnTo>
                    <a:pt x="670" y="484"/>
                  </a:lnTo>
                  <a:lnTo>
                    <a:pt x="676" y="491"/>
                  </a:lnTo>
                  <a:lnTo>
                    <a:pt x="683" y="497"/>
                  </a:lnTo>
                  <a:lnTo>
                    <a:pt x="693" y="502"/>
                  </a:lnTo>
                  <a:lnTo>
                    <a:pt x="702" y="506"/>
                  </a:lnTo>
                  <a:lnTo>
                    <a:pt x="712" y="507"/>
                  </a:lnTo>
                  <a:lnTo>
                    <a:pt x="761" y="507"/>
                  </a:lnTo>
                  <a:lnTo>
                    <a:pt x="772" y="506"/>
                  </a:lnTo>
                  <a:lnTo>
                    <a:pt x="782" y="502"/>
                  </a:lnTo>
                  <a:lnTo>
                    <a:pt x="790" y="497"/>
                  </a:lnTo>
                  <a:lnTo>
                    <a:pt x="797" y="491"/>
                  </a:lnTo>
                  <a:lnTo>
                    <a:pt x="804" y="484"/>
                  </a:lnTo>
                  <a:lnTo>
                    <a:pt x="809" y="475"/>
                  </a:lnTo>
                  <a:lnTo>
                    <a:pt x="812" y="465"/>
                  </a:lnTo>
                  <a:lnTo>
                    <a:pt x="813" y="455"/>
                  </a:lnTo>
                  <a:lnTo>
                    <a:pt x="813" y="51"/>
                  </a:lnTo>
                  <a:lnTo>
                    <a:pt x="812" y="40"/>
                  </a:lnTo>
                  <a:lnTo>
                    <a:pt x="809" y="31"/>
                  </a:lnTo>
                  <a:lnTo>
                    <a:pt x="804" y="22"/>
                  </a:lnTo>
                  <a:lnTo>
                    <a:pt x="797" y="14"/>
                  </a:lnTo>
                  <a:lnTo>
                    <a:pt x="790" y="8"/>
                  </a:lnTo>
                  <a:lnTo>
                    <a:pt x="782" y="3"/>
                  </a:lnTo>
                  <a:lnTo>
                    <a:pt x="772" y="1"/>
                  </a:lnTo>
                  <a:lnTo>
                    <a:pt x="761" y="0"/>
                  </a:lnTo>
                  <a:close/>
                  <a:moveTo>
                    <a:pt x="737" y="480"/>
                  </a:moveTo>
                  <a:lnTo>
                    <a:pt x="737" y="480"/>
                  </a:lnTo>
                  <a:lnTo>
                    <a:pt x="746" y="473"/>
                  </a:lnTo>
                  <a:lnTo>
                    <a:pt x="752" y="465"/>
                  </a:lnTo>
                  <a:lnTo>
                    <a:pt x="755" y="454"/>
                  </a:lnTo>
                  <a:lnTo>
                    <a:pt x="756" y="443"/>
                  </a:lnTo>
                  <a:lnTo>
                    <a:pt x="756" y="45"/>
                  </a:lnTo>
                  <a:lnTo>
                    <a:pt x="755" y="37"/>
                  </a:lnTo>
                  <a:lnTo>
                    <a:pt x="753" y="28"/>
                  </a:lnTo>
                  <a:lnTo>
                    <a:pt x="760" y="31"/>
                  </a:lnTo>
                  <a:lnTo>
                    <a:pt x="767" y="34"/>
                  </a:lnTo>
                  <a:lnTo>
                    <a:pt x="772" y="39"/>
                  </a:lnTo>
                  <a:lnTo>
                    <a:pt x="777" y="44"/>
                  </a:lnTo>
                  <a:lnTo>
                    <a:pt x="782" y="51"/>
                  </a:lnTo>
                  <a:lnTo>
                    <a:pt x="784" y="57"/>
                  </a:lnTo>
                  <a:lnTo>
                    <a:pt x="786" y="64"/>
                  </a:lnTo>
                  <a:lnTo>
                    <a:pt x="786" y="73"/>
                  </a:lnTo>
                  <a:lnTo>
                    <a:pt x="786" y="435"/>
                  </a:lnTo>
                  <a:lnTo>
                    <a:pt x="786" y="444"/>
                  </a:lnTo>
                  <a:lnTo>
                    <a:pt x="783" y="453"/>
                  </a:lnTo>
                  <a:lnTo>
                    <a:pt x="779" y="460"/>
                  </a:lnTo>
                  <a:lnTo>
                    <a:pt x="773" y="467"/>
                  </a:lnTo>
                  <a:lnTo>
                    <a:pt x="766" y="473"/>
                  </a:lnTo>
                  <a:lnTo>
                    <a:pt x="759" y="477"/>
                  </a:lnTo>
                  <a:lnTo>
                    <a:pt x="750" y="479"/>
                  </a:lnTo>
                  <a:lnTo>
                    <a:pt x="741" y="480"/>
                  </a:lnTo>
                  <a:lnTo>
                    <a:pt x="737" y="480"/>
                  </a:lnTo>
                  <a:close/>
                  <a:moveTo>
                    <a:pt x="36" y="73"/>
                  </a:moveTo>
                  <a:lnTo>
                    <a:pt x="71" y="73"/>
                  </a:lnTo>
                  <a:lnTo>
                    <a:pt x="79" y="74"/>
                  </a:lnTo>
                  <a:lnTo>
                    <a:pt x="86" y="76"/>
                  </a:lnTo>
                  <a:lnTo>
                    <a:pt x="92" y="80"/>
                  </a:lnTo>
                  <a:lnTo>
                    <a:pt x="97" y="84"/>
                  </a:lnTo>
                  <a:lnTo>
                    <a:pt x="101" y="90"/>
                  </a:lnTo>
                  <a:lnTo>
                    <a:pt x="105" y="96"/>
                  </a:lnTo>
                  <a:lnTo>
                    <a:pt x="107" y="103"/>
                  </a:lnTo>
                  <a:lnTo>
                    <a:pt x="107" y="110"/>
                  </a:lnTo>
                  <a:lnTo>
                    <a:pt x="107" y="396"/>
                  </a:lnTo>
                  <a:lnTo>
                    <a:pt x="107" y="403"/>
                  </a:lnTo>
                  <a:lnTo>
                    <a:pt x="105" y="411"/>
                  </a:lnTo>
                  <a:lnTo>
                    <a:pt x="101" y="417"/>
                  </a:lnTo>
                  <a:lnTo>
                    <a:pt x="97" y="421"/>
                  </a:lnTo>
                  <a:lnTo>
                    <a:pt x="92" y="426"/>
                  </a:lnTo>
                  <a:lnTo>
                    <a:pt x="86" y="430"/>
                  </a:lnTo>
                  <a:lnTo>
                    <a:pt x="79" y="431"/>
                  </a:lnTo>
                  <a:lnTo>
                    <a:pt x="71" y="432"/>
                  </a:lnTo>
                  <a:lnTo>
                    <a:pt x="36" y="432"/>
                  </a:lnTo>
                  <a:lnTo>
                    <a:pt x="29" y="431"/>
                  </a:lnTo>
                  <a:lnTo>
                    <a:pt x="22" y="430"/>
                  </a:lnTo>
                  <a:lnTo>
                    <a:pt x="16" y="426"/>
                  </a:lnTo>
                  <a:lnTo>
                    <a:pt x="11" y="421"/>
                  </a:lnTo>
                  <a:lnTo>
                    <a:pt x="6" y="417"/>
                  </a:lnTo>
                  <a:lnTo>
                    <a:pt x="3" y="411"/>
                  </a:lnTo>
                  <a:lnTo>
                    <a:pt x="0" y="403"/>
                  </a:lnTo>
                  <a:lnTo>
                    <a:pt x="0" y="396"/>
                  </a:lnTo>
                  <a:lnTo>
                    <a:pt x="0" y="110"/>
                  </a:lnTo>
                  <a:lnTo>
                    <a:pt x="0" y="103"/>
                  </a:lnTo>
                  <a:lnTo>
                    <a:pt x="3" y="96"/>
                  </a:lnTo>
                  <a:lnTo>
                    <a:pt x="6" y="90"/>
                  </a:lnTo>
                  <a:lnTo>
                    <a:pt x="11" y="84"/>
                  </a:lnTo>
                  <a:lnTo>
                    <a:pt x="16" y="80"/>
                  </a:lnTo>
                  <a:lnTo>
                    <a:pt x="22" y="76"/>
                  </a:lnTo>
                  <a:lnTo>
                    <a:pt x="29" y="74"/>
                  </a:lnTo>
                  <a:lnTo>
                    <a:pt x="36" y="73"/>
                  </a:lnTo>
                  <a:close/>
                  <a:moveTo>
                    <a:pt x="53" y="414"/>
                  </a:moveTo>
                  <a:lnTo>
                    <a:pt x="53" y="414"/>
                  </a:lnTo>
                  <a:lnTo>
                    <a:pt x="47" y="409"/>
                  </a:lnTo>
                  <a:lnTo>
                    <a:pt x="44" y="402"/>
                  </a:lnTo>
                  <a:lnTo>
                    <a:pt x="41" y="395"/>
                  </a:lnTo>
                  <a:lnTo>
                    <a:pt x="40" y="388"/>
                  </a:lnTo>
                  <a:lnTo>
                    <a:pt x="40" y="106"/>
                  </a:lnTo>
                  <a:lnTo>
                    <a:pt x="40" y="99"/>
                  </a:lnTo>
                  <a:lnTo>
                    <a:pt x="42" y="93"/>
                  </a:lnTo>
                  <a:lnTo>
                    <a:pt x="38" y="96"/>
                  </a:lnTo>
                  <a:lnTo>
                    <a:pt x="33" y="98"/>
                  </a:lnTo>
                  <a:lnTo>
                    <a:pt x="28" y="102"/>
                  </a:lnTo>
                  <a:lnTo>
                    <a:pt x="26" y="105"/>
                  </a:lnTo>
                  <a:lnTo>
                    <a:pt x="22" y="110"/>
                  </a:lnTo>
                  <a:lnTo>
                    <a:pt x="20" y="115"/>
                  </a:lnTo>
                  <a:lnTo>
                    <a:pt x="18" y="120"/>
                  </a:lnTo>
                  <a:lnTo>
                    <a:pt x="18" y="126"/>
                  </a:lnTo>
                  <a:lnTo>
                    <a:pt x="18" y="382"/>
                  </a:lnTo>
                  <a:lnTo>
                    <a:pt x="18" y="388"/>
                  </a:lnTo>
                  <a:lnTo>
                    <a:pt x="21" y="394"/>
                  </a:lnTo>
                  <a:lnTo>
                    <a:pt x="24" y="400"/>
                  </a:lnTo>
                  <a:lnTo>
                    <a:pt x="28" y="405"/>
                  </a:lnTo>
                  <a:lnTo>
                    <a:pt x="33" y="408"/>
                  </a:lnTo>
                  <a:lnTo>
                    <a:pt x="39" y="412"/>
                  </a:lnTo>
                  <a:lnTo>
                    <a:pt x="45" y="413"/>
                  </a:lnTo>
                  <a:lnTo>
                    <a:pt x="51" y="414"/>
                  </a:lnTo>
                  <a:lnTo>
                    <a:pt x="53" y="414"/>
                  </a:lnTo>
                  <a:close/>
                  <a:moveTo>
                    <a:pt x="191" y="480"/>
                  </a:moveTo>
                  <a:lnTo>
                    <a:pt x="191" y="480"/>
                  </a:lnTo>
                  <a:lnTo>
                    <a:pt x="183" y="473"/>
                  </a:lnTo>
                  <a:lnTo>
                    <a:pt x="177" y="465"/>
                  </a:lnTo>
                  <a:lnTo>
                    <a:pt x="173" y="454"/>
                  </a:lnTo>
                  <a:lnTo>
                    <a:pt x="172" y="443"/>
                  </a:lnTo>
                  <a:lnTo>
                    <a:pt x="172" y="45"/>
                  </a:lnTo>
                  <a:lnTo>
                    <a:pt x="173" y="37"/>
                  </a:lnTo>
                  <a:lnTo>
                    <a:pt x="176" y="28"/>
                  </a:lnTo>
                  <a:lnTo>
                    <a:pt x="169" y="31"/>
                  </a:lnTo>
                  <a:lnTo>
                    <a:pt x="163" y="34"/>
                  </a:lnTo>
                  <a:lnTo>
                    <a:pt x="157" y="39"/>
                  </a:lnTo>
                  <a:lnTo>
                    <a:pt x="152" y="44"/>
                  </a:lnTo>
                  <a:lnTo>
                    <a:pt x="147" y="51"/>
                  </a:lnTo>
                  <a:lnTo>
                    <a:pt x="145" y="57"/>
                  </a:lnTo>
                  <a:lnTo>
                    <a:pt x="142" y="64"/>
                  </a:lnTo>
                  <a:lnTo>
                    <a:pt x="142" y="73"/>
                  </a:lnTo>
                  <a:lnTo>
                    <a:pt x="142" y="435"/>
                  </a:lnTo>
                  <a:lnTo>
                    <a:pt x="143" y="444"/>
                  </a:lnTo>
                  <a:lnTo>
                    <a:pt x="146" y="453"/>
                  </a:lnTo>
                  <a:lnTo>
                    <a:pt x="149" y="460"/>
                  </a:lnTo>
                  <a:lnTo>
                    <a:pt x="155" y="467"/>
                  </a:lnTo>
                  <a:lnTo>
                    <a:pt x="163" y="473"/>
                  </a:lnTo>
                  <a:lnTo>
                    <a:pt x="170" y="477"/>
                  </a:lnTo>
                  <a:lnTo>
                    <a:pt x="179" y="479"/>
                  </a:lnTo>
                  <a:lnTo>
                    <a:pt x="188" y="480"/>
                  </a:lnTo>
                  <a:lnTo>
                    <a:pt x="191" y="4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16" name="Group 156"/>
          <p:cNvGrpSpPr>
            <a:grpSpLocks noChangeAspect="1"/>
          </p:cNvGrpSpPr>
          <p:nvPr/>
        </p:nvGrpSpPr>
        <p:grpSpPr bwMode="auto">
          <a:xfrm>
            <a:off x="250825" y="4857750"/>
            <a:ext cx="252413" cy="250825"/>
            <a:chOff x="1320817" y="3032119"/>
            <a:chExt cx="612775" cy="612775"/>
          </a:xfrm>
        </p:grpSpPr>
        <p:sp>
          <p:nvSpPr>
            <p:cNvPr id="131" name="Oval 130">
              <a:extLst>
                <a:ext uri="{FF2B5EF4-FFF2-40B4-BE49-F238E27FC236}"/>
              </a:extLst>
            </p:cNvPr>
            <p:cNvSpPr/>
            <p:nvPr/>
          </p:nvSpPr>
          <p:spPr bwMode="ltGray">
            <a:xfrm>
              <a:off x="1320817" y="3032119"/>
              <a:ext cx="612775" cy="612775"/>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32" name="Freeform 7">
              <a:extLst>
                <a:ext uri="{FF2B5EF4-FFF2-40B4-BE49-F238E27FC236}"/>
              </a:extLst>
            </p:cNvPr>
            <p:cNvSpPr>
              <a:spLocks noEditPoints="1"/>
            </p:cNvSpPr>
            <p:nvPr/>
          </p:nvSpPr>
          <p:spPr bwMode="auto">
            <a:xfrm>
              <a:off x="1401751" y="3078659"/>
              <a:ext cx="489447" cy="515818"/>
            </a:xfrm>
            <a:custGeom>
              <a:avLst/>
              <a:gdLst>
                <a:gd name="T0" fmla="*/ 454351 w 2758"/>
                <a:gd name="T1" fmla="*/ 310591 h 2898"/>
                <a:gd name="T2" fmla="*/ 436603 w 2758"/>
                <a:gd name="T3" fmla="*/ 385488 h 2898"/>
                <a:gd name="T4" fmla="*/ 422404 w 2758"/>
                <a:gd name="T5" fmla="*/ 384068 h 2898"/>
                <a:gd name="T6" fmla="*/ 294973 w 2758"/>
                <a:gd name="T7" fmla="*/ 91935 h 2898"/>
                <a:gd name="T8" fmla="*/ 264801 w 2758"/>
                <a:gd name="T9" fmla="*/ 100809 h 2898"/>
                <a:gd name="T10" fmla="*/ 253088 w 2758"/>
                <a:gd name="T11" fmla="*/ 459675 h 2898"/>
                <a:gd name="T12" fmla="*/ 248118 w 2758"/>
                <a:gd name="T13" fmla="*/ 387263 h 2898"/>
                <a:gd name="T14" fmla="*/ 237469 w 2758"/>
                <a:gd name="T15" fmla="*/ 140565 h 2898"/>
                <a:gd name="T16" fmla="*/ 194874 w 2758"/>
                <a:gd name="T17" fmla="*/ 125301 h 2898"/>
                <a:gd name="T18" fmla="*/ 173931 w 2758"/>
                <a:gd name="T19" fmla="*/ 102939 h 2898"/>
                <a:gd name="T20" fmla="*/ 172511 w 2758"/>
                <a:gd name="T21" fmla="*/ 0 h 2898"/>
                <a:gd name="T22" fmla="*/ 170027 w 2758"/>
                <a:gd name="T23" fmla="*/ 98679 h 2898"/>
                <a:gd name="T24" fmla="*/ 164347 w 2758"/>
                <a:gd name="T25" fmla="*/ 106843 h 2898"/>
                <a:gd name="T26" fmla="*/ 139500 w 2758"/>
                <a:gd name="T27" fmla="*/ 135240 h 2898"/>
                <a:gd name="T28" fmla="*/ 121042 w 2758"/>
                <a:gd name="T29" fmla="*/ 137370 h 2898"/>
                <a:gd name="T30" fmla="*/ 95130 w 2758"/>
                <a:gd name="T31" fmla="*/ 139855 h 2898"/>
                <a:gd name="T32" fmla="*/ 84836 w 2758"/>
                <a:gd name="T33" fmla="*/ 370225 h 2898"/>
                <a:gd name="T34" fmla="*/ 83416 w 2758"/>
                <a:gd name="T35" fmla="*/ 363480 h 2898"/>
                <a:gd name="T36" fmla="*/ 9584 w 2758"/>
                <a:gd name="T37" fmla="*/ 408206 h 2898"/>
                <a:gd name="T38" fmla="*/ 55019 w 2758"/>
                <a:gd name="T39" fmla="*/ 454705 h 2898"/>
                <a:gd name="T40" fmla="*/ 110393 w 2758"/>
                <a:gd name="T41" fmla="*/ 489137 h 2898"/>
                <a:gd name="T42" fmla="*/ 173931 w 2758"/>
                <a:gd name="T43" fmla="*/ 509725 h 2898"/>
                <a:gd name="T44" fmla="*/ 237114 w 2758"/>
                <a:gd name="T45" fmla="*/ 514339 h 2898"/>
                <a:gd name="T46" fmla="*/ 326210 w 2758"/>
                <a:gd name="T47" fmla="*/ 495171 h 2898"/>
                <a:gd name="T48" fmla="*/ 402171 w 2758"/>
                <a:gd name="T49" fmla="*/ 449026 h 2898"/>
                <a:gd name="T50" fmla="*/ 458965 w 2758"/>
                <a:gd name="T51" fmla="*/ 381583 h 2898"/>
                <a:gd name="T52" fmla="*/ 488782 w 2758"/>
                <a:gd name="T53" fmla="*/ 309526 h 2898"/>
                <a:gd name="T54" fmla="*/ 180320 w 2758"/>
                <a:gd name="T55" fmla="*/ 115717 h 2898"/>
                <a:gd name="T56" fmla="*/ 172511 w 2758"/>
                <a:gd name="T57" fmla="*/ 109683 h 2898"/>
                <a:gd name="T58" fmla="*/ 118912 w 2758"/>
                <a:gd name="T59" fmla="*/ 341473 h 2898"/>
                <a:gd name="T60" fmla="*/ 142340 w 2758"/>
                <a:gd name="T61" fmla="*/ 283969 h 2898"/>
                <a:gd name="T62" fmla="*/ 142340 w 2758"/>
                <a:gd name="T63" fmla="*/ 220076 h 2898"/>
                <a:gd name="T64" fmla="*/ 153343 w 2758"/>
                <a:gd name="T65" fmla="*/ 123527 h 2898"/>
                <a:gd name="T66" fmla="*/ 167187 w 2758"/>
                <a:gd name="T67" fmla="*/ 130626 h 2898"/>
                <a:gd name="T68" fmla="*/ 144469 w 2758"/>
                <a:gd name="T69" fmla="*/ 133111 h 2898"/>
                <a:gd name="T70" fmla="*/ 158668 w 2758"/>
                <a:gd name="T71" fmla="*/ 422404 h 2898"/>
                <a:gd name="T72" fmla="*/ 182095 w 2758"/>
                <a:gd name="T73" fmla="*/ 364900 h 2898"/>
                <a:gd name="T74" fmla="*/ 182095 w 2758"/>
                <a:gd name="T75" fmla="*/ 301007 h 2898"/>
                <a:gd name="T76" fmla="*/ 158668 w 2758"/>
                <a:gd name="T77" fmla="*/ 243503 h 2898"/>
                <a:gd name="T78" fmla="*/ 182095 w 2758"/>
                <a:gd name="T79" fmla="*/ 203038 h 2898"/>
                <a:gd name="T80" fmla="*/ 198424 w 2758"/>
                <a:gd name="T81" fmla="*/ 341473 h 2898"/>
                <a:gd name="T82" fmla="*/ 222206 w 2758"/>
                <a:gd name="T83" fmla="*/ 283969 h 2898"/>
                <a:gd name="T84" fmla="*/ 222206 w 2758"/>
                <a:gd name="T85" fmla="*/ 220076 h 2898"/>
                <a:gd name="T86" fmla="*/ 282904 w 2758"/>
                <a:gd name="T87" fmla="*/ 405366 h 2898"/>
                <a:gd name="T88" fmla="*/ 306332 w 2758"/>
                <a:gd name="T89" fmla="*/ 364900 h 2898"/>
                <a:gd name="T90" fmla="*/ 282904 w 2758"/>
                <a:gd name="T91" fmla="*/ 260542 h 2898"/>
                <a:gd name="T92" fmla="*/ 306332 w 2758"/>
                <a:gd name="T93" fmla="*/ 203038 h 2898"/>
                <a:gd name="T94" fmla="*/ 306332 w 2758"/>
                <a:gd name="T95" fmla="*/ 138790 h 2898"/>
                <a:gd name="T96" fmla="*/ 322660 w 2758"/>
                <a:gd name="T97" fmla="*/ 405366 h 2898"/>
                <a:gd name="T98" fmla="*/ 346088 w 2758"/>
                <a:gd name="T99" fmla="*/ 364900 h 2898"/>
                <a:gd name="T100" fmla="*/ 322660 w 2758"/>
                <a:gd name="T101" fmla="*/ 260542 h 2898"/>
                <a:gd name="T102" fmla="*/ 346088 w 2758"/>
                <a:gd name="T103" fmla="*/ 203038 h 2898"/>
                <a:gd name="T104" fmla="*/ 346088 w 2758"/>
                <a:gd name="T105" fmla="*/ 138790 h 2898"/>
                <a:gd name="T106" fmla="*/ 362416 w 2758"/>
                <a:gd name="T107" fmla="*/ 364900 h 2898"/>
                <a:gd name="T108" fmla="*/ 386198 w 2758"/>
                <a:gd name="T109" fmla="*/ 324435 h 2898"/>
                <a:gd name="T110" fmla="*/ 362416 w 2758"/>
                <a:gd name="T111" fmla="*/ 220076 h 2898"/>
                <a:gd name="T112" fmla="*/ 386198 w 2758"/>
                <a:gd name="T113" fmla="*/ 162572 h 28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58" h="2898">
                  <a:moveTo>
                    <a:pt x="2758" y="1692"/>
                  </a:moveTo>
                  <a:lnTo>
                    <a:pt x="2758" y="1692"/>
                  </a:lnTo>
                  <a:lnTo>
                    <a:pt x="2562" y="1692"/>
                  </a:lnTo>
                  <a:lnTo>
                    <a:pt x="2564" y="1730"/>
                  </a:lnTo>
                  <a:lnTo>
                    <a:pt x="2564" y="1738"/>
                  </a:lnTo>
                  <a:lnTo>
                    <a:pt x="2562" y="1744"/>
                  </a:lnTo>
                  <a:lnTo>
                    <a:pt x="2560" y="1750"/>
                  </a:lnTo>
                  <a:lnTo>
                    <a:pt x="2556" y="1754"/>
                  </a:lnTo>
                  <a:lnTo>
                    <a:pt x="2468" y="1754"/>
                  </a:lnTo>
                  <a:lnTo>
                    <a:pt x="2464" y="1856"/>
                  </a:lnTo>
                  <a:lnTo>
                    <a:pt x="2464" y="1960"/>
                  </a:lnTo>
                  <a:lnTo>
                    <a:pt x="2464" y="2066"/>
                  </a:lnTo>
                  <a:lnTo>
                    <a:pt x="2460" y="2172"/>
                  </a:lnTo>
                  <a:lnTo>
                    <a:pt x="2452" y="2170"/>
                  </a:lnTo>
                  <a:lnTo>
                    <a:pt x="2442" y="2170"/>
                  </a:lnTo>
                  <a:lnTo>
                    <a:pt x="2418" y="2170"/>
                  </a:lnTo>
                  <a:lnTo>
                    <a:pt x="2406" y="2172"/>
                  </a:lnTo>
                  <a:lnTo>
                    <a:pt x="2396" y="2170"/>
                  </a:lnTo>
                  <a:lnTo>
                    <a:pt x="2388" y="2168"/>
                  </a:lnTo>
                  <a:lnTo>
                    <a:pt x="2380" y="2164"/>
                  </a:lnTo>
                  <a:lnTo>
                    <a:pt x="2380" y="572"/>
                  </a:lnTo>
                  <a:lnTo>
                    <a:pt x="1670" y="572"/>
                  </a:lnTo>
                  <a:lnTo>
                    <a:pt x="1668" y="540"/>
                  </a:lnTo>
                  <a:lnTo>
                    <a:pt x="1666" y="526"/>
                  </a:lnTo>
                  <a:lnTo>
                    <a:pt x="1662" y="518"/>
                  </a:lnTo>
                  <a:lnTo>
                    <a:pt x="1496" y="518"/>
                  </a:lnTo>
                  <a:lnTo>
                    <a:pt x="1494" y="522"/>
                  </a:lnTo>
                  <a:lnTo>
                    <a:pt x="1494" y="528"/>
                  </a:lnTo>
                  <a:lnTo>
                    <a:pt x="1494" y="546"/>
                  </a:lnTo>
                  <a:lnTo>
                    <a:pt x="1494" y="562"/>
                  </a:lnTo>
                  <a:lnTo>
                    <a:pt x="1492" y="568"/>
                  </a:lnTo>
                  <a:lnTo>
                    <a:pt x="1488" y="572"/>
                  </a:lnTo>
                  <a:lnTo>
                    <a:pt x="1422" y="572"/>
                  </a:lnTo>
                  <a:lnTo>
                    <a:pt x="1422" y="2520"/>
                  </a:lnTo>
                  <a:lnTo>
                    <a:pt x="1424" y="2556"/>
                  </a:lnTo>
                  <a:lnTo>
                    <a:pt x="1426" y="2590"/>
                  </a:lnTo>
                  <a:lnTo>
                    <a:pt x="1426" y="2604"/>
                  </a:lnTo>
                  <a:lnTo>
                    <a:pt x="1422" y="2618"/>
                  </a:lnTo>
                  <a:lnTo>
                    <a:pt x="1418" y="2628"/>
                  </a:lnTo>
                  <a:lnTo>
                    <a:pt x="1414" y="2632"/>
                  </a:lnTo>
                  <a:lnTo>
                    <a:pt x="1408" y="2636"/>
                  </a:lnTo>
                  <a:lnTo>
                    <a:pt x="1402" y="2410"/>
                  </a:lnTo>
                  <a:lnTo>
                    <a:pt x="1398" y="2182"/>
                  </a:lnTo>
                  <a:lnTo>
                    <a:pt x="1398" y="1950"/>
                  </a:lnTo>
                  <a:lnTo>
                    <a:pt x="1398" y="1718"/>
                  </a:lnTo>
                  <a:lnTo>
                    <a:pt x="1402" y="1252"/>
                  </a:lnTo>
                  <a:lnTo>
                    <a:pt x="1402" y="1018"/>
                  </a:lnTo>
                  <a:lnTo>
                    <a:pt x="1400" y="788"/>
                  </a:lnTo>
                  <a:lnTo>
                    <a:pt x="1368" y="790"/>
                  </a:lnTo>
                  <a:lnTo>
                    <a:pt x="1338" y="792"/>
                  </a:lnTo>
                  <a:lnTo>
                    <a:pt x="1308" y="792"/>
                  </a:lnTo>
                  <a:lnTo>
                    <a:pt x="1280" y="790"/>
                  </a:lnTo>
                  <a:lnTo>
                    <a:pt x="1224" y="784"/>
                  </a:lnTo>
                  <a:lnTo>
                    <a:pt x="1168" y="774"/>
                  </a:lnTo>
                  <a:lnTo>
                    <a:pt x="1146" y="752"/>
                  </a:lnTo>
                  <a:lnTo>
                    <a:pt x="1122" y="730"/>
                  </a:lnTo>
                  <a:lnTo>
                    <a:pt x="1098" y="706"/>
                  </a:lnTo>
                  <a:lnTo>
                    <a:pt x="1086" y="694"/>
                  </a:lnTo>
                  <a:lnTo>
                    <a:pt x="1074" y="680"/>
                  </a:lnTo>
                  <a:lnTo>
                    <a:pt x="1052" y="660"/>
                  </a:lnTo>
                  <a:lnTo>
                    <a:pt x="1024" y="634"/>
                  </a:lnTo>
                  <a:lnTo>
                    <a:pt x="998" y="606"/>
                  </a:lnTo>
                  <a:lnTo>
                    <a:pt x="988" y="592"/>
                  </a:lnTo>
                  <a:lnTo>
                    <a:pt x="980" y="580"/>
                  </a:lnTo>
                  <a:lnTo>
                    <a:pt x="976" y="552"/>
                  </a:lnTo>
                  <a:lnTo>
                    <a:pt x="974" y="500"/>
                  </a:lnTo>
                  <a:lnTo>
                    <a:pt x="968" y="340"/>
                  </a:lnTo>
                  <a:lnTo>
                    <a:pt x="966" y="248"/>
                  </a:lnTo>
                  <a:lnTo>
                    <a:pt x="966" y="156"/>
                  </a:lnTo>
                  <a:lnTo>
                    <a:pt x="968" y="70"/>
                  </a:lnTo>
                  <a:lnTo>
                    <a:pt x="972" y="0"/>
                  </a:lnTo>
                  <a:lnTo>
                    <a:pt x="966" y="68"/>
                  </a:lnTo>
                  <a:lnTo>
                    <a:pt x="962" y="136"/>
                  </a:lnTo>
                  <a:lnTo>
                    <a:pt x="958" y="204"/>
                  </a:lnTo>
                  <a:lnTo>
                    <a:pt x="958" y="272"/>
                  </a:lnTo>
                  <a:lnTo>
                    <a:pt x="958" y="414"/>
                  </a:lnTo>
                  <a:lnTo>
                    <a:pt x="958" y="556"/>
                  </a:lnTo>
                  <a:lnTo>
                    <a:pt x="944" y="562"/>
                  </a:lnTo>
                  <a:lnTo>
                    <a:pt x="940" y="566"/>
                  </a:lnTo>
                  <a:lnTo>
                    <a:pt x="936" y="570"/>
                  </a:lnTo>
                  <a:lnTo>
                    <a:pt x="934" y="576"/>
                  </a:lnTo>
                  <a:lnTo>
                    <a:pt x="934" y="580"/>
                  </a:lnTo>
                  <a:lnTo>
                    <a:pt x="936" y="596"/>
                  </a:lnTo>
                  <a:lnTo>
                    <a:pt x="926" y="602"/>
                  </a:lnTo>
                  <a:lnTo>
                    <a:pt x="914" y="612"/>
                  </a:lnTo>
                  <a:lnTo>
                    <a:pt x="894" y="634"/>
                  </a:lnTo>
                  <a:lnTo>
                    <a:pt x="872" y="662"/>
                  </a:lnTo>
                  <a:lnTo>
                    <a:pt x="852" y="690"/>
                  </a:lnTo>
                  <a:lnTo>
                    <a:pt x="830" y="718"/>
                  </a:lnTo>
                  <a:lnTo>
                    <a:pt x="808" y="744"/>
                  </a:lnTo>
                  <a:lnTo>
                    <a:pt x="798" y="754"/>
                  </a:lnTo>
                  <a:lnTo>
                    <a:pt x="786" y="762"/>
                  </a:lnTo>
                  <a:lnTo>
                    <a:pt x="774" y="770"/>
                  </a:lnTo>
                  <a:lnTo>
                    <a:pt x="762" y="774"/>
                  </a:lnTo>
                  <a:lnTo>
                    <a:pt x="752" y="776"/>
                  </a:lnTo>
                  <a:lnTo>
                    <a:pt x="740" y="776"/>
                  </a:lnTo>
                  <a:lnTo>
                    <a:pt x="720" y="776"/>
                  </a:lnTo>
                  <a:lnTo>
                    <a:pt x="700" y="774"/>
                  </a:lnTo>
                  <a:lnTo>
                    <a:pt x="682" y="774"/>
                  </a:lnTo>
                  <a:lnTo>
                    <a:pt x="668" y="788"/>
                  </a:lnTo>
                  <a:lnTo>
                    <a:pt x="650" y="792"/>
                  </a:lnTo>
                  <a:lnTo>
                    <a:pt x="634" y="794"/>
                  </a:lnTo>
                  <a:lnTo>
                    <a:pt x="616" y="794"/>
                  </a:lnTo>
                  <a:lnTo>
                    <a:pt x="596" y="792"/>
                  </a:lnTo>
                  <a:lnTo>
                    <a:pt x="558" y="788"/>
                  </a:lnTo>
                  <a:lnTo>
                    <a:pt x="536" y="788"/>
                  </a:lnTo>
                  <a:lnTo>
                    <a:pt x="516" y="788"/>
                  </a:lnTo>
                  <a:lnTo>
                    <a:pt x="512" y="1114"/>
                  </a:lnTo>
                  <a:lnTo>
                    <a:pt x="512" y="1440"/>
                  </a:lnTo>
                  <a:lnTo>
                    <a:pt x="512" y="1766"/>
                  </a:lnTo>
                  <a:lnTo>
                    <a:pt x="508" y="2086"/>
                  </a:lnTo>
                  <a:lnTo>
                    <a:pt x="478" y="2086"/>
                  </a:lnTo>
                  <a:lnTo>
                    <a:pt x="476" y="2086"/>
                  </a:lnTo>
                  <a:lnTo>
                    <a:pt x="474" y="2084"/>
                  </a:lnTo>
                  <a:lnTo>
                    <a:pt x="474" y="2080"/>
                  </a:lnTo>
                  <a:lnTo>
                    <a:pt x="474" y="2064"/>
                  </a:lnTo>
                  <a:lnTo>
                    <a:pt x="474" y="2058"/>
                  </a:lnTo>
                  <a:lnTo>
                    <a:pt x="474" y="2050"/>
                  </a:lnTo>
                  <a:lnTo>
                    <a:pt x="470" y="2048"/>
                  </a:lnTo>
                  <a:lnTo>
                    <a:pt x="464" y="2048"/>
                  </a:lnTo>
                  <a:lnTo>
                    <a:pt x="0" y="2048"/>
                  </a:lnTo>
                  <a:lnTo>
                    <a:pt x="0" y="2226"/>
                  </a:lnTo>
                  <a:lnTo>
                    <a:pt x="26" y="2262"/>
                  </a:lnTo>
                  <a:lnTo>
                    <a:pt x="54" y="2300"/>
                  </a:lnTo>
                  <a:lnTo>
                    <a:pt x="82" y="2336"/>
                  </a:lnTo>
                  <a:lnTo>
                    <a:pt x="112" y="2370"/>
                  </a:lnTo>
                  <a:lnTo>
                    <a:pt x="142" y="2406"/>
                  </a:lnTo>
                  <a:lnTo>
                    <a:pt x="174" y="2438"/>
                  </a:lnTo>
                  <a:lnTo>
                    <a:pt x="206" y="2470"/>
                  </a:lnTo>
                  <a:lnTo>
                    <a:pt x="240" y="2502"/>
                  </a:lnTo>
                  <a:lnTo>
                    <a:pt x="274" y="2532"/>
                  </a:lnTo>
                  <a:lnTo>
                    <a:pt x="310" y="2562"/>
                  </a:lnTo>
                  <a:lnTo>
                    <a:pt x="346" y="2590"/>
                  </a:lnTo>
                  <a:lnTo>
                    <a:pt x="384" y="2616"/>
                  </a:lnTo>
                  <a:lnTo>
                    <a:pt x="422" y="2644"/>
                  </a:lnTo>
                  <a:lnTo>
                    <a:pt x="460" y="2668"/>
                  </a:lnTo>
                  <a:lnTo>
                    <a:pt x="500" y="2692"/>
                  </a:lnTo>
                  <a:lnTo>
                    <a:pt x="540" y="2714"/>
                  </a:lnTo>
                  <a:lnTo>
                    <a:pt x="580" y="2736"/>
                  </a:lnTo>
                  <a:lnTo>
                    <a:pt x="622" y="2756"/>
                  </a:lnTo>
                  <a:lnTo>
                    <a:pt x="664" y="2776"/>
                  </a:lnTo>
                  <a:lnTo>
                    <a:pt x="708" y="2792"/>
                  </a:lnTo>
                  <a:lnTo>
                    <a:pt x="752" y="2810"/>
                  </a:lnTo>
                  <a:lnTo>
                    <a:pt x="796" y="2824"/>
                  </a:lnTo>
                  <a:lnTo>
                    <a:pt x="840" y="2838"/>
                  </a:lnTo>
                  <a:lnTo>
                    <a:pt x="886" y="2850"/>
                  </a:lnTo>
                  <a:lnTo>
                    <a:pt x="932" y="2862"/>
                  </a:lnTo>
                  <a:lnTo>
                    <a:pt x="980" y="2872"/>
                  </a:lnTo>
                  <a:lnTo>
                    <a:pt x="1026" y="2880"/>
                  </a:lnTo>
                  <a:lnTo>
                    <a:pt x="1074" y="2886"/>
                  </a:lnTo>
                  <a:lnTo>
                    <a:pt x="1122" y="2892"/>
                  </a:lnTo>
                  <a:lnTo>
                    <a:pt x="1170" y="2896"/>
                  </a:lnTo>
                  <a:lnTo>
                    <a:pt x="1220" y="2898"/>
                  </a:lnTo>
                  <a:lnTo>
                    <a:pt x="1268" y="2898"/>
                  </a:lnTo>
                  <a:lnTo>
                    <a:pt x="1336" y="2898"/>
                  </a:lnTo>
                  <a:lnTo>
                    <a:pt x="1402" y="2894"/>
                  </a:lnTo>
                  <a:lnTo>
                    <a:pt x="1466" y="2886"/>
                  </a:lnTo>
                  <a:lnTo>
                    <a:pt x="1532" y="2876"/>
                  </a:lnTo>
                  <a:lnTo>
                    <a:pt x="1594" y="2864"/>
                  </a:lnTo>
                  <a:lnTo>
                    <a:pt x="1658" y="2850"/>
                  </a:lnTo>
                  <a:lnTo>
                    <a:pt x="1718" y="2832"/>
                  </a:lnTo>
                  <a:lnTo>
                    <a:pt x="1780" y="2812"/>
                  </a:lnTo>
                  <a:lnTo>
                    <a:pt x="1838" y="2790"/>
                  </a:lnTo>
                  <a:lnTo>
                    <a:pt x="1896" y="2764"/>
                  </a:lnTo>
                  <a:lnTo>
                    <a:pt x="1954" y="2738"/>
                  </a:lnTo>
                  <a:lnTo>
                    <a:pt x="2010" y="2708"/>
                  </a:lnTo>
                  <a:lnTo>
                    <a:pt x="2064" y="2676"/>
                  </a:lnTo>
                  <a:lnTo>
                    <a:pt x="2116" y="2644"/>
                  </a:lnTo>
                  <a:lnTo>
                    <a:pt x="2168" y="2608"/>
                  </a:lnTo>
                  <a:lnTo>
                    <a:pt x="2218" y="2570"/>
                  </a:lnTo>
                  <a:lnTo>
                    <a:pt x="2266" y="2530"/>
                  </a:lnTo>
                  <a:lnTo>
                    <a:pt x="2312" y="2490"/>
                  </a:lnTo>
                  <a:lnTo>
                    <a:pt x="2356" y="2446"/>
                  </a:lnTo>
                  <a:lnTo>
                    <a:pt x="2400" y="2400"/>
                  </a:lnTo>
                  <a:lnTo>
                    <a:pt x="2440" y="2354"/>
                  </a:lnTo>
                  <a:lnTo>
                    <a:pt x="2480" y="2306"/>
                  </a:lnTo>
                  <a:lnTo>
                    <a:pt x="2516" y="2256"/>
                  </a:lnTo>
                  <a:lnTo>
                    <a:pt x="2552" y="2204"/>
                  </a:lnTo>
                  <a:lnTo>
                    <a:pt x="2586" y="2150"/>
                  </a:lnTo>
                  <a:lnTo>
                    <a:pt x="2616" y="2096"/>
                  </a:lnTo>
                  <a:lnTo>
                    <a:pt x="2646" y="2040"/>
                  </a:lnTo>
                  <a:lnTo>
                    <a:pt x="2672" y="1984"/>
                  </a:lnTo>
                  <a:lnTo>
                    <a:pt x="2696" y="1926"/>
                  </a:lnTo>
                  <a:lnTo>
                    <a:pt x="2718" y="1866"/>
                  </a:lnTo>
                  <a:lnTo>
                    <a:pt x="2738" y="1804"/>
                  </a:lnTo>
                  <a:lnTo>
                    <a:pt x="2754" y="1744"/>
                  </a:lnTo>
                  <a:lnTo>
                    <a:pt x="2754" y="1730"/>
                  </a:lnTo>
                  <a:lnTo>
                    <a:pt x="2756" y="1716"/>
                  </a:lnTo>
                  <a:lnTo>
                    <a:pt x="2758" y="1692"/>
                  </a:lnTo>
                  <a:close/>
                  <a:moveTo>
                    <a:pt x="972" y="618"/>
                  </a:moveTo>
                  <a:lnTo>
                    <a:pt x="972" y="618"/>
                  </a:lnTo>
                  <a:lnTo>
                    <a:pt x="994" y="634"/>
                  </a:lnTo>
                  <a:lnTo>
                    <a:pt x="1016" y="652"/>
                  </a:lnTo>
                  <a:lnTo>
                    <a:pt x="1060" y="694"/>
                  </a:lnTo>
                  <a:lnTo>
                    <a:pt x="1100" y="734"/>
                  </a:lnTo>
                  <a:lnTo>
                    <a:pt x="1132" y="774"/>
                  </a:lnTo>
                  <a:lnTo>
                    <a:pt x="972" y="774"/>
                  </a:lnTo>
                  <a:lnTo>
                    <a:pt x="972" y="618"/>
                  </a:lnTo>
                  <a:close/>
                  <a:moveTo>
                    <a:pt x="802" y="2284"/>
                  </a:moveTo>
                  <a:lnTo>
                    <a:pt x="670" y="2284"/>
                  </a:lnTo>
                  <a:lnTo>
                    <a:pt x="670" y="2152"/>
                  </a:lnTo>
                  <a:lnTo>
                    <a:pt x="802" y="2152"/>
                  </a:lnTo>
                  <a:lnTo>
                    <a:pt x="802" y="2284"/>
                  </a:lnTo>
                  <a:close/>
                  <a:moveTo>
                    <a:pt x="802" y="2056"/>
                  </a:moveTo>
                  <a:lnTo>
                    <a:pt x="670" y="2056"/>
                  </a:lnTo>
                  <a:lnTo>
                    <a:pt x="670" y="1924"/>
                  </a:lnTo>
                  <a:lnTo>
                    <a:pt x="802" y="1924"/>
                  </a:lnTo>
                  <a:lnTo>
                    <a:pt x="802" y="2056"/>
                  </a:lnTo>
                  <a:close/>
                  <a:moveTo>
                    <a:pt x="802" y="1828"/>
                  </a:moveTo>
                  <a:lnTo>
                    <a:pt x="670" y="1828"/>
                  </a:lnTo>
                  <a:lnTo>
                    <a:pt x="670" y="1696"/>
                  </a:lnTo>
                  <a:lnTo>
                    <a:pt x="802" y="1696"/>
                  </a:lnTo>
                  <a:lnTo>
                    <a:pt x="802" y="1828"/>
                  </a:lnTo>
                  <a:close/>
                  <a:moveTo>
                    <a:pt x="802" y="1600"/>
                  </a:moveTo>
                  <a:lnTo>
                    <a:pt x="670" y="1600"/>
                  </a:lnTo>
                  <a:lnTo>
                    <a:pt x="670" y="1468"/>
                  </a:lnTo>
                  <a:lnTo>
                    <a:pt x="802" y="1468"/>
                  </a:lnTo>
                  <a:lnTo>
                    <a:pt x="802" y="1600"/>
                  </a:lnTo>
                  <a:close/>
                  <a:moveTo>
                    <a:pt x="802" y="1372"/>
                  </a:moveTo>
                  <a:lnTo>
                    <a:pt x="670" y="1372"/>
                  </a:lnTo>
                  <a:lnTo>
                    <a:pt x="670" y="1240"/>
                  </a:lnTo>
                  <a:lnTo>
                    <a:pt x="802" y="1240"/>
                  </a:lnTo>
                  <a:lnTo>
                    <a:pt x="802" y="1372"/>
                  </a:lnTo>
                  <a:close/>
                  <a:moveTo>
                    <a:pt x="802" y="1144"/>
                  </a:moveTo>
                  <a:lnTo>
                    <a:pt x="670" y="1144"/>
                  </a:lnTo>
                  <a:lnTo>
                    <a:pt x="670" y="1012"/>
                  </a:lnTo>
                  <a:lnTo>
                    <a:pt x="802" y="1012"/>
                  </a:lnTo>
                  <a:lnTo>
                    <a:pt x="802" y="1144"/>
                  </a:lnTo>
                  <a:close/>
                  <a:moveTo>
                    <a:pt x="864" y="696"/>
                  </a:moveTo>
                  <a:lnTo>
                    <a:pt x="864" y="696"/>
                  </a:lnTo>
                  <a:lnTo>
                    <a:pt x="884" y="678"/>
                  </a:lnTo>
                  <a:lnTo>
                    <a:pt x="902" y="658"/>
                  </a:lnTo>
                  <a:lnTo>
                    <a:pt x="936" y="618"/>
                  </a:lnTo>
                  <a:lnTo>
                    <a:pt x="940" y="636"/>
                  </a:lnTo>
                  <a:lnTo>
                    <a:pt x="942" y="656"/>
                  </a:lnTo>
                  <a:lnTo>
                    <a:pt x="942" y="696"/>
                  </a:lnTo>
                  <a:lnTo>
                    <a:pt x="942" y="736"/>
                  </a:lnTo>
                  <a:lnTo>
                    <a:pt x="942" y="756"/>
                  </a:lnTo>
                  <a:lnTo>
                    <a:pt x="944" y="774"/>
                  </a:lnTo>
                  <a:lnTo>
                    <a:pt x="806" y="774"/>
                  </a:lnTo>
                  <a:lnTo>
                    <a:pt x="806" y="766"/>
                  </a:lnTo>
                  <a:lnTo>
                    <a:pt x="808" y="758"/>
                  </a:lnTo>
                  <a:lnTo>
                    <a:pt x="814" y="750"/>
                  </a:lnTo>
                  <a:lnTo>
                    <a:pt x="824" y="740"/>
                  </a:lnTo>
                  <a:lnTo>
                    <a:pt x="844" y="718"/>
                  </a:lnTo>
                  <a:lnTo>
                    <a:pt x="854" y="708"/>
                  </a:lnTo>
                  <a:lnTo>
                    <a:pt x="864" y="696"/>
                  </a:lnTo>
                  <a:close/>
                  <a:moveTo>
                    <a:pt x="1026" y="2670"/>
                  </a:moveTo>
                  <a:lnTo>
                    <a:pt x="894" y="2670"/>
                  </a:lnTo>
                  <a:lnTo>
                    <a:pt x="894" y="2380"/>
                  </a:lnTo>
                  <a:lnTo>
                    <a:pt x="1026" y="2380"/>
                  </a:lnTo>
                  <a:lnTo>
                    <a:pt x="1026" y="2670"/>
                  </a:lnTo>
                  <a:close/>
                  <a:moveTo>
                    <a:pt x="1026" y="2284"/>
                  </a:moveTo>
                  <a:lnTo>
                    <a:pt x="894" y="2284"/>
                  </a:lnTo>
                  <a:lnTo>
                    <a:pt x="894" y="2152"/>
                  </a:lnTo>
                  <a:lnTo>
                    <a:pt x="1026" y="2152"/>
                  </a:lnTo>
                  <a:lnTo>
                    <a:pt x="1026" y="2284"/>
                  </a:lnTo>
                  <a:close/>
                  <a:moveTo>
                    <a:pt x="1026" y="2056"/>
                  </a:moveTo>
                  <a:lnTo>
                    <a:pt x="894" y="2056"/>
                  </a:lnTo>
                  <a:lnTo>
                    <a:pt x="894" y="1924"/>
                  </a:lnTo>
                  <a:lnTo>
                    <a:pt x="1026" y="1924"/>
                  </a:lnTo>
                  <a:lnTo>
                    <a:pt x="1026" y="2056"/>
                  </a:lnTo>
                  <a:close/>
                  <a:moveTo>
                    <a:pt x="1026" y="1828"/>
                  </a:moveTo>
                  <a:lnTo>
                    <a:pt x="894" y="1828"/>
                  </a:lnTo>
                  <a:lnTo>
                    <a:pt x="894" y="1696"/>
                  </a:lnTo>
                  <a:lnTo>
                    <a:pt x="1026" y="1696"/>
                  </a:lnTo>
                  <a:lnTo>
                    <a:pt x="1026" y="1828"/>
                  </a:lnTo>
                  <a:close/>
                  <a:moveTo>
                    <a:pt x="1026" y="1600"/>
                  </a:moveTo>
                  <a:lnTo>
                    <a:pt x="894" y="1600"/>
                  </a:lnTo>
                  <a:lnTo>
                    <a:pt x="894" y="1468"/>
                  </a:lnTo>
                  <a:lnTo>
                    <a:pt x="1026" y="1468"/>
                  </a:lnTo>
                  <a:lnTo>
                    <a:pt x="1026" y="1600"/>
                  </a:lnTo>
                  <a:close/>
                  <a:moveTo>
                    <a:pt x="1026" y="1372"/>
                  </a:moveTo>
                  <a:lnTo>
                    <a:pt x="894" y="1372"/>
                  </a:lnTo>
                  <a:lnTo>
                    <a:pt x="894" y="1240"/>
                  </a:lnTo>
                  <a:lnTo>
                    <a:pt x="1026" y="1240"/>
                  </a:lnTo>
                  <a:lnTo>
                    <a:pt x="1026" y="1372"/>
                  </a:lnTo>
                  <a:close/>
                  <a:moveTo>
                    <a:pt x="1026" y="1144"/>
                  </a:moveTo>
                  <a:lnTo>
                    <a:pt x="894" y="1144"/>
                  </a:lnTo>
                  <a:lnTo>
                    <a:pt x="894" y="1012"/>
                  </a:lnTo>
                  <a:lnTo>
                    <a:pt x="1026" y="1012"/>
                  </a:lnTo>
                  <a:lnTo>
                    <a:pt x="1026" y="1144"/>
                  </a:lnTo>
                  <a:close/>
                  <a:moveTo>
                    <a:pt x="1252" y="2284"/>
                  </a:moveTo>
                  <a:lnTo>
                    <a:pt x="1118" y="2284"/>
                  </a:lnTo>
                  <a:lnTo>
                    <a:pt x="1118" y="2152"/>
                  </a:lnTo>
                  <a:lnTo>
                    <a:pt x="1252" y="2152"/>
                  </a:lnTo>
                  <a:lnTo>
                    <a:pt x="1252" y="2284"/>
                  </a:lnTo>
                  <a:close/>
                  <a:moveTo>
                    <a:pt x="1252" y="2056"/>
                  </a:moveTo>
                  <a:lnTo>
                    <a:pt x="1118" y="2056"/>
                  </a:lnTo>
                  <a:lnTo>
                    <a:pt x="1118" y="1924"/>
                  </a:lnTo>
                  <a:lnTo>
                    <a:pt x="1252" y="1924"/>
                  </a:lnTo>
                  <a:lnTo>
                    <a:pt x="1252" y="2056"/>
                  </a:lnTo>
                  <a:close/>
                  <a:moveTo>
                    <a:pt x="1252" y="1828"/>
                  </a:moveTo>
                  <a:lnTo>
                    <a:pt x="1118" y="1828"/>
                  </a:lnTo>
                  <a:lnTo>
                    <a:pt x="1118" y="1696"/>
                  </a:lnTo>
                  <a:lnTo>
                    <a:pt x="1252" y="1696"/>
                  </a:lnTo>
                  <a:lnTo>
                    <a:pt x="1252" y="1828"/>
                  </a:lnTo>
                  <a:close/>
                  <a:moveTo>
                    <a:pt x="1252" y="1600"/>
                  </a:moveTo>
                  <a:lnTo>
                    <a:pt x="1118" y="1600"/>
                  </a:lnTo>
                  <a:lnTo>
                    <a:pt x="1118" y="1468"/>
                  </a:lnTo>
                  <a:lnTo>
                    <a:pt x="1252" y="1468"/>
                  </a:lnTo>
                  <a:lnTo>
                    <a:pt x="1252" y="1600"/>
                  </a:lnTo>
                  <a:close/>
                  <a:moveTo>
                    <a:pt x="1252" y="1372"/>
                  </a:moveTo>
                  <a:lnTo>
                    <a:pt x="1118" y="1372"/>
                  </a:lnTo>
                  <a:lnTo>
                    <a:pt x="1118" y="1240"/>
                  </a:lnTo>
                  <a:lnTo>
                    <a:pt x="1252" y="1240"/>
                  </a:lnTo>
                  <a:lnTo>
                    <a:pt x="1252" y="1372"/>
                  </a:lnTo>
                  <a:close/>
                  <a:moveTo>
                    <a:pt x="1252" y="1144"/>
                  </a:moveTo>
                  <a:lnTo>
                    <a:pt x="1118" y="1144"/>
                  </a:lnTo>
                  <a:lnTo>
                    <a:pt x="1118" y="1012"/>
                  </a:lnTo>
                  <a:lnTo>
                    <a:pt x="1252" y="1012"/>
                  </a:lnTo>
                  <a:lnTo>
                    <a:pt x="1252" y="1144"/>
                  </a:lnTo>
                  <a:close/>
                  <a:moveTo>
                    <a:pt x="1726" y="2284"/>
                  </a:moveTo>
                  <a:lnTo>
                    <a:pt x="1594" y="2284"/>
                  </a:lnTo>
                  <a:lnTo>
                    <a:pt x="1594" y="2152"/>
                  </a:lnTo>
                  <a:lnTo>
                    <a:pt x="1726" y="2152"/>
                  </a:lnTo>
                  <a:lnTo>
                    <a:pt x="1726" y="2284"/>
                  </a:lnTo>
                  <a:close/>
                  <a:moveTo>
                    <a:pt x="1726" y="2056"/>
                  </a:moveTo>
                  <a:lnTo>
                    <a:pt x="1594" y="2056"/>
                  </a:lnTo>
                  <a:lnTo>
                    <a:pt x="1594" y="1924"/>
                  </a:lnTo>
                  <a:lnTo>
                    <a:pt x="1726" y="1924"/>
                  </a:lnTo>
                  <a:lnTo>
                    <a:pt x="1726" y="2056"/>
                  </a:lnTo>
                  <a:close/>
                  <a:moveTo>
                    <a:pt x="1726" y="1828"/>
                  </a:moveTo>
                  <a:lnTo>
                    <a:pt x="1594" y="1828"/>
                  </a:lnTo>
                  <a:lnTo>
                    <a:pt x="1594" y="1696"/>
                  </a:lnTo>
                  <a:lnTo>
                    <a:pt x="1726" y="1696"/>
                  </a:lnTo>
                  <a:lnTo>
                    <a:pt x="1726" y="1828"/>
                  </a:lnTo>
                  <a:close/>
                  <a:moveTo>
                    <a:pt x="1726" y="1600"/>
                  </a:moveTo>
                  <a:lnTo>
                    <a:pt x="1594" y="1600"/>
                  </a:lnTo>
                  <a:lnTo>
                    <a:pt x="1594" y="1468"/>
                  </a:lnTo>
                  <a:lnTo>
                    <a:pt x="1726" y="1468"/>
                  </a:lnTo>
                  <a:lnTo>
                    <a:pt x="1726" y="1600"/>
                  </a:lnTo>
                  <a:close/>
                  <a:moveTo>
                    <a:pt x="1726" y="1372"/>
                  </a:moveTo>
                  <a:lnTo>
                    <a:pt x="1594" y="1372"/>
                  </a:lnTo>
                  <a:lnTo>
                    <a:pt x="1594" y="1240"/>
                  </a:lnTo>
                  <a:lnTo>
                    <a:pt x="1726" y="1240"/>
                  </a:lnTo>
                  <a:lnTo>
                    <a:pt x="1726" y="1372"/>
                  </a:lnTo>
                  <a:close/>
                  <a:moveTo>
                    <a:pt x="1726" y="1144"/>
                  </a:moveTo>
                  <a:lnTo>
                    <a:pt x="1594" y="1144"/>
                  </a:lnTo>
                  <a:lnTo>
                    <a:pt x="1594" y="1012"/>
                  </a:lnTo>
                  <a:lnTo>
                    <a:pt x="1726" y="1012"/>
                  </a:lnTo>
                  <a:lnTo>
                    <a:pt x="1726" y="1144"/>
                  </a:lnTo>
                  <a:close/>
                  <a:moveTo>
                    <a:pt x="1726" y="916"/>
                  </a:moveTo>
                  <a:lnTo>
                    <a:pt x="1594" y="916"/>
                  </a:lnTo>
                  <a:lnTo>
                    <a:pt x="1594" y="782"/>
                  </a:lnTo>
                  <a:lnTo>
                    <a:pt x="1726" y="782"/>
                  </a:lnTo>
                  <a:lnTo>
                    <a:pt x="1726" y="916"/>
                  </a:lnTo>
                  <a:close/>
                  <a:moveTo>
                    <a:pt x="1950" y="2670"/>
                  </a:moveTo>
                  <a:lnTo>
                    <a:pt x="1818" y="2670"/>
                  </a:lnTo>
                  <a:lnTo>
                    <a:pt x="1818" y="2380"/>
                  </a:lnTo>
                  <a:lnTo>
                    <a:pt x="1950" y="2380"/>
                  </a:lnTo>
                  <a:lnTo>
                    <a:pt x="1950" y="2670"/>
                  </a:lnTo>
                  <a:close/>
                  <a:moveTo>
                    <a:pt x="1950" y="2284"/>
                  </a:moveTo>
                  <a:lnTo>
                    <a:pt x="1818" y="2284"/>
                  </a:lnTo>
                  <a:lnTo>
                    <a:pt x="1818" y="2152"/>
                  </a:lnTo>
                  <a:lnTo>
                    <a:pt x="1950" y="2152"/>
                  </a:lnTo>
                  <a:lnTo>
                    <a:pt x="1950" y="2284"/>
                  </a:lnTo>
                  <a:close/>
                  <a:moveTo>
                    <a:pt x="1950" y="2056"/>
                  </a:moveTo>
                  <a:lnTo>
                    <a:pt x="1818" y="2056"/>
                  </a:lnTo>
                  <a:lnTo>
                    <a:pt x="1818" y="1924"/>
                  </a:lnTo>
                  <a:lnTo>
                    <a:pt x="1950" y="1924"/>
                  </a:lnTo>
                  <a:lnTo>
                    <a:pt x="1950" y="2056"/>
                  </a:lnTo>
                  <a:close/>
                  <a:moveTo>
                    <a:pt x="1950" y="1828"/>
                  </a:moveTo>
                  <a:lnTo>
                    <a:pt x="1818" y="1828"/>
                  </a:lnTo>
                  <a:lnTo>
                    <a:pt x="1818" y="1696"/>
                  </a:lnTo>
                  <a:lnTo>
                    <a:pt x="1950" y="1696"/>
                  </a:lnTo>
                  <a:lnTo>
                    <a:pt x="1950" y="1828"/>
                  </a:lnTo>
                  <a:close/>
                  <a:moveTo>
                    <a:pt x="1950" y="1600"/>
                  </a:moveTo>
                  <a:lnTo>
                    <a:pt x="1818" y="1600"/>
                  </a:lnTo>
                  <a:lnTo>
                    <a:pt x="1818" y="1468"/>
                  </a:lnTo>
                  <a:lnTo>
                    <a:pt x="1950" y="1468"/>
                  </a:lnTo>
                  <a:lnTo>
                    <a:pt x="1950" y="1600"/>
                  </a:lnTo>
                  <a:close/>
                  <a:moveTo>
                    <a:pt x="1950" y="1372"/>
                  </a:moveTo>
                  <a:lnTo>
                    <a:pt x="1818" y="1372"/>
                  </a:lnTo>
                  <a:lnTo>
                    <a:pt x="1818" y="1240"/>
                  </a:lnTo>
                  <a:lnTo>
                    <a:pt x="1950" y="1240"/>
                  </a:lnTo>
                  <a:lnTo>
                    <a:pt x="1950" y="1372"/>
                  </a:lnTo>
                  <a:close/>
                  <a:moveTo>
                    <a:pt x="1950" y="1144"/>
                  </a:moveTo>
                  <a:lnTo>
                    <a:pt x="1818" y="1144"/>
                  </a:lnTo>
                  <a:lnTo>
                    <a:pt x="1818" y="1012"/>
                  </a:lnTo>
                  <a:lnTo>
                    <a:pt x="1950" y="1012"/>
                  </a:lnTo>
                  <a:lnTo>
                    <a:pt x="1950" y="1144"/>
                  </a:lnTo>
                  <a:close/>
                  <a:moveTo>
                    <a:pt x="1950" y="916"/>
                  </a:moveTo>
                  <a:lnTo>
                    <a:pt x="1818" y="916"/>
                  </a:lnTo>
                  <a:lnTo>
                    <a:pt x="1818" y="782"/>
                  </a:lnTo>
                  <a:lnTo>
                    <a:pt x="1950" y="782"/>
                  </a:lnTo>
                  <a:lnTo>
                    <a:pt x="1950" y="916"/>
                  </a:lnTo>
                  <a:close/>
                  <a:moveTo>
                    <a:pt x="2176" y="2284"/>
                  </a:moveTo>
                  <a:lnTo>
                    <a:pt x="2042" y="2284"/>
                  </a:lnTo>
                  <a:lnTo>
                    <a:pt x="2042" y="2152"/>
                  </a:lnTo>
                  <a:lnTo>
                    <a:pt x="2176" y="2152"/>
                  </a:lnTo>
                  <a:lnTo>
                    <a:pt x="2176" y="2284"/>
                  </a:lnTo>
                  <a:close/>
                  <a:moveTo>
                    <a:pt x="2176" y="2056"/>
                  </a:moveTo>
                  <a:lnTo>
                    <a:pt x="2042" y="2056"/>
                  </a:lnTo>
                  <a:lnTo>
                    <a:pt x="2042" y="1924"/>
                  </a:lnTo>
                  <a:lnTo>
                    <a:pt x="2176" y="1924"/>
                  </a:lnTo>
                  <a:lnTo>
                    <a:pt x="2176" y="2056"/>
                  </a:lnTo>
                  <a:close/>
                  <a:moveTo>
                    <a:pt x="2176" y="1828"/>
                  </a:moveTo>
                  <a:lnTo>
                    <a:pt x="2042" y="1828"/>
                  </a:lnTo>
                  <a:lnTo>
                    <a:pt x="2042" y="1696"/>
                  </a:lnTo>
                  <a:lnTo>
                    <a:pt x="2176" y="1696"/>
                  </a:lnTo>
                  <a:lnTo>
                    <a:pt x="2176" y="1828"/>
                  </a:lnTo>
                  <a:close/>
                  <a:moveTo>
                    <a:pt x="2176" y="1600"/>
                  </a:moveTo>
                  <a:lnTo>
                    <a:pt x="2042" y="1600"/>
                  </a:lnTo>
                  <a:lnTo>
                    <a:pt x="2042" y="1468"/>
                  </a:lnTo>
                  <a:lnTo>
                    <a:pt x="2176" y="1468"/>
                  </a:lnTo>
                  <a:lnTo>
                    <a:pt x="2176" y="1600"/>
                  </a:lnTo>
                  <a:close/>
                  <a:moveTo>
                    <a:pt x="2176" y="1372"/>
                  </a:moveTo>
                  <a:lnTo>
                    <a:pt x="2042" y="1372"/>
                  </a:lnTo>
                  <a:lnTo>
                    <a:pt x="2042" y="1240"/>
                  </a:lnTo>
                  <a:lnTo>
                    <a:pt x="2176" y="1240"/>
                  </a:lnTo>
                  <a:lnTo>
                    <a:pt x="2176" y="1372"/>
                  </a:lnTo>
                  <a:close/>
                  <a:moveTo>
                    <a:pt x="2176" y="1144"/>
                  </a:moveTo>
                  <a:lnTo>
                    <a:pt x="2042" y="1144"/>
                  </a:lnTo>
                  <a:lnTo>
                    <a:pt x="2042" y="1012"/>
                  </a:lnTo>
                  <a:lnTo>
                    <a:pt x="2176" y="1012"/>
                  </a:lnTo>
                  <a:lnTo>
                    <a:pt x="2176" y="1144"/>
                  </a:lnTo>
                  <a:close/>
                  <a:moveTo>
                    <a:pt x="2176" y="916"/>
                  </a:moveTo>
                  <a:lnTo>
                    <a:pt x="2042" y="916"/>
                  </a:lnTo>
                  <a:lnTo>
                    <a:pt x="2042" y="782"/>
                  </a:lnTo>
                  <a:lnTo>
                    <a:pt x="2176" y="782"/>
                  </a:lnTo>
                  <a:lnTo>
                    <a:pt x="2176" y="9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17" name="Group 159"/>
          <p:cNvGrpSpPr>
            <a:grpSpLocks noChangeAspect="1"/>
          </p:cNvGrpSpPr>
          <p:nvPr/>
        </p:nvGrpSpPr>
        <p:grpSpPr bwMode="auto">
          <a:xfrm>
            <a:off x="250825" y="4502150"/>
            <a:ext cx="252413" cy="252413"/>
            <a:chOff x="6177911" y="4588293"/>
            <a:chExt cx="523988" cy="523988"/>
          </a:xfrm>
        </p:grpSpPr>
        <p:sp>
          <p:nvSpPr>
            <p:cNvPr id="134" name="Oval 133">
              <a:extLst>
                <a:ext uri="{FF2B5EF4-FFF2-40B4-BE49-F238E27FC236}"/>
              </a:extLst>
            </p:cNvPr>
            <p:cNvSpPr/>
            <p:nvPr/>
          </p:nvSpPr>
          <p:spPr bwMode="ltGray">
            <a:xfrm>
              <a:off x="6177911" y="4588293"/>
              <a:ext cx="523988" cy="523988"/>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35" name="Freeform 3030">
              <a:extLst>
                <a:ext uri="{FF2B5EF4-FFF2-40B4-BE49-F238E27FC236}"/>
              </a:extLst>
            </p:cNvPr>
            <p:cNvSpPr>
              <a:spLocks noEditPoints="1"/>
            </p:cNvSpPr>
            <p:nvPr/>
          </p:nvSpPr>
          <p:spPr bwMode="auto">
            <a:xfrm>
              <a:off x="6233936" y="4660794"/>
              <a:ext cx="418529" cy="385576"/>
            </a:xfrm>
            <a:custGeom>
              <a:avLst/>
              <a:gdLst>
                <a:gd name="T0" fmla="*/ 429 w 858"/>
                <a:gd name="T1" fmla="*/ 52 h 743"/>
                <a:gd name="T2" fmla="*/ 209 w 858"/>
                <a:gd name="T3" fmla="*/ 121 h 743"/>
                <a:gd name="T4" fmla="*/ 235 w 858"/>
                <a:gd name="T5" fmla="*/ 195 h 743"/>
                <a:gd name="T6" fmla="*/ 429 w 858"/>
                <a:gd name="T7" fmla="*/ 434 h 743"/>
                <a:gd name="T8" fmla="*/ 623 w 858"/>
                <a:gd name="T9" fmla="*/ 195 h 743"/>
                <a:gd name="T10" fmla="*/ 648 w 858"/>
                <a:gd name="T11" fmla="*/ 121 h 743"/>
                <a:gd name="T12" fmla="*/ 748 w 858"/>
                <a:gd name="T13" fmla="*/ 254 h 743"/>
                <a:gd name="T14" fmla="*/ 761 w 858"/>
                <a:gd name="T15" fmla="*/ 160 h 743"/>
                <a:gd name="T16" fmla="*/ 717 w 858"/>
                <a:gd name="T17" fmla="*/ 330 h 743"/>
                <a:gd name="T18" fmla="*/ 748 w 858"/>
                <a:gd name="T19" fmla="*/ 254 h 743"/>
                <a:gd name="T20" fmla="*/ 769 w 858"/>
                <a:gd name="T21" fmla="*/ 254 h 743"/>
                <a:gd name="T22" fmla="*/ 770 w 858"/>
                <a:gd name="T23" fmla="*/ 349 h 743"/>
                <a:gd name="T24" fmla="*/ 770 w 858"/>
                <a:gd name="T25" fmla="*/ 447 h 743"/>
                <a:gd name="T26" fmla="*/ 672 w 858"/>
                <a:gd name="T27" fmla="*/ 509 h 743"/>
                <a:gd name="T28" fmla="*/ 752 w 858"/>
                <a:gd name="T29" fmla="*/ 367 h 743"/>
                <a:gd name="T30" fmla="*/ 603 w 858"/>
                <a:gd name="T31" fmla="*/ 454 h 743"/>
                <a:gd name="T32" fmla="*/ 481 w 858"/>
                <a:gd name="T33" fmla="*/ 657 h 743"/>
                <a:gd name="T34" fmla="*/ 567 w 858"/>
                <a:gd name="T35" fmla="*/ 743 h 743"/>
                <a:gd name="T36" fmla="*/ 590 w 858"/>
                <a:gd name="T37" fmla="*/ 720 h 743"/>
                <a:gd name="T38" fmla="*/ 653 w 858"/>
                <a:gd name="T39" fmla="*/ 657 h 743"/>
                <a:gd name="T40" fmla="*/ 844 w 858"/>
                <a:gd name="T41" fmla="*/ 465 h 743"/>
                <a:gd name="T42" fmla="*/ 858 w 858"/>
                <a:gd name="T43" fmla="*/ 254 h 743"/>
                <a:gd name="T44" fmla="*/ 695 w 858"/>
                <a:gd name="T45" fmla="*/ 334 h 743"/>
                <a:gd name="T46" fmla="*/ 669 w 858"/>
                <a:gd name="T47" fmla="*/ 254 h 743"/>
                <a:gd name="T48" fmla="*/ 672 w 858"/>
                <a:gd name="T49" fmla="*/ 349 h 743"/>
                <a:gd name="T50" fmla="*/ 110 w 858"/>
                <a:gd name="T51" fmla="*/ 335 h 743"/>
                <a:gd name="T52" fmla="*/ 141 w 858"/>
                <a:gd name="T53" fmla="*/ 205 h 743"/>
                <a:gd name="T54" fmla="*/ 55 w 858"/>
                <a:gd name="T55" fmla="*/ 189 h 743"/>
                <a:gd name="T56" fmla="*/ 110 w 858"/>
                <a:gd name="T57" fmla="*/ 335 h 743"/>
                <a:gd name="T58" fmla="*/ 0 w 858"/>
                <a:gd name="T59" fmla="*/ 434 h 743"/>
                <a:gd name="T60" fmla="*/ 198 w 858"/>
                <a:gd name="T61" fmla="*/ 650 h 743"/>
                <a:gd name="T62" fmla="*/ 211 w 858"/>
                <a:gd name="T63" fmla="*/ 664 h 743"/>
                <a:gd name="T64" fmla="*/ 267 w 858"/>
                <a:gd name="T65" fmla="*/ 720 h 743"/>
                <a:gd name="T66" fmla="*/ 377 w 858"/>
                <a:gd name="T67" fmla="*/ 657 h 743"/>
                <a:gd name="T68" fmla="*/ 377 w 858"/>
                <a:gd name="T69" fmla="*/ 485 h 743"/>
                <a:gd name="T70" fmla="*/ 167 w 858"/>
                <a:gd name="T71" fmla="*/ 367 h 743"/>
                <a:gd name="T72" fmla="*/ 106 w 858"/>
                <a:gd name="T73" fmla="*/ 429 h 743"/>
                <a:gd name="T74" fmla="*/ 174 w 858"/>
                <a:gd name="T75" fmla="*/ 534 h 743"/>
                <a:gd name="T76" fmla="*/ 67 w 858"/>
                <a:gd name="T77" fmla="*/ 398 h 743"/>
                <a:gd name="T78" fmla="*/ 88 w 858"/>
                <a:gd name="T79" fmla="*/ 348 h 743"/>
                <a:gd name="T80" fmla="*/ 44 w 858"/>
                <a:gd name="T81" fmla="*/ 210 h 743"/>
                <a:gd name="T82" fmla="*/ 186 w 858"/>
                <a:gd name="T83" fmla="*/ 349 h 743"/>
                <a:gd name="T84" fmla="*/ 189 w 858"/>
                <a:gd name="T85" fmla="*/ 254 h 743"/>
                <a:gd name="T86" fmla="*/ 162 w 858"/>
                <a:gd name="T87" fmla="*/ 334 h 7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58" h="743">
                  <a:moveTo>
                    <a:pt x="528" y="0"/>
                  </a:moveTo>
                  <a:cubicBezTo>
                    <a:pt x="487" y="0"/>
                    <a:pt x="451" y="21"/>
                    <a:pt x="429" y="52"/>
                  </a:cubicBezTo>
                  <a:cubicBezTo>
                    <a:pt x="407" y="21"/>
                    <a:pt x="371" y="0"/>
                    <a:pt x="330" y="0"/>
                  </a:cubicBezTo>
                  <a:cubicBezTo>
                    <a:pt x="264" y="0"/>
                    <a:pt x="209" y="54"/>
                    <a:pt x="209" y="121"/>
                  </a:cubicBezTo>
                  <a:cubicBezTo>
                    <a:pt x="209" y="146"/>
                    <a:pt x="217" y="170"/>
                    <a:pt x="233" y="191"/>
                  </a:cubicBezTo>
                  <a:cubicBezTo>
                    <a:pt x="233" y="193"/>
                    <a:pt x="234" y="194"/>
                    <a:pt x="235" y="195"/>
                  </a:cubicBezTo>
                  <a:cubicBezTo>
                    <a:pt x="412" y="425"/>
                    <a:pt x="412" y="425"/>
                    <a:pt x="412" y="425"/>
                  </a:cubicBezTo>
                  <a:cubicBezTo>
                    <a:pt x="416" y="431"/>
                    <a:pt x="422" y="434"/>
                    <a:pt x="429" y="434"/>
                  </a:cubicBezTo>
                  <a:cubicBezTo>
                    <a:pt x="436" y="434"/>
                    <a:pt x="442" y="431"/>
                    <a:pt x="446" y="425"/>
                  </a:cubicBezTo>
                  <a:cubicBezTo>
                    <a:pt x="623" y="195"/>
                    <a:pt x="623" y="195"/>
                    <a:pt x="623" y="195"/>
                  </a:cubicBezTo>
                  <a:cubicBezTo>
                    <a:pt x="623" y="194"/>
                    <a:pt x="624" y="193"/>
                    <a:pt x="625" y="191"/>
                  </a:cubicBezTo>
                  <a:cubicBezTo>
                    <a:pt x="640" y="170"/>
                    <a:pt x="648" y="146"/>
                    <a:pt x="648" y="121"/>
                  </a:cubicBezTo>
                  <a:cubicBezTo>
                    <a:pt x="648" y="54"/>
                    <a:pt x="594" y="0"/>
                    <a:pt x="528" y="0"/>
                  </a:cubicBezTo>
                  <a:close/>
                  <a:moveTo>
                    <a:pt x="748" y="254"/>
                  </a:moveTo>
                  <a:cubicBezTo>
                    <a:pt x="748" y="221"/>
                    <a:pt x="772" y="194"/>
                    <a:pt x="803" y="189"/>
                  </a:cubicBezTo>
                  <a:cubicBezTo>
                    <a:pt x="797" y="172"/>
                    <a:pt x="781" y="160"/>
                    <a:pt x="761" y="160"/>
                  </a:cubicBezTo>
                  <a:cubicBezTo>
                    <a:pt x="737" y="160"/>
                    <a:pt x="717" y="180"/>
                    <a:pt x="717" y="205"/>
                  </a:cubicBezTo>
                  <a:cubicBezTo>
                    <a:pt x="717" y="330"/>
                    <a:pt x="717" y="330"/>
                    <a:pt x="717" y="330"/>
                  </a:cubicBezTo>
                  <a:cubicBezTo>
                    <a:pt x="727" y="329"/>
                    <a:pt x="738" y="331"/>
                    <a:pt x="748" y="335"/>
                  </a:cubicBezTo>
                  <a:lnTo>
                    <a:pt x="748" y="254"/>
                  </a:lnTo>
                  <a:close/>
                  <a:moveTo>
                    <a:pt x="814" y="210"/>
                  </a:moveTo>
                  <a:cubicBezTo>
                    <a:pt x="789" y="210"/>
                    <a:pt x="769" y="230"/>
                    <a:pt x="769" y="254"/>
                  </a:cubicBezTo>
                  <a:cubicBezTo>
                    <a:pt x="769" y="348"/>
                    <a:pt x="769" y="348"/>
                    <a:pt x="769" y="348"/>
                  </a:cubicBezTo>
                  <a:cubicBezTo>
                    <a:pt x="770" y="349"/>
                    <a:pt x="770" y="349"/>
                    <a:pt x="770" y="349"/>
                  </a:cubicBezTo>
                  <a:cubicBezTo>
                    <a:pt x="783" y="362"/>
                    <a:pt x="791" y="380"/>
                    <a:pt x="791" y="398"/>
                  </a:cubicBezTo>
                  <a:cubicBezTo>
                    <a:pt x="791" y="417"/>
                    <a:pt x="783" y="434"/>
                    <a:pt x="770" y="447"/>
                  </a:cubicBezTo>
                  <a:cubicBezTo>
                    <a:pt x="683" y="534"/>
                    <a:pt x="683" y="534"/>
                    <a:pt x="683" y="534"/>
                  </a:cubicBezTo>
                  <a:cubicBezTo>
                    <a:pt x="681" y="525"/>
                    <a:pt x="677" y="517"/>
                    <a:pt x="672" y="509"/>
                  </a:cubicBezTo>
                  <a:cubicBezTo>
                    <a:pt x="752" y="429"/>
                    <a:pt x="752" y="429"/>
                    <a:pt x="752" y="429"/>
                  </a:cubicBezTo>
                  <a:cubicBezTo>
                    <a:pt x="769" y="412"/>
                    <a:pt x="769" y="384"/>
                    <a:pt x="752" y="367"/>
                  </a:cubicBezTo>
                  <a:cubicBezTo>
                    <a:pt x="735" y="350"/>
                    <a:pt x="707" y="350"/>
                    <a:pt x="690" y="367"/>
                  </a:cubicBezTo>
                  <a:cubicBezTo>
                    <a:pt x="603" y="454"/>
                    <a:pt x="603" y="454"/>
                    <a:pt x="603" y="454"/>
                  </a:cubicBezTo>
                  <a:cubicBezTo>
                    <a:pt x="561" y="441"/>
                    <a:pt x="514" y="452"/>
                    <a:pt x="481" y="485"/>
                  </a:cubicBezTo>
                  <a:cubicBezTo>
                    <a:pt x="433" y="532"/>
                    <a:pt x="433" y="609"/>
                    <a:pt x="481" y="657"/>
                  </a:cubicBezTo>
                  <a:cubicBezTo>
                    <a:pt x="481" y="657"/>
                    <a:pt x="481" y="657"/>
                    <a:pt x="481" y="657"/>
                  </a:cubicBezTo>
                  <a:cubicBezTo>
                    <a:pt x="567" y="743"/>
                    <a:pt x="567" y="743"/>
                    <a:pt x="567" y="743"/>
                  </a:cubicBezTo>
                  <a:cubicBezTo>
                    <a:pt x="590" y="720"/>
                    <a:pt x="590" y="720"/>
                    <a:pt x="590" y="720"/>
                  </a:cubicBezTo>
                  <a:cubicBezTo>
                    <a:pt x="590" y="720"/>
                    <a:pt x="590" y="720"/>
                    <a:pt x="590" y="720"/>
                  </a:cubicBezTo>
                  <a:cubicBezTo>
                    <a:pt x="646" y="664"/>
                    <a:pt x="646" y="664"/>
                    <a:pt x="646" y="664"/>
                  </a:cubicBezTo>
                  <a:cubicBezTo>
                    <a:pt x="649" y="661"/>
                    <a:pt x="651" y="659"/>
                    <a:pt x="653" y="657"/>
                  </a:cubicBezTo>
                  <a:cubicBezTo>
                    <a:pt x="656" y="655"/>
                    <a:pt x="658" y="652"/>
                    <a:pt x="660" y="650"/>
                  </a:cubicBezTo>
                  <a:cubicBezTo>
                    <a:pt x="844" y="465"/>
                    <a:pt x="844" y="465"/>
                    <a:pt x="844" y="465"/>
                  </a:cubicBezTo>
                  <a:cubicBezTo>
                    <a:pt x="853" y="457"/>
                    <a:pt x="858" y="446"/>
                    <a:pt x="858" y="434"/>
                  </a:cubicBezTo>
                  <a:cubicBezTo>
                    <a:pt x="858" y="254"/>
                    <a:pt x="858" y="254"/>
                    <a:pt x="858" y="254"/>
                  </a:cubicBezTo>
                  <a:cubicBezTo>
                    <a:pt x="858" y="230"/>
                    <a:pt x="838" y="210"/>
                    <a:pt x="814" y="210"/>
                  </a:cubicBezTo>
                  <a:close/>
                  <a:moveTo>
                    <a:pt x="695" y="334"/>
                  </a:moveTo>
                  <a:cubicBezTo>
                    <a:pt x="695" y="213"/>
                    <a:pt x="695" y="213"/>
                    <a:pt x="695" y="213"/>
                  </a:cubicBezTo>
                  <a:cubicBezTo>
                    <a:pt x="680" y="220"/>
                    <a:pt x="669" y="236"/>
                    <a:pt x="669" y="254"/>
                  </a:cubicBezTo>
                  <a:cubicBezTo>
                    <a:pt x="669" y="352"/>
                    <a:pt x="669" y="352"/>
                    <a:pt x="669" y="352"/>
                  </a:cubicBezTo>
                  <a:cubicBezTo>
                    <a:pt x="672" y="349"/>
                    <a:pt x="672" y="349"/>
                    <a:pt x="672" y="349"/>
                  </a:cubicBezTo>
                  <a:cubicBezTo>
                    <a:pt x="679" y="342"/>
                    <a:pt x="687" y="337"/>
                    <a:pt x="695" y="334"/>
                  </a:cubicBezTo>
                  <a:close/>
                  <a:moveTo>
                    <a:pt x="110" y="335"/>
                  </a:moveTo>
                  <a:cubicBezTo>
                    <a:pt x="120" y="331"/>
                    <a:pt x="130" y="329"/>
                    <a:pt x="141" y="330"/>
                  </a:cubicBezTo>
                  <a:cubicBezTo>
                    <a:pt x="141" y="205"/>
                    <a:pt x="141" y="205"/>
                    <a:pt x="141" y="205"/>
                  </a:cubicBezTo>
                  <a:cubicBezTo>
                    <a:pt x="141" y="180"/>
                    <a:pt x="121" y="160"/>
                    <a:pt x="96" y="160"/>
                  </a:cubicBezTo>
                  <a:cubicBezTo>
                    <a:pt x="77" y="160"/>
                    <a:pt x="61" y="172"/>
                    <a:pt x="55" y="189"/>
                  </a:cubicBezTo>
                  <a:cubicBezTo>
                    <a:pt x="86" y="194"/>
                    <a:pt x="110" y="221"/>
                    <a:pt x="110" y="254"/>
                  </a:cubicBezTo>
                  <a:lnTo>
                    <a:pt x="110" y="335"/>
                  </a:lnTo>
                  <a:close/>
                  <a:moveTo>
                    <a:pt x="0" y="254"/>
                  </a:moveTo>
                  <a:cubicBezTo>
                    <a:pt x="0" y="434"/>
                    <a:pt x="0" y="434"/>
                    <a:pt x="0" y="434"/>
                  </a:cubicBezTo>
                  <a:cubicBezTo>
                    <a:pt x="0" y="446"/>
                    <a:pt x="5" y="457"/>
                    <a:pt x="13" y="465"/>
                  </a:cubicBezTo>
                  <a:cubicBezTo>
                    <a:pt x="198" y="650"/>
                    <a:pt x="198" y="650"/>
                    <a:pt x="198" y="650"/>
                  </a:cubicBezTo>
                  <a:cubicBezTo>
                    <a:pt x="200" y="652"/>
                    <a:pt x="202" y="655"/>
                    <a:pt x="204" y="657"/>
                  </a:cubicBezTo>
                  <a:cubicBezTo>
                    <a:pt x="206" y="659"/>
                    <a:pt x="209" y="661"/>
                    <a:pt x="211" y="664"/>
                  </a:cubicBezTo>
                  <a:cubicBezTo>
                    <a:pt x="268" y="720"/>
                    <a:pt x="268" y="720"/>
                    <a:pt x="268" y="720"/>
                  </a:cubicBezTo>
                  <a:cubicBezTo>
                    <a:pt x="267" y="720"/>
                    <a:pt x="267" y="720"/>
                    <a:pt x="267" y="720"/>
                  </a:cubicBezTo>
                  <a:cubicBezTo>
                    <a:pt x="290" y="743"/>
                    <a:pt x="290" y="743"/>
                    <a:pt x="290" y="743"/>
                  </a:cubicBezTo>
                  <a:cubicBezTo>
                    <a:pt x="377" y="657"/>
                    <a:pt x="377" y="657"/>
                    <a:pt x="377" y="657"/>
                  </a:cubicBezTo>
                  <a:cubicBezTo>
                    <a:pt x="377" y="657"/>
                    <a:pt x="377" y="657"/>
                    <a:pt x="377" y="657"/>
                  </a:cubicBezTo>
                  <a:cubicBezTo>
                    <a:pt x="424" y="609"/>
                    <a:pt x="424" y="532"/>
                    <a:pt x="377" y="485"/>
                  </a:cubicBezTo>
                  <a:cubicBezTo>
                    <a:pt x="344" y="452"/>
                    <a:pt x="296" y="441"/>
                    <a:pt x="254" y="454"/>
                  </a:cubicBezTo>
                  <a:cubicBezTo>
                    <a:pt x="167" y="367"/>
                    <a:pt x="167" y="367"/>
                    <a:pt x="167" y="367"/>
                  </a:cubicBezTo>
                  <a:cubicBezTo>
                    <a:pt x="150" y="350"/>
                    <a:pt x="123" y="350"/>
                    <a:pt x="106" y="367"/>
                  </a:cubicBezTo>
                  <a:cubicBezTo>
                    <a:pt x="89" y="384"/>
                    <a:pt x="89" y="412"/>
                    <a:pt x="106" y="429"/>
                  </a:cubicBezTo>
                  <a:cubicBezTo>
                    <a:pt x="186" y="509"/>
                    <a:pt x="186" y="509"/>
                    <a:pt x="186" y="509"/>
                  </a:cubicBezTo>
                  <a:cubicBezTo>
                    <a:pt x="181" y="517"/>
                    <a:pt x="177" y="525"/>
                    <a:pt x="174" y="534"/>
                  </a:cubicBezTo>
                  <a:cubicBezTo>
                    <a:pt x="87" y="447"/>
                    <a:pt x="87" y="447"/>
                    <a:pt x="87" y="447"/>
                  </a:cubicBezTo>
                  <a:cubicBezTo>
                    <a:pt x="74" y="434"/>
                    <a:pt x="67" y="417"/>
                    <a:pt x="67" y="398"/>
                  </a:cubicBezTo>
                  <a:cubicBezTo>
                    <a:pt x="67" y="380"/>
                    <a:pt x="74" y="362"/>
                    <a:pt x="87" y="349"/>
                  </a:cubicBezTo>
                  <a:cubicBezTo>
                    <a:pt x="88" y="349"/>
                    <a:pt x="88" y="349"/>
                    <a:pt x="88" y="348"/>
                  </a:cubicBezTo>
                  <a:cubicBezTo>
                    <a:pt x="88" y="254"/>
                    <a:pt x="88" y="254"/>
                    <a:pt x="88" y="254"/>
                  </a:cubicBezTo>
                  <a:cubicBezTo>
                    <a:pt x="88" y="230"/>
                    <a:pt x="68" y="210"/>
                    <a:pt x="44" y="210"/>
                  </a:cubicBezTo>
                  <a:cubicBezTo>
                    <a:pt x="20" y="210"/>
                    <a:pt x="0" y="230"/>
                    <a:pt x="0" y="254"/>
                  </a:cubicBezTo>
                  <a:close/>
                  <a:moveTo>
                    <a:pt x="186" y="349"/>
                  </a:moveTo>
                  <a:cubicBezTo>
                    <a:pt x="189" y="352"/>
                    <a:pt x="189" y="352"/>
                    <a:pt x="189" y="352"/>
                  </a:cubicBezTo>
                  <a:cubicBezTo>
                    <a:pt x="189" y="254"/>
                    <a:pt x="189" y="254"/>
                    <a:pt x="189" y="254"/>
                  </a:cubicBezTo>
                  <a:cubicBezTo>
                    <a:pt x="189" y="236"/>
                    <a:pt x="178" y="220"/>
                    <a:pt x="162" y="213"/>
                  </a:cubicBezTo>
                  <a:cubicBezTo>
                    <a:pt x="162" y="334"/>
                    <a:pt x="162" y="334"/>
                    <a:pt x="162" y="334"/>
                  </a:cubicBezTo>
                  <a:cubicBezTo>
                    <a:pt x="171" y="337"/>
                    <a:pt x="179" y="342"/>
                    <a:pt x="186" y="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18" name="Group 162"/>
          <p:cNvGrpSpPr>
            <a:grpSpLocks/>
          </p:cNvGrpSpPr>
          <p:nvPr/>
        </p:nvGrpSpPr>
        <p:grpSpPr bwMode="auto">
          <a:xfrm>
            <a:off x="250825" y="5891213"/>
            <a:ext cx="252413" cy="252412"/>
            <a:chOff x="345344" y="4465041"/>
            <a:chExt cx="365760" cy="365760"/>
          </a:xfrm>
        </p:grpSpPr>
        <p:sp>
          <p:nvSpPr>
            <p:cNvPr id="137" name="Oval 136">
              <a:extLst>
                <a:ext uri="{FF2B5EF4-FFF2-40B4-BE49-F238E27FC236}"/>
              </a:extLst>
            </p:cNvPr>
            <p:cNvSpPr/>
            <p:nvPr/>
          </p:nvSpPr>
          <p:spPr bwMode="ltGray">
            <a:xfrm>
              <a:off x="345344" y="4465041"/>
              <a:ext cx="365760" cy="365760"/>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38" name="Freeform 8">
              <a:extLst>
                <a:ext uri="{FF2B5EF4-FFF2-40B4-BE49-F238E27FC236}"/>
              </a:extLst>
            </p:cNvPr>
            <p:cNvSpPr>
              <a:spLocks noEditPoints="1"/>
            </p:cNvSpPr>
            <p:nvPr/>
          </p:nvSpPr>
          <p:spPr bwMode="auto">
            <a:xfrm>
              <a:off x="386751" y="4524851"/>
              <a:ext cx="289847" cy="216236"/>
            </a:xfrm>
            <a:custGeom>
              <a:avLst/>
              <a:gdLst>
                <a:gd name="T0" fmla="*/ 747 w 1356"/>
                <a:gd name="T1" fmla="*/ 10 h 907"/>
                <a:gd name="T2" fmla="*/ 630 w 1356"/>
                <a:gd name="T3" fmla="*/ 1 h 907"/>
                <a:gd name="T4" fmla="*/ 574 w 1356"/>
                <a:gd name="T5" fmla="*/ 66 h 907"/>
                <a:gd name="T6" fmla="*/ 377 w 1356"/>
                <a:gd name="T7" fmla="*/ 100 h 907"/>
                <a:gd name="T8" fmla="*/ 187 w 1356"/>
                <a:gd name="T9" fmla="*/ 215 h 907"/>
                <a:gd name="T10" fmla="*/ 56 w 1356"/>
                <a:gd name="T11" fmla="*/ 391 h 907"/>
                <a:gd name="T12" fmla="*/ 0 w 1356"/>
                <a:gd name="T13" fmla="*/ 609 h 907"/>
                <a:gd name="T14" fmla="*/ 7 w 1356"/>
                <a:gd name="T15" fmla="*/ 829 h 907"/>
                <a:gd name="T16" fmla="*/ 50 w 1356"/>
                <a:gd name="T17" fmla="*/ 896 h 907"/>
                <a:gd name="T18" fmla="*/ 118 w 1356"/>
                <a:gd name="T19" fmla="*/ 904 h 907"/>
                <a:gd name="T20" fmla="*/ 284 w 1356"/>
                <a:gd name="T21" fmla="*/ 794 h 907"/>
                <a:gd name="T22" fmla="*/ 519 w 1356"/>
                <a:gd name="T23" fmla="*/ 629 h 907"/>
                <a:gd name="T24" fmla="*/ 678 w 1356"/>
                <a:gd name="T25" fmla="*/ 596 h 907"/>
                <a:gd name="T26" fmla="*/ 808 w 1356"/>
                <a:gd name="T27" fmla="*/ 618 h 907"/>
                <a:gd name="T28" fmla="*/ 1022 w 1356"/>
                <a:gd name="T29" fmla="*/ 752 h 907"/>
                <a:gd name="T30" fmla="*/ 1228 w 1356"/>
                <a:gd name="T31" fmla="*/ 901 h 907"/>
                <a:gd name="T32" fmla="*/ 1299 w 1356"/>
                <a:gd name="T33" fmla="*/ 899 h 907"/>
                <a:gd name="T34" fmla="*/ 1344 w 1356"/>
                <a:gd name="T35" fmla="*/ 841 h 907"/>
                <a:gd name="T36" fmla="*/ 1356 w 1356"/>
                <a:gd name="T37" fmla="*/ 639 h 907"/>
                <a:gd name="T38" fmla="*/ 1311 w 1356"/>
                <a:gd name="T39" fmla="*/ 416 h 907"/>
                <a:gd name="T40" fmla="*/ 1188 w 1356"/>
                <a:gd name="T41" fmla="*/ 233 h 907"/>
                <a:gd name="T42" fmla="*/ 1005 w 1356"/>
                <a:gd name="T43" fmla="*/ 111 h 907"/>
                <a:gd name="T44" fmla="*/ 782 w 1356"/>
                <a:gd name="T45" fmla="*/ 66 h 907"/>
                <a:gd name="T46" fmla="*/ 366 w 1356"/>
                <a:gd name="T47" fmla="*/ 515 h 907"/>
                <a:gd name="T48" fmla="*/ 338 w 1356"/>
                <a:gd name="T49" fmla="*/ 612 h 907"/>
                <a:gd name="T50" fmla="*/ 295 w 1356"/>
                <a:gd name="T51" fmla="*/ 606 h 907"/>
                <a:gd name="T52" fmla="*/ 265 w 1356"/>
                <a:gd name="T53" fmla="*/ 509 h 907"/>
                <a:gd name="T54" fmla="*/ 170 w 1356"/>
                <a:gd name="T55" fmla="*/ 478 h 907"/>
                <a:gd name="T56" fmla="*/ 143 w 1356"/>
                <a:gd name="T57" fmla="*/ 435 h 907"/>
                <a:gd name="T58" fmla="*/ 206 w 1356"/>
                <a:gd name="T59" fmla="*/ 394 h 907"/>
                <a:gd name="T60" fmla="*/ 274 w 1356"/>
                <a:gd name="T61" fmla="*/ 326 h 907"/>
                <a:gd name="T62" fmla="*/ 315 w 1356"/>
                <a:gd name="T63" fmla="*/ 263 h 907"/>
                <a:gd name="T64" fmla="*/ 358 w 1356"/>
                <a:gd name="T65" fmla="*/ 290 h 907"/>
                <a:gd name="T66" fmla="*/ 385 w 1356"/>
                <a:gd name="T67" fmla="*/ 388 h 907"/>
                <a:gd name="T68" fmla="*/ 487 w 1356"/>
                <a:gd name="T69" fmla="*/ 415 h 907"/>
                <a:gd name="T70" fmla="*/ 492 w 1356"/>
                <a:gd name="T71" fmla="*/ 458 h 907"/>
                <a:gd name="T72" fmla="*/ 908 w 1356"/>
                <a:gd name="T73" fmla="*/ 436 h 907"/>
                <a:gd name="T74" fmla="*/ 839 w 1356"/>
                <a:gd name="T75" fmla="*/ 457 h 907"/>
                <a:gd name="T76" fmla="*/ 805 w 1356"/>
                <a:gd name="T77" fmla="*/ 393 h 907"/>
                <a:gd name="T78" fmla="*/ 861 w 1356"/>
                <a:gd name="T79" fmla="*/ 348 h 907"/>
                <a:gd name="T80" fmla="*/ 917 w 1356"/>
                <a:gd name="T81" fmla="*/ 393 h 907"/>
                <a:gd name="T82" fmla="*/ 912 w 1356"/>
                <a:gd name="T83" fmla="*/ 230 h 907"/>
                <a:gd name="T84" fmla="*/ 983 w 1356"/>
                <a:gd name="T85" fmla="*/ 223 h 907"/>
                <a:gd name="T86" fmla="*/ 998 w 1356"/>
                <a:gd name="T87" fmla="*/ 302 h 907"/>
                <a:gd name="T88" fmla="*/ 930 w 1356"/>
                <a:gd name="T89" fmla="*/ 323 h 907"/>
                <a:gd name="T90" fmla="*/ 895 w 1356"/>
                <a:gd name="T91" fmla="*/ 259 h 907"/>
                <a:gd name="T92" fmla="*/ 1008 w 1356"/>
                <a:gd name="T93" fmla="*/ 541 h 907"/>
                <a:gd name="T94" fmla="*/ 939 w 1356"/>
                <a:gd name="T95" fmla="*/ 520 h 907"/>
                <a:gd name="T96" fmla="*/ 946 w 1356"/>
                <a:gd name="T97" fmla="*/ 448 h 907"/>
                <a:gd name="T98" fmla="*/ 1018 w 1356"/>
                <a:gd name="T99" fmla="*/ 442 h 907"/>
                <a:gd name="T100" fmla="*/ 1033 w 1356"/>
                <a:gd name="T101" fmla="*/ 521 h 907"/>
                <a:gd name="T102" fmla="*/ 1078 w 1356"/>
                <a:gd name="T103" fmla="*/ 412 h 907"/>
                <a:gd name="T104" fmla="*/ 1021 w 1356"/>
                <a:gd name="T105" fmla="*/ 365 h 907"/>
                <a:gd name="T106" fmla="*/ 1056 w 1356"/>
                <a:gd name="T107" fmla="*/ 302 h 907"/>
                <a:gd name="T108" fmla="*/ 1125 w 1356"/>
                <a:gd name="T109" fmla="*/ 324 h 907"/>
                <a:gd name="T110" fmla="*/ 1250 w 1356"/>
                <a:gd name="T111" fmla="*/ 471 h 907"/>
                <a:gd name="T112" fmla="*/ 1182 w 1356"/>
                <a:gd name="T113" fmla="*/ 492 h 907"/>
                <a:gd name="T114" fmla="*/ 1147 w 1356"/>
                <a:gd name="T115" fmla="*/ 428 h 907"/>
                <a:gd name="T116" fmla="*/ 1202 w 1356"/>
                <a:gd name="T117" fmla="*/ 382 h 907"/>
                <a:gd name="T118" fmla="*/ 1259 w 1356"/>
                <a:gd name="T119" fmla="*/ 428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56" h="907">
                  <a:moveTo>
                    <a:pt x="782" y="66"/>
                  </a:moveTo>
                  <a:lnTo>
                    <a:pt x="778" y="66"/>
                  </a:lnTo>
                  <a:lnTo>
                    <a:pt x="778" y="66"/>
                  </a:lnTo>
                  <a:lnTo>
                    <a:pt x="775" y="52"/>
                  </a:lnTo>
                  <a:lnTo>
                    <a:pt x="771" y="40"/>
                  </a:lnTo>
                  <a:lnTo>
                    <a:pt x="764" y="28"/>
                  </a:lnTo>
                  <a:lnTo>
                    <a:pt x="757" y="18"/>
                  </a:lnTo>
                  <a:lnTo>
                    <a:pt x="747" y="10"/>
                  </a:lnTo>
                  <a:lnTo>
                    <a:pt x="737" y="4"/>
                  </a:lnTo>
                  <a:lnTo>
                    <a:pt x="726" y="1"/>
                  </a:lnTo>
                  <a:lnTo>
                    <a:pt x="721" y="0"/>
                  </a:lnTo>
                  <a:lnTo>
                    <a:pt x="715" y="0"/>
                  </a:lnTo>
                  <a:lnTo>
                    <a:pt x="641" y="0"/>
                  </a:lnTo>
                  <a:lnTo>
                    <a:pt x="641" y="0"/>
                  </a:lnTo>
                  <a:lnTo>
                    <a:pt x="635" y="0"/>
                  </a:lnTo>
                  <a:lnTo>
                    <a:pt x="630" y="1"/>
                  </a:lnTo>
                  <a:lnTo>
                    <a:pt x="619" y="4"/>
                  </a:lnTo>
                  <a:lnTo>
                    <a:pt x="608" y="10"/>
                  </a:lnTo>
                  <a:lnTo>
                    <a:pt x="599" y="18"/>
                  </a:lnTo>
                  <a:lnTo>
                    <a:pt x="592" y="28"/>
                  </a:lnTo>
                  <a:lnTo>
                    <a:pt x="585" y="40"/>
                  </a:lnTo>
                  <a:lnTo>
                    <a:pt x="581" y="52"/>
                  </a:lnTo>
                  <a:lnTo>
                    <a:pt x="578" y="66"/>
                  </a:lnTo>
                  <a:lnTo>
                    <a:pt x="574" y="66"/>
                  </a:lnTo>
                  <a:lnTo>
                    <a:pt x="574" y="66"/>
                  </a:lnTo>
                  <a:lnTo>
                    <a:pt x="545" y="67"/>
                  </a:lnTo>
                  <a:lnTo>
                    <a:pt x="516" y="69"/>
                  </a:lnTo>
                  <a:lnTo>
                    <a:pt x="487" y="72"/>
                  </a:lnTo>
                  <a:lnTo>
                    <a:pt x="458" y="77"/>
                  </a:lnTo>
                  <a:lnTo>
                    <a:pt x="430" y="84"/>
                  </a:lnTo>
                  <a:lnTo>
                    <a:pt x="403" y="92"/>
                  </a:lnTo>
                  <a:lnTo>
                    <a:pt x="377" y="100"/>
                  </a:lnTo>
                  <a:lnTo>
                    <a:pt x="351" y="111"/>
                  </a:lnTo>
                  <a:lnTo>
                    <a:pt x="325" y="122"/>
                  </a:lnTo>
                  <a:lnTo>
                    <a:pt x="300" y="135"/>
                  </a:lnTo>
                  <a:lnTo>
                    <a:pt x="276" y="149"/>
                  </a:lnTo>
                  <a:lnTo>
                    <a:pt x="254" y="164"/>
                  </a:lnTo>
                  <a:lnTo>
                    <a:pt x="231" y="180"/>
                  </a:lnTo>
                  <a:lnTo>
                    <a:pt x="209" y="196"/>
                  </a:lnTo>
                  <a:lnTo>
                    <a:pt x="187" y="215"/>
                  </a:lnTo>
                  <a:lnTo>
                    <a:pt x="168" y="233"/>
                  </a:lnTo>
                  <a:lnTo>
                    <a:pt x="149" y="254"/>
                  </a:lnTo>
                  <a:lnTo>
                    <a:pt x="131" y="274"/>
                  </a:lnTo>
                  <a:lnTo>
                    <a:pt x="114" y="296"/>
                  </a:lnTo>
                  <a:lnTo>
                    <a:pt x="97" y="319"/>
                  </a:lnTo>
                  <a:lnTo>
                    <a:pt x="83" y="341"/>
                  </a:lnTo>
                  <a:lnTo>
                    <a:pt x="69" y="366"/>
                  </a:lnTo>
                  <a:lnTo>
                    <a:pt x="56" y="391"/>
                  </a:lnTo>
                  <a:lnTo>
                    <a:pt x="44" y="416"/>
                  </a:lnTo>
                  <a:lnTo>
                    <a:pt x="35" y="442"/>
                  </a:lnTo>
                  <a:lnTo>
                    <a:pt x="26" y="469"/>
                  </a:lnTo>
                  <a:lnTo>
                    <a:pt x="17" y="496"/>
                  </a:lnTo>
                  <a:lnTo>
                    <a:pt x="12" y="524"/>
                  </a:lnTo>
                  <a:lnTo>
                    <a:pt x="6" y="552"/>
                  </a:lnTo>
                  <a:lnTo>
                    <a:pt x="3" y="580"/>
                  </a:lnTo>
                  <a:lnTo>
                    <a:pt x="0" y="609"/>
                  </a:lnTo>
                  <a:lnTo>
                    <a:pt x="0" y="639"/>
                  </a:lnTo>
                  <a:lnTo>
                    <a:pt x="0" y="753"/>
                  </a:lnTo>
                  <a:lnTo>
                    <a:pt x="0" y="753"/>
                  </a:lnTo>
                  <a:lnTo>
                    <a:pt x="0" y="771"/>
                  </a:lnTo>
                  <a:lnTo>
                    <a:pt x="1" y="787"/>
                  </a:lnTo>
                  <a:lnTo>
                    <a:pt x="3" y="802"/>
                  </a:lnTo>
                  <a:lnTo>
                    <a:pt x="5" y="816"/>
                  </a:lnTo>
                  <a:lnTo>
                    <a:pt x="7" y="829"/>
                  </a:lnTo>
                  <a:lnTo>
                    <a:pt x="11" y="841"/>
                  </a:lnTo>
                  <a:lnTo>
                    <a:pt x="15" y="852"/>
                  </a:lnTo>
                  <a:lnTo>
                    <a:pt x="19" y="861"/>
                  </a:lnTo>
                  <a:lnTo>
                    <a:pt x="25" y="870"/>
                  </a:lnTo>
                  <a:lnTo>
                    <a:pt x="30" y="878"/>
                  </a:lnTo>
                  <a:lnTo>
                    <a:pt x="37" y="885"/>
                  </a:lnTo>
                  <a:lnTo>
                    <a:pt x="43" y="891"/>
                  </a:lnTo>
                  <a:lnTo>
                    <a:pt x="50" y="896"/>
                  </a:lnTo>
                  <a:lnTo>
                    <a:pt x="57" y="899"/>
                  </a:lnTo>
                  <a:lnTo>
                    <a:pt x="65" y="902"/>
                  </a:lnTo>
                  <a:lnTo>
                    <a:pt x="73" y="905"/>
                  </a:lnTo>
                  <a:lnTo>
                    <a:pt x="81" y="907"/>
                  </a:lnTo>
                  <a:lnTo>
                    <a:pt x="90" y="907"/>
                  </a:lnTo>
                  <a:lnTo>
                    <a:pt x="100" y="907"/>
                  </a:lnTo>
                  <a:lnTo>
                    <a:pt x="108" y="906"/>
                  </a:lnTo>
                  <a:lnTo>
                    <a:pt x="118" y="904"/>
                  </a:lnTo>
                  <a:lnTo>
                    <a:pt x="128" y="901"/>
                  </a:lnTo>
                  <a:lnTo>
                    <a:pt x="148" y="894"/>
                  </a:lnTo>
                  <a:lnTo>
                    <a:pt x="170" y="884"/>
                  </a:lnTo>
                  <a:lnTo>
                    <a:pt x="191" y="871"/>
                  </a:lnTo>
                  <a:lnTo>
                    <a:pt x="213" y="855"/>
                  </a:lnTo>
                  <a:lnTo>
                    <a:pt x="235" y="838"/>
                  </a:lnTo>
                  <a:lnTo>
                    <a:pt x="235" y="838"/>
                  </a:lnTo>
                  <a:lnTo>
                    <a:pt x="284" y="794"/>
                  </a:lnTo>
                  <a:lnTo>
                    <a:pt x="334" y="752"/>
                  </a:lnTo>
                  <a:lnTo>
                    <a:pt x="359" y="732"/>
                  </a:lnTo>
                  <a:lnTo>
                    <a:pt x="384" y="711"/>
                  </a:lnTo>
                  <a:lnTo>
                    <a:pt x="410" y="693"/>
                  </a:lnTo>
                  <a:lnTo>
                    <a:pt x="436" y="674"/>
                  </a:lnTo>
                  <a:lnTo>
                    <a:pt x="463" y="658"/>
                  </a:lnTo>
                  <a:lnTo>
                    <a:pt x="491" y="643"/>
                  </a:lnTo>
                  <a:lnTo>
                    <a:pt x="519" y="629"/>
                  </a:lnTo>
                  <a:lnTo>
                    <a:pt x="548" y="618"/>
                  </a:lnTo>
                  <a:lnTo>
                    <a:pt x="579" y="608"/>
                  </a:lnTo>
                  <a:lnTo>
                    <a:pt x="595" y="605"/>
                  </a:lnTo>
                  <a:lnTo>
                    <a:pt x="611" y="602"/>
                  </a:lnTo>
                  <a:lnTo>
                    <a:pt x="628" y="600"/>
                  </a:lnTo>
                  <a:lnTo>
                    <a:pt x="644" y="598"/>
                  </a:lnTo>
                  <a:lnTo>
                    <a:pt x="661" y="596"/>
                  </a:lnTo>
                  <a:lnTo>
                    <a:pt x="678" y="596"/>
                  </a:lnTo>
                  <a:lnTo>
                    <a:pt x="678" y="596"/>
                  </a:lnTo>
                  <a:lnTo>
                    <a:pt x="695" y="596"/>
                  </a:lnTo>
                  <a:lnTo>
                    <a:pt x="712" y="598"/>
                  </a:lnTo>
                  <a:lnTo>
                    <a:pt x="728" y="600"/>
                  </a:lnTo>
                  <a:lnTo>
                    <a:pt x="745" y="602"/>
                  </a:lnTo>
                  <a:lnTo>
                    <a:pt x="761" y="605"/>
                  </a:lnTo>
                  <a:lnTo>
                    <a:pt x="776" y="608"/>
                  </a:lnTo>
                  <a:lnTo>
                    <a:pt x="808" y="618"/>
                  </a:lnTo>
                  <a:lnTo>
                    <a:pt x="837" y="629"/>
                  </a:lnTo>
                  <a:lnTo>
                    <a:pt x="865" y="643"/>
                  </a:lnTo>
                  <a:lnTo>
                    <a:pt x="893" y="658"/>
                  </a:lnTo>
                  <a:lnTo>
                    <a:pt x="919" y="674"/>
                  </a:lnTo>
                  <a:lnTo>
                    <a:pt x="946" y="693"/>
                  </a:lnTo>
                  <a:lnTo>
                    <a:pt x="972" y="711"/>
                  </a:lnTo>
                  <a:lnTo>
                    <a:pt x="997" y="732"/>
                  </a:lnTo>
                  <a:lnTo>
                    <a:pt x="1022" y="752"/>
                  </a:lnTo>
                  <a:lnTo>
                    <a:pt x="1071" y="794"/>
                  </a:lnTo>
                  <a:lnTo>
                    <a:pt x="1121" y="838"/>
                  </a:lnTo>
                  <a:lnTo>
                    <a:pt x="1121" y="838"/>
                  </a:lnTo>
                  <a:lnTo>
                    <a:pt x="1143" y="855"/>
                  </a:lnTo>
                  <a:lnTo>
                    <a:pt x="1164" y="871"/>
                  </a:lnTo>
                  <a:lnTo>
                    <a:pt x="1186" y="884"/>
                  </a:lnTo>
                  <a:lnTo>
                    <a:pt x="1208" y="894"/>
                  </a:lnTo>
                  <a:lnTo>
                    <a:pt x="1228" y="901"/>
                  </a:lnTo>
                  <a:lnTo>
                    <a:pt x="1238" y="904"/>
                  </a:lnTo>
                  <a:lnTo>
                    <a:pt x="1248" y="906"/>
                  </a:lnTo>
                  <a:lnTo>
                    <a:pt x="1256" y="907"/>
                  </a:lnTo>
                  <a:lnTo>
                    <a:pt x="1266" y="907"/>
                  </a:lnTo>
                  <a:lnTo>
                    <a:pt x="1275" y="907"/>
                  </a:lnTo>
                  <a:lnTo>
                    <a:pt x="1283" y="905"/>
                  </a:lnTo>
                  <a:lnTo>
                    <a:pt x="1291" y="902"/>
                  </a:lnTo>
                  <a:lnTo>
                    <a:pt x="1299" y="899"/>
                  </a:lnTo>
                  <a:lnTo>
                    <a:pt x="1306" y="896"/>
                  </a:lnTo>
                  <a:lnTo>
                    <a:pt x="1313" y="891"/>
                  </a:lnTo>
                  <a:lnTo>
                    <a:pt x="1319" y="885"/>
                  </a:lnTo>
                  <a:lnTo>
                    <a:pt x="1326" y="878"/>
                  </a:lnTo>
                  <a:lnTo>
                    <a:pt x="1331" y="870"/>
                  </a:lnTo>
                  <a:lnTo>
                    <a:pt x="1337" y="861"/>
                  </a:lnTo>
                  <a:lnTo>
                    <a:pt x="1341" y="852"/>
                  </a:lnTo>
                  <a:lnTo>
                    <a:pt x="1344" y="841"/>
                  </a:lnTo>
                  <a:lnTo>
                    <a:pt x="1349" y="829"/>
                  </a:lnTo>
                  <a:lnTo>
                    <a:pt x="1351" y="816"/>
                  </a:lnTo>
                  <a:lnTo>
                    <a:pt x="1353" y="802"/>
                  </a:lnTo>
                  <a:lnTo>
                    <a:pt x="1355" y="787"/>
                  </a:lnTo>
                  <a:lnTo>
                    <a:pt x="1356" y="771"/>
                  </a:lnTo>
                  <a:lnTo>
                    <a:pt x="1356" y="753"/>
                  </a:lnTo>
                  <a:lnTo>
                    <a:pt x="1356" y="639"/>
                  </a:lnTo>
                  <a:lnTo>
                    <a:pt x="1356" y="639"/>
                  </a:lnTo>
                  <a:lnTo>
                    <a:pt x="1355" y="609"/>
                  </a:lnTo>
                  <a:lnTo>
                    <a:pt x="1353" y="580"/>
                  </a:lnTo>
                  <a:lnTo>
                    <a:pt x="1350" y="552"/>
                  </a:lnTo>
                  <a:lnTo>
                    <a:pt x="1344" y="524"/>
                  </a:lnTo>
                  <a:lnTo>
                    <a:pt x="1338" y="496"/>
                  </a:lnTo>
                  <a:lnTo>
                    <a:pt x="1330" y="469"/>
                  </a:lnTo>
                  <a:lnTo>
                    <a:pt x="1322" y="442"/>
                  </a:lnTo>
                  <a:lnTo>
                    <a:pt x="1311" y="416"/>
                  </a:lnTo>
                  <a:lnTo>
                    <a:pt x="1300" y="391"/>
                  </a:lnTo>
                  <a:lnTo>
                    <a:pt x="1287" y="366"/>
                  </a:lnTo>
                  <a:lnTo>
                    <a:pt x="1273" y="341"/>
                  </a:lnTo>
                  <a:lnTo>
                    <a:pt x="1259" y="319"/>
                  </a:lnTo>
                  <a:lnTo>
                    <a:pt x="1242" y="296"/>
                  </a:lnTo>
                  <a:lnTo>
                    <a:pt x="1225" y="274"/>
                  </a:lnTo>
                  <a:lnTo>
                    <a:pt x="1207" y="254"/>
                  </a:lnTo>
                  <a:lnTo>
                    <a:pt x="1188" y="233"/>
                  </a:lnTo>
                  <a:lnTo>
                    <a:pt x="1168" y="215"/>
                  </a:lnTo>
                  <a:lnTo>
                    <a:pt x="1147" y="196"/>
                  </a:lnTo>
                  <a:lnTo>
                    <a:pt x="1125" y="180"/>
                  </a:lnTo>
                  <a:lnTo>
                    <a:pt x="1103" y="164"/>
                  </a:lnTo>
                  <a:lnTo>
                    <a:pt x="1080" y="149"/>
                  </a:lnTo>
                  <a:lnTo>
                    <a:pt x="1056" y="135"/>
                  </a:lnTo>
                  <a:lnTo>
                    <a:pt x="1031" y="122"/>
                  </a:lnTo>
                  <a:lnTo>
                    <a:pt x="1005" y="111"/>
                  </a:lnTo>
                  <a:lnTo>
                    <a:pt x="979" y="100"/>
                  </a:lnTo>
                  <a:lnTo>
                    <a:pt x="953" y="92"/>
                  </a:lnTo>
                  <a:lnTo>
                    <a:pt x="925" y="84"/>
                  </a:lnTo>
                  <a:lnTo>
                    <a:pt x="898" y="77"/>
                  </a:lnTo>
                  <a:lnTo>
                    <a:pt x="869" y="72"/>
                  </a:lnTo>
                  <a:lnTo>
                    <a:pt x="840" y="69"/>
                  </a:lnTo>
                  <a:lnTo>
                    <a:pt x="811" y="67"/>
                  </a:lnTo>
                  <a:lnTo>
                    <a:pt x="782" y="66"/>
                  </a:lnTo>
                  <a:lnTo>
                    <a:pt x="782" y="66"/>
                  </a:lnTo>
                  <a:close/>
                  <a:moveTo>
                    <a:pt x="434" y="486"/>
                  </a:moveTo>
                  <a:lnTo>
                    <a:pt x="393" y="486"/>
                  </a:lnTo>
                  <a:lnTo>
                    <a:pt x="393" y="486"/>
                  </a:lnTo>
                  <a:lnTo>
                    <a:pt x="388" y="495"/>
                  </a:lnTo>
                  <a:lnTo>
                    <a:pt x="382" y="502"/>
                  </a:lnTo>
                  <a:lnTo>
                    <a:pt x="374" y="509"/>
                  </a:lnTo>
                  <a:lnTo>
                    <a:pt x="366" y="515"/>
                  </a:lnTo>
                  <a:lnTo>
                    <a:pt x="366" y="553"/>
                  </a:lnTo>
                  <a:lnTo>
                    <a:pt x="366" y="553"/>
                  </a:lnTo>
                  <a:lnTo>
                    <a:pt x="365" y="566"/>
                  </a:lnTo>
                  <a:lnTo>
                    <a:pt x="362" y="578"/>
                  </a:lnTo>
                  <a:lnTo>
                    <a:pt x="358" y="589"/>
                  </a:lnTo>
                  <a:lnTo>
                    <a:pt x="352" y="599"/>
                  </a:lnTo>
                  <a:lnTo>
                    <a:pt x="346" y="606"/>
                  </a:lnTo>
                  <a:lnTo>
                    <a:pt x="338" y="612"/>
                  </a:lnTo>
                  <a:lnTo>
                    <a:pt x="329" y="616"/>
                  </a:lnTo>
                  <a:lnTo>
                    <a:pt x="325" y="617"/>
                  </a:lnTo>
                  <a:lnTo>
                    <a:pt x="320" y="617"/>
                  </a:lnTo>
                  <a:lnTo>
                    <a:pt x="320" y="617"/>
                  </a:lnTo>
                  <a:lnTo>
                    <a:pt x="315" y="617"/>
                  </a:lnTo>
                  <a:lnTo>
                    <a:pt x="311" y="616"/>
                  </a:lnTo>
                  <a:lnTo>
                    <a:pt x="302" y="612"/>
                  </a:lnTo>
                  <a:lnTo>
                    <a:pt x="295" y="606"/>
                  </a:lnTo>
                  <a:lnTo>
                    <a:pt x="287" y="599"/>
                  </a:lnTo>
                  <a:lnTo>
                    <a:pt x="282" y="589"/>
                  </a:lnTo>
                  <a:lnTo>
                    <a:pt x="277" y="578"/>
                  </a:lnTo>
                  <a:lnTo>
                    <a:pt x="275" y="566"/>
                  </a:lnTo>
                  <a:lnTo>
                    <a:pt x="274" y="553"/>
                  </a:lnTo>
                  <a:lnTo>
                    <a:pt x="274" y="515"/>
                  </a:lnTo>
                  <a:lnTo>
                    <a:pt x="274" y="515"/>
                  </a:lnTo>
                  <a:lnTo>
                    <a:pt x="265" y="509"/>
                  </a:lnTo>
                  <a:lnTo>
                    <a:pt x="258" y="502"/>
                  </a:lnTo>
                  <a:lnTo>
                    <a:pt x="251" y="495"/>
                  </a:lnTo>
                  <a:lnTo>
                    <a:pt x="246" y="486"/>
                  </a:lnTo>
                  <a:lnTo>
                    <a:pt x="206" y="486"/>
                  </a:lnTo>
                  <a:lnTo>
                    <a:pt x="206" y="486"/>
                  </a:lnTo>
                  <a:lnTo>
                    <a:pt x="193" y="485"/>
                  </a:lnTo>
                  <a:lnTo>
                    <a:pt x="181" y="482"/>
                  </a:lnTo>
                  <a:lnTo>
                    <a:pt x="170" y="478"/>
                  </a:lnTo>
                  <a:lnTo>
                    <a:pt x="161" y="472"/>
                  </a:lnTo>
                  <a:lnTo>
                    <a:pt x="153" y="466"/>
                  </a:lnTo>
                  <a:lnTo>
                    <a:pt x="147" y="458"/>
                  </a:lnTo>
                  <a:lnTo>
                    <a:pt x="144" y="449"/>
                  </a:lnTo>
                  <a:lnTo>
                    <a:pt x="143" y="445"/>
                  </a:lnTo>
                  <a:lnTo>
                    <a:pt x="142" y="440"/>
                  </a:lnTo>
                  <a:lnTo>
                    <a:pt x="142" y="440"/>
                  </a:lnTo>
                  <a:lnTo>
                    <a:pt x="143" y="435"/>
                  </a:lnTo>
                  <a:lnTo>
                    <a:pt x="144" y="431"/>
                  </a:lnTo>
                  <a:lnTo>
                    <a:pt x="147" y="422"/>
                  </a:lnTo>
                  <a:lnTo>
                    <a:pt x="153" y="415"/>
                  </a:lnTo>
                  <a:lnTo>
                    <a:pt x="161" y="407"/>
                  </a:lnTo>
                  <a:lnTo>
                    <a:pt x="170" y="402"/>
                  </a:lnTo>
                  <a:lnTo>
                    <a:pt x="181" y="398"/>
                  </a:lnTo>
                  <a:lnTo>
                    <a:pt x="193" y="395"/>
                  </a:lnTo>
                  <a:lnTo>
                    <a:pt x="206" y="394"/>
                  </a:lnTo>
                  <a:lnTo>
                    <a:pt x="250" y="394"/>
                  </a:lnTo>
                  <a:lnTo>
                    <a:pt x="250" y="394"/>
                  </a:lnTo>
                  <a:lnTo>
                    <a:pt x="256" y="388"/>
                  </a:lnTo>
                  <a:lnTo>
                    <a:pt x="261" y="382"/>
                  </a:lnTo>
                  <a:lnTo>
                    <a:pt x="268" y="377"/>
                  </a:lnTo>
                  <a:lnTo>
                    <a:pt x="274" y="372"/>
                  </a:lnTo>
                  <a:lnTo>
                    <a:pt x="274" y="326"/>
                  </a:lnTo>
                  <a:lnTo>
                    <a:pt x="274" y="326"/>
                  </a:lnTo>
                  <a:lnTo>
                    <a:pt x="275" y="313"/>
                  </a:lnTo>
                  <a:lnTo>
                    <a:pt x="277" y="301"/>
                  </a:lnTo>
                  <a:lnTo>
                    <a:pt x="282" y="290"/>
                  </a:lnTo>
                  <a:lnTo>
                    <a:pt x="287" y="282"/>
                  </a:lnTo>
                  <a:lnTo>
                    <a:pt x="295" y="274"/>
                  </a:lnTo>
                  <a:lnTo>
                    <a:pt x="302" y="268"/>
                  </a:lnTo>
                  <a:lnTo>
                    <a:pt x="311" y="265"/>
                  </a:lnTo>
                  <a:lnTo>
                    <a:pt x="315" y="263"/>
                  </a:lnTo>
                  <a:lnTo>
                    <a:pt x="320" y="262"/>
                  </a:lnTo>
                  <a:lnTo>
                    <a:pt x="320" y="262"/>
                  </a:lnTo>
                  <a:lnTo>
                    <a:pt x="325" y="263"/>
                  </a:lnTo>
                  <a:lnTo>
                    <a:pt x="329" y="265"/>
                  </a:lnTo>
                  <a:lnTo>
                    <a:pt x="338" y="268"/>
                  </a:lnTo>
                  <a:lnTo>
                    <a:pt x="346" y="274"/>
                  </a:lnTo>
                  <a:lnTo>
                    <a:pt x="352" y="282"/>
                  </a:lnTo>
                  <a:lnTo>
                    <a:pt x="358" y="290"/>
                  </a:lnTo>
                  <a:lnTo>
                    <a:pt x="362" y="301"/>
                  </a:lnTo>
                  <a:lnTo>
                    <a:pt x="365" y="313"/>
                  </a:lnTo>
                  <a:lnTo>
                    <a:pt x="366" y="326"/>
                  </a:lnTo>
                  <a:lnTo>
                    <a:pt x="366" y="372"/>
                  </a:lnTo>
                  <a:lnTo>
                    <a:pt x="366" y="372"/>
                  </a:lnTo>
                  <a:lnTo>
                    <a:pt x="373" y="377"/>
                  </a:lnTo>
                  <a:lnTo>
                    <a:pt x="378" y="382"/>
                  </a:lnTo>
                  <a:lnTo>
                    <a:pt x="385" y="388"/>
                  </a:lnTo>
                  <a:lnTo>
                    <a:pt x="389" y="394"/>
                  </a:lnTo>
                  <a:lnTo>
                    <a:pt x="434" y="394"/>
                  </a:lnTo>
                  <a:lnTo>
                    <a:pt x="434" y="394"/>
                  </a:lnTo>
                  <a:lnTo>
                    <a:pt x="447" y="395"/>
                  </a:lnTo>
                  <a:lnTo>
                    <a:pt x="458" y="398"/>
                  </a:lnTo>
                  <a:lnTo>
                    <a:pt x="469" y="402"/>
                  </a:lnTo>
                  <a:lnTo>
                    <a:pt x="479" y="407"/>
                  </a:lnTo>
                  <a:lnTo>
                    <a:pt x="487" y="415"/>
                  </a:lnTo>
                  <a:lnTo>
                    <a:pt x="492" y="422"/>
                  </a:lnTo>
                  <a:lnTo>
                    <a:pt x="496" y="431"/>
                  </a:lnTo>
                  <a:lnTo>
                    <a:pt x="498" y="435"/>
                  </a:lnTo>
                  <a:lnTo>
                    <a:pt x="498" y="440"/>
                  </a:lnTo>
                  <a:lnTo>
                    <a:pt x="498" y="440"/>
                  </a:lnTo>
                  <a:lnTo>
                    <a:pt x="498" y="445"/>
                  </a:lnTo>
                  <a:lnTo>
                    <a:pt x="496" y="449"/>
                  </a:lnTo>
                  <a:lnTo>
                    <a:pt x="492" y="458"/>
                  </a:lnTo>
                  <a:lnTo>
                    <a:pt x="487" y="466"/>
                  </a:lnTo>
                  <a:lnTo>
                    <a:pt x="479" y="472"/>
                  </a:lnTo>
                  <a:lnTo>
                    <a:pt x="469" y="478"/>
                  </a:lnTo>
                  <a:lnTo>
                    <a:pt x="458" y="482"/>
                  </a:lnTo>
                  <a:lnTo>
                    <a:pt x="447" y="485"/>
                  </a:lnTo>
                  <a:lnTo>
                    <a:pt x="434" y="486"/>
                  </a:lnTo>
                  <a:lnTo>
                    <a:pt x="434" y="486"/>
                  </a:lnTo>
                  <a:close/>
                  <a:moveTo>
                    <a:pt x="908" y="436"/>
                  </a:moveTo>
                  <a:lnTo>
                    <a:pt x="908" y="436"/>
                  </a:lnTo>
                  <a:lnTo>
                    <a:pt x="901" y="445"/>
                  </a:lnTo>
                  <a:lnTo>
                    <a:pt x="892" y="452"/>
                  </a:lnTo>
                  <a:lnTo>
                    <a:pt x="882" y="457"/>
                  </a:lnTo>
                  <a:lnTo>
                    <a:pt x="872" y="460"/>
                  </a:lnTo>
                  <a:lnTo>
                    <a:pt x="861" y="461"/>
                  </a:lnTo>
                  <a:lnTo>
                    <a:pt x="850" y="460"/>
                  </a:lnTo>
                  <a:lnTo>
                    <a:pt x="839" y="457"/>
                  </a:lnTo>
                  <a:lnTo>
                    <a:pt x="829" y="452"/>
                  </a:lnTo>
                  <a:lnTo>
                    <a:pt x="829" y="452"/>
                  </a:lnTo>
                  <a:lnTo>
                    <a:pt x="821" y="444"/>
                  </a:lnTo>
                  <a:lnTo>
                    <a:pt x="813" y="435"/>
                  </a:lnTo>
                  <a:lnTo>
                    <a:pt x="809" y="426"/>
                  </a:lnTo>
                  <a:lnTo>
                    <a:pt x="805" y="416"/>
                  </a:lnTo>
                  <a:lnTo>
                    <a:pt x="804" y="405"/>
                  </a:lnTo>
                  <a:lnTo>
                    <a:pt x="805" y="393"/>
                  </a:lnTo>
                  <a:lnTo>
                    <a:pt x="809" y="383"/>
                  </a:lnTo>
                  <a:lnTo>
                    <a:pt x="814" y="373"/>
                  </a:lnTo>
                  <a:lnTo>
                    <a:pt x="814" y="373"/>
                  </a:lnTo>
                  <a:lnTo>
                    <a:pt x="822" y="364"/>
                  </a:lnTo>
                  <a:lnTo>
                    <a:pt x="830" y="358"/>
                  </a:lnTo>
                  <a:lnTo>
                    <a:pt x="840" y="352"/>
                  </a:lnTo>
                  <a:lnTo>
                    <a:pt x="850" y="349"/>
                  </a:lnTo>
                  <a:lnTo>
                    <a:pt x="861" y="348"/>
                  </a:lnTo>
                  <a:lnTo>
                    <a:pt x="872" y="349"/>
                  </a:lnTo>
                  <a:lnTo>
                    <a:pt x="882" y="352"/>
                  </a:lnTo>
                  <a:lnTo>
                    <a:pt x="892" y="358"/>
                  </a:lnTo>
                  <a:lnTo>
                    <a:pt x="892" y="358"/>
                  </a:lnTo>
                  <a:lnTo>
                    <a:pt x="902" y="365"/>
                  </a:lnTo>
                  <a:lnTo>
                    <a:pt x="908" y="374"/>
                  </a:lnTo>
                  <a:lnTo>
                    <a:pt x="914" y="383"/>
                  </a:lnTo>
                  <a:lnTo>
                    <a:pt x="917" y="393"/>
                  </a:lnTo>
                  <a:lnTo>
                    <a:pt x="918" y="405"/>
                  </a:lnTo>
                  <a:lnTo>
                    <a:pt x="917" y="416"/>
                  </a:lnTo>
                  <a:lnTo>
                    <a:pt x="914" y="426"/>
                  </a:lnTo>
                  <a:lnTo>
                    <a:pt x="908" y="436"/>
                  </a:lnTo>
                  <a:lnTo>
                    <a:pt x="908" y="436"/>
                  </a:lnTo>
                  <a:close/>
                  <a:moveTo>
                    <a:pt x="904" y="239"/>
                  </a:moveTo>
                  <a:lnTo>
                    <a:pt x="904" y="239"/>
                  </a:lnTo>
                  <a:lnTo>
                    <a:pt x="912" y="230"/>
                  </a:lnTo>
                  <a:lnTo>
                    <a:pt x="920" y="222"/>
                  </a:lnTo>
                  <a:lnTo>
                    <a:pt x="930" y="218"/>
                  </a:lnTo>
                  <a:lnTo>
                    <a:pt x="941" y="215"/>
                  </a:lnTo>
                  <a:lnTo>
                    <a:pt x="952" y="214"/>
                  </a:lnTo>
                  <a:lnTo>
                    <a:pt x="963" y="215"/>
                  </a:lnTo>
                  <a:lnTo>
                    <a:pt x="973" y="218"/>
                  </a:lnTo>
                  <a:lnTo>
                    <a:pt x="983" y="223"/>
                  </a:lnTo>
                  <a:lnTo>
                    <a:pt x="983" y="223"/>
                  </a:lnTo>
                  <a:lnTo>
                    <a:pt x="992" y="231"/>
                  </a:lnTo>
                  <a:lnTo>
                    <a:pt x="1000" y="240"/>
                  </a:lnTo>
                  <a:lnTo>
                    <a:pt x="1004" y="249"/>
                  </a:lnTo>
                  <a:lnTo>
                    <a:pt x="1007" y="259"/>
                  </a:lnTo>
                  <a:lnTo>
                    <a:pt x="1008" y="270"/>
                  </a:lnTo>
                  <a:lnTo>
                    <a:pt x="1007" y="281"/>
                  </a:lnTo>
                  <a:lnTo>
                    <a:pt x="1004" y="292"/>
                  </a:lnTo>
                  <a:lnTo>
                    <a:pt x="998" y="302"/>
                  </a:lnTo>
                  <a:lnTo>
                    <a:pt x="998" y="302"/>
                  </a:lnTo>
                  <a:lnTo>
                    <a:pt x="991" y="311"/>
                  </a:lnTo>
                  <a:lnTo>
                    <a:pt x="982" y="318"/>
                  </a:lnTo>
                  <a:lnTo>
                    <a:pt x="972" y="323"/>
                  </a:lnTo>
                  <a:lnTo>
                    <a:pt x="963" y="326"/>
                  </a:lnTo>
                  <a:lnTo>
                    <a:pt x="952" y="327"/>
                  </a:lnTo>
                  <a:lnTo>
                    <a:pt x="941" y="326"/>
                  </a:lnTo>
                  <a:lnTo>
                    <a:pt x="930" y="323"/>
                  </a:lnTo>
                  <a:lnTo>
                    <a:pt x="920" y="318"/>
                  </a:lnTo>
                  <a:lnTo>
                    <a:pt x="920" y="318"/>
                  </a:lnTo>
                  <a:lnTo>
                    <a:pt x="911" y="310"/>
                  </a:lnTo>
                  <a:lnTo>
                    <a:pt x="904" y="301"/>
                  </a:lnTo>
                  <a:lnTo>
                    <a:pt x="899" y="292"/>
                  </a:lnTo>
                  <a:lnTo>
                    <a:pt x="895" y="281"/>
                  </a:lnTo>
                  <a:lnTo>
                    <a:pt x="894" y="270"/>
                  </a:lnTo>
                  <a:lnTo>
                    <a:pt x="895" y="259"/>
                  </a:lnTo>
                  <a:lnTo>
                    <a:pt x="899" y="248"/>
                  </a:lnTo>
                  <a:lnTo>
                    <a:pt x="904" y="239"/>
                  </a:lnTo>
                  <a:lnTo>
                    <a:pt x="904" y="239"/>
                  </a:lnTo>
                  <a:close/>
                  <a:moveTo>
                    <a:pt x="1033" y="521"/>
                  </a:moveTo>
                  <a:lnTo>
                    <a:pt x="1033" y="521"/>
                  </a:lnTo>
                  <a:lnTo>
                    <a:pt x="1027" y="529"/>
                  </a:lnTo>
                  <a:lnTo>
                    <a:pt x="1018" y="536"/>
                  </a:lnTo>
                  <a:lnTo>
                    <a:pt x="1008" y="541"/>
                  </a:lnTo>
                  <a:lnTo>
                    <a:pt x="997" y="545"/>
                  </a:lnTo>
                  <a:lnTo>
                    <a:pt x="987" y="546"/>
                  </a:lnTo>
                  <a:lnTo>
                    <a:pt x="976" y="545"/>
                  </a:lnTo>
                  <a:lnTo>
                    <a:pt x="965" y="541"/>
                  </a:lnTo>
                  <a:lnTo>
                    <a:pt x="955" y="536"/>
                  </a:lnTo>
                  <a:lnTo>
                    <a:pt x="955" y="536"/>
                  </a:lnTo>
                  <a:lnTo>
                    <a:pt x="946" y="528"/>
                  </a:lnTo>
                  <a:lnTo>
                    <a:pt x="939" y="520"/>
                  </a:lnTo>
                  <a:lnTo>
                    <a:pt x="933" y="510"/>
                  </a:lnTo>
                  <a:lnTo>
                    <a:pt x="931" y="500"/>
                  </a:lnTo>
                  <a:lnTo>
                    <a:pt x="930" y="489"/>
                  </a:lnTo>
                  <a:lnTo>
                    <a:pt x="931" y="479"/>
                  </a:lnTo>
                  <a:lnTo>
                    <a:pt x="934" y="468"/>
                  </a:lnTo>
                  <a:lnTo>
                    <a:pt x="940" y="457"/>
                  </a:lnTo>
                  <a:lnTo>
                    <a:pt x="940" y="457"/>
                  </a:lnTo>
                  <a:lnTo>
                    <a:pt x="946" y="448"/>
                  </a:lnTo>
                  <a:lnTo>
                    <a:pt x="955" y="442"/>
                  </a:lnTo>
                  <a:lnTo>
                    <a:pt x="965" y="436"/>
                  </a:lnTo>
                  <a:lnTo>
                    <a:pt x="976" y="433"/>
                  </a:lnTo>
                  <a:lnTo>
                    <a:pt x="987" y="432"/>
                  </a:lnTo>
                  <a:lnTo>
                    <a:pt x="997" y="433"/>
                  </a:lnTo>
                  <a:lnTo>
                    <a:pt x="1008" y="436"/>
                  </a:lnTo>
                  <a:lnTo>
                    <a:pt x="1018" y="442"/>
                  </a:lnTo>
                  <a:lnTo>
                    <a:pt x="1018" y="442"/>
                  </a:lnTo>
                  <a:lnTo>
                    <a:pt x="1027" y="449"/>
                  </a:lnTo>
                  <a:lnTo>
                    <a:pt x="1034" y="458"/>
                  </a:lnTo>
                  <a:lnTo>
                    <a:pt x="1040" y="468"/>
                  </a:lnTo>
                  <a:lnTo>
                    <a:pt x="1042" y="479"/>
                  </a:lnTo>
                  <a:lnTo>
                    <a:pt x="1043" y="489"/>
                  </a:lnTo>
                  <a:lnTo>
                    <a:pt x="1042" y="500"/>
                  </a:lnTo>
                  <a:lnTo>
                    <a:pt x="1039" y="510"/>
                  </a:lnTo>
                  <a:lnTo>
                    <a:pt x="1033" y="521"/>
                  </a:lnTo>
                  <a:lnTo>
                    <a:pt x="1033" y="521"/>
                  </a:lnTo>
                  <a:close/>
                  <a:moveTo>
                    <a:pt x="1124" y="387"/>
                  </a:moveTo>
                  <a:lnTo>
                    <a:pt x="1124" y="387"/>
                  </a:lnTo>
                  <a:lnTo>
                    <a:pt x="1117" y="395"/>
                  </a:lnTo>
                  <a:lnTo>
                    <a:pt x="1108" y="402"/>
                  </a:lnTo>
                  <a:lnTo>
                    <a:pt x="1098" y="407"/>
                  </a:lnTo>
                  <a:lnTo>
                    <a:pt x="1088" y="410"/>
                  </a:lnTo>
                  <a:lnTo>
                    <a:pt x="1078" y="412"/>
                  </a:lnTo>
                  <a:lnTo>
                    <a:pt x="1067" y="410"/>
                  </a:lnTo>
                  <a:lnTo>
                    <a:pt x="1056" y="407"/>
                  </a:lnTo>
                  <a:lnTo>
                    <a:pt x="1045" y="402"/>
                  </a:lnTo>
                  <a:lnTo>
                    <a:pt x="1045" y="402"/>
                  </a:lnTo>
                  <a:lnTo>
                    <a:pt x="1036" y="394"/>
                  </a:lnTo>
                  <a:lnTo>
                    <a:pt x="1030" y="386"/>
                  </a:lnTo>
                  <a:lnTo>
                    <a:pt x="1024" y="376"/>
                  </a:lnTo>
                  <a:lnTo>
                    <a:pt x="1021" y="365"/>
                  </a:lnTo>
                  <a:lnTo>
                    <a:pt x="1020" y="354"/>
                  </a:lnTo>
                  <a:lnTo>
                    <a:pt x="1021" y="343"/>
                  </a:lnTo>
                  <a:lnTo>
                    <a:pt x="1024" y="334"/>
                  </a:lnTo>
                  <a:lnTo>
                    <a:pt x="1030" y="323"/>
                  </a:lnTo>
                  <a:lnTo>
                    <a:pt x="1030" y="323"/>
                  </a:lnTo>
                  <a:lnTo>
                    <a:pt x="1037" y="314"/>
                  </a:lnTo>
                  <a:lnTo>
                    <a:pt x="1046" y="308"/>
                  </a:lnTo>
                  <a:lnTo>
                    <a:pt x="1056" y="302"/>
                  </a:lnTo>
                  <a:lnTo>
                    <a:pt x="1067" y="299"/>
                  </a:lnTo>
                  <a:lnTo>
                    <a:pt x="1078" y="298"/>
                  </a:lnTo>
                  <a:lnTo>
                    <a:pt x="1088" y="299"/>
                  </a:lnTo>
                  <a:lnTo>
                    <a:pt x="1099" y="302"/>
                  </a:lnTo>
                  <a:lnTo>
                    <a:pt x="1109" y="308"/>
                  </a:lnTo>
                  <a:lnTo>
                    <a:pt x="1109" y="308"/>
                  </a:lnTo>
                  <a:lnTo>
                    <a:pt x="1118" y="315"/>
                  </a:lnTo>
                  <a:lnTo>
                    <a:pt x="1125" y="324"/>
                  </a:lnTo>
                  <a:lnTo>
                    <a:pt x="1130" y="334"/>
                  </a:lnTo>
                  <a:lnTo>
                    <a:pt x="1133" y="343"/>
                  </a:lnTo>
                  <a:lnTo>
                    <a:pt x="1134" y="354"/>
                  </a:lnTo>
                  <a:lnTo>
                    <a:pt x="1133" y="366"/>
                  </a:lnTo>
                  <a:lnTo>
                    <a:pt x="1130" y="376"/>
                  </a:lnTo>
                  <a:lnTo>
                    <a:pt x="1124" y="387"/>
                  </a:lnTo>
                  <a:lnTo>
                    <a:pt x="1124" y="387"/>
                  </a:lnTo>
                  <a:close/>
                  <a:moveTo>
                    <a:pt x="1250" y="471"/>
                  </a:moveTo>
                  <a:lnTo>
                    <a:pt x="1250" y="471"/>
                  </a:lnTo>
                  <a:lnTo>
                    <a:pt x="1242" y="480"/>
                  </a:lnTo>
                  <a:lnTo>
                    <a:pt x="1234" y="486"/>
                  </a:lnTo>
                  <a:lnTo>
                    <a:pt x="1224" y="492"/>
                  </a:lnTo>
                  <a:lnTo>
                    <a:pt x="1214" y="495"/>
                  </a:lnTo>
                  <a:lnTo>
                    <a:pt x="1203" y="496"/>
                  </a:lnTo>
                  <a:lnTo>
                    <a:pt x="1191" y="495"/>
                  </a:lnTo>
                  <a:lnTo>
                    <a:pt x="1182" y="492"/>
                  </a:lnTo>
                  <a:lnTo>
                    <a:pt x="1171" y="486"/>
                  </a:lnTo>
                  <a:lnTo>
                    <a:pt x="1171" y="486"/>
                  </a:lnTo>
                  <a:lnTo>
                    <a:pt x="1162" y="479"/>
                  </a:lnTo>
                  <a:lnTo>
                    <a:pt x="1156" y="470"/>
                  </a:lnTo>
                  <a:lnTo>
                    <a:pt x="1150" y="460"/>
                  </a:lnTo>
                  <a:lnTo>
                    <a:pt x="1147" y="451"/>
                  </a:lnTo>
                  <a:lnTo>
                    <a:pt x="1146" y="440"/>
                  </a:lnTo>
                  <a:lnTo>
                    <a:pt x="1147" y="428"/>
                  </a:lnTo>
                  <a:lnTo>
                    <a:pt x="1150" y="418"/>
                  </a:lnTo>
                  <a:lnTo>
                    <a:pt x="1156" y="407"/>
                  </a:lnTo>
                  <a:lnTo>
                    <a:pt x="1156" y="407"/>
                  </a:lnTo>
                  <a:lnTo>
                    <a:pt x="1163" y="399"/>
                  </a:lnTo>
                  <a:lnTo>
                    <a:pt x="1172" y="392"/>
                  </a:lnTo>
                  <a:lnTo>
                    <a:pt x="1182" y="387"/>
                  </a:lnTo>
                  <a:lnTo>
                    <a:pt x="1191" y="383"/>
                  </a:lnTo>
                  <a:lnTo>
                    <a:pt x="1202" y="382"/>
                  </a:lnTo>
                  <a:lnTo>
                    <a:pt x="1214" y="383"/>
                  </a:lnTo>
                  <a:lnTo>
                    <a:pt x="1224" y="387"/>
                  </a:lnTo>
                  <a:lnTo>
                    <a:pt x="1235" y="392"/>
                  </a:lnTo>
                  <a:lnTo>
                    <a:pt x="1235" y="392"/>
                  </a:lnTo>
                  <a:lnTo>
                    <a:pt x="1243" y="400"/>
                  </a:lnTo>
                  <a:lnTo>
                    <a:pt x="1250" y="408"/>
                  </a:lnTo>
                  <a:lnTo>
                    <a:pt x="1255" y="418"/>
                  </a:lnTo>
                  <a:lnTo>
                    <a:pt x="1259" y="428"/>
                  </a:lnTo>
                  <a:lnTo>
                    <a:pt x="1260" y="439"/>
                  </a:lnTo>
                  <a:lnTo>
                    <a:pt x="1259" y="451"/>
                  </a:lnTo>
                  <a:lnTo>
                    <a:pt x="1255" y="460"/>
                  </a:lnTo>
                  <a:lnTo>
                    <a:pt x="1250" y="471"/>
                  </a:lnTo>
                  <a:lnTo>
                    <a:pt x="1250"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latin typeface="Georgia"/>
                <a:ea typeface="Arial"/>
                <a:cs typeface="Arial"/>
                <a:sym typeface="Arial"/>
              </a:endParaRPr>
            </a:p>
          </p:txBody>
        </p:sp>
      </p:grpSp>
      <p:grpSp>
        <p:nvGrpSpPr>
          <p:cNvPr id="66619" name="Group 165"/>
          <p:cNvGrpSpPr>
            <a:grpSpLocks/>
          </p:cNvGrpSpPr>
          <p:nvPr/>
        </p:nvGrpSpPr>
        <p:grpSpPr bwMode="auto">
          <a:xfrm>
            <a:off x="250825" y="5556250"/>
            <a:ext cx="252413" cy="252413"/>
            <a:chOff x="401838" y="3795461"/>
            <a:chExt cx="365760" cy="365760"/>
          </a:xfrm>
        </p:grpSpPr>
        <p:sp>
          <p:nvSpPr>
            <p:cNvPr id="140" name="Oval 139">
              <a:extLst>
                <a:ext uri="{FF2B5EF4-FFF2-40B4-BE49-F238E27FC236}"/>
              </a:extLst>
            </p:cNvPr>
            <p:cNvSpPr/>
            <p:nvPr/>
          </p:nvSpPr>
          <p:spPr bwMode="ltGray">
            <a:xfrm>
              <a:off x="401838" y="3795461"/>
              <a:ext cx="365760" cy="365760"/>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41" name="Freeform 11">
              <a:extLst>
                <a:ext uri="{FF2B5EF4-FFF2-40B4-BE49-F238E27FC236}"/>
              </a:extLst>
            </p:cNvPr>
            <p:cNvSpPr>
              <a:spLocks noEditPoints="1"/>
            </p:cNvSpPr>
            <p:nvPr/>
          </p:nvSpPr>
          <p:spPr bwMode="auto">
            <a:xfrm>
              <a:off x="424842" y="3797762"/>
              <a:ext cx="287547" cy="324352"/>
            </a:xfrm>
            <a:custGeom>
              <a:avLst/>
              <a:gdLst>
                <a:gd name="T0" fmla="*/ 652 w 744"/>
                <a:gd name="T1" fmla="*/ 330 h 779"/>
                <a:gd name="T2" fmla="*/ 702 w 744"/>
                <a:gd name="T3" fmla="*/ 481 h 779"/>
                <a:gd name="T4" fmla="*/ 694 w 744"/>
                <a:gd name="T5" fmla="*/ 543 h 779"/>
                <a:gd name="T6" fmla="*/ 412 w 744"/>
                <a:gd name="T7" fmla="*/ 631 h 779"/>
                <a:gd name="T8" fmla="*/ 426 w 744"/>
                <a:gd name="T9" fmla="*/ 587 h 779"/>
                <a:gd name="T10" fmla="*/ 436 w 744"/>
                <a:gd name="T11" fmla="*/ 517 h 779"/>
                <a:gd name="T12" fmla="*/ 429 w 744"/>
                <a:gd name="T13" fmla="*/ 449 h 779"/>
                <a:gd name="T14" fmla="*/ 390 w 744"/>
                <a:gd name="T15" fmla="*/ 385 h 779"/>
                <a:gd name="T16" fmla="*/ 404 w 744"/>
                <a:gd name="T17" fmla="*/ 330 h 779"/>
                <a:gd name="T18" fmla="*/ 449 w 744"/>
                <a:gd name="T19" fmla="*/ 270 h 779"/>
                <a:gd name="T20" fmla="*/ 334 w 744"/>
                <a:gd name="T21" fmla="*/ 210 h 779"/>
                <a:gd name="T22" fmla="*/ 473 w 744"/>
                <a:gd name="T23" fmla="*/ 221 h 779"/>
                <a:gd name="T24" fmla="*/ 442 w 744"/>
                <a:gd name="T25" fmla="*/ 171 h 779"/>
                <a:gd name="T26" fmla="*/ 492 w 744"/>
                <a:gd name="T27" fmla="*/ 167 h 779"/>
                <a:gd name="T28" fmla="*/ 428 w 744"/>
                <a:gd name="T29" fmla="*/ 45 h 779"/>
                <a:gd name="T30" fmla="*/ 508 w 744"/>
                <a:gd name="T31" fmla="*/ 85 h 779"/>
                <a:gd name="T32" fmla="*/ 549 w 744"/>
                <a:gd name="T33" fmla="*/ 42 h 779"/>
                <a:gd name="T34" fmla="*/ 608 w 744"/>
                <a:gd name="T35" fmla="*/ 22 h 779"/>
                <a:gd name="T36" fmla="*/ 578 w 744"/>
                <a:gd name="T37" fmla="*/ 116 h 779"/>
                <a:gd name="T38" fmla="*/ 663 w 744"/>
                <a:gd name="T39" fmla="*/ 98 h 779"/>
                <a:gd name="T40" fmla="*/ 583 w 744"/>
                <a:gd name="T41" fmla="*/ 173 h 779"/>
                <a:gd name="T42" fmla="*/ 597 w 744"/>
                <a:gd name="T43" fmla="*/ 200 h 779"/>
                <a:gd name="T44" fmla="*/ 699 w 744"/>
                <a:gd name="T45" fmla="*/ 228 h 779"/>
                <a:gd name="T46" fmla="*/ 593 w 744"/>
                <a:gd name="T47" fmla="*/ 268 h 779"/>
                <a:gd name="T48" fmla="*/ 148 w 744"/>
                <a:gd name="T49" fmla="*/ 762 h 779"/>
                <a:gd name="T50" fmla="*/ 703 w 744"/>
                <a:gd name="T51" fmla="*/ 714 h 779"/>
                <a:gd name="T52" fmla="*/ 127 w 744"/>
                <a:gd name="T53" fmla="*/ 745 h 779"/>
                <a:gd name="T54" fmla="*/ 51 w 744"/>
                <a:gd name="T55" fmla="*/ 658 h 779"/>
                <a:gd name="T56" fmla="*/ 404 w 744"/>
                <a:gd name="T57" fmla="*/ 569 h 779"/>
                <a:gd name="T58" fmla="*/ 402 w 744"/>
                <a:gd name="T59" fmla="*/ 450 h 779"/>
                <a:gd name="T60" fmla="*/ 367 w 744"/>
                <a:gd name="T61" fmla="*/ 398 h 779"/>
                <a:gd name="T62" fmla="*/ 311 w 744"/>
                <a:gd name="T63" fmla="*/ 364 h 779"/>
                <a:gd name="T64" fmla="*/ 287 w 744"/>
                <a:gd name="T65" fmla="*/ 310 h 779"/>
                <a:gd name="T66" fmla="*/ 234 w 744"/>
                <a:gd name="T67" fmla="*/ 277 h 779"/>
                <a:gd name="T68" fmla="*/ 257 w 744"/>
                <a:gd name="T69" fmla="*/ 189 h 779"/>
                <a:gd name="T70" fmla="*/ 232 w 744"/>
                <a:gd name="T71" fmla="*/ 167 h 779"/>
                <a:gd name="T72" fmla="*/ 199 w 744"/>
                <a:gd name="T73" fmla="*/ 163 h 779"/>
                <a:gd name="T74" fmla="*/ 137 w 744"/>
                <a:gd name="T75" fmla="*/ 109 h 779"/>
                <a:gd name="T76" fmla="*/ 0 w 744"/>
                <a:gd name="T77" fmla="*/ 121 h 779"/>
                <a:gd name="T78" fmla="*/ 83 w 744"/>
                <a:gd name="T79" fmla="*/ 235 h 779"/>
                <a:gd name="T80" fmla="*/ 174 w 744"/>
                <a:gd name="T81" fmla="*/ 257 h 779"/>
                <a:gd name="T82" fmla="*/ 130 w 744"/>
                <a:gd name="T83" fmla="*/ 179 h 779"/>
                <a:gd name="T84" fmla="*/ 166 w 744"/>
                <a:gd name="T85" fmla="*/ 185 h 779"/>
                <a:gd name="T86" fmla="*/ 200 w 744"/>
                <a:gd name="T87" fmla="*/ 252 h 779"/>
                <a:gd name="T88" fmla="*/ 169 w 744"/>
                <a:gd name="T89" fmla="*/ 299 h 779"/>
                <a:gd name="T90" fmla="*/ 149 w 744"/>
                <a:gd name="T91" fmla="*/ 377 h 779"/>
                <a:gd name="T92" fmla="*/ 89 w 744"/>
                <a:gd name="T93" fmla="*/ 459 h 779"/>
                <a:gd name="T94" fmla="*/ 84 w 744"/>
                <a:gd name="T95" fmla="*/ 541 h 779"/>
                <a:gd name="T96" fmla="*/ 125 w 744"/>
                <a:gd name="T97" fmla="*/ 632 h 779"/>
                <a:gd name="T98" fmla="*/ 109 w 744"/>
                <a:gd name="T99" fmla="*/ 497 h 779"/>
                <a:gd name="T100" fmla="*/ 152 w 744"/>
                <a:gd name="T101" fmla="*/ 459 h 779"/>
                <a:gd name="T102" fmla="*/ 150 w 744"/>
                <a:gd name="T103" fmla="*/ 617 h 779"/>
                <a:gd name="T104" fmla="*/ 176 w 744"/>
                <a:gd name="T105" fmla="*/ 397 h 779"/>
                <a:gd name="T106" fmla="*/ 161 w 744"/>
                <a:gd name="T107" fmla="*/ 440 h 779"/>
                <a:gd name="T108" fmla="*/ 476 w 744"/>
                <a:gd name="T109" fmla="*/ 498 h 779"/>
                <a:gd name="T110" fmla="*/ 474 w 744"/>
                <a:gd name="T111" fmla="*/ 320 h 779"/>
                <a:gd name="T112" fmla="*/ 579 w 744"/>
                <a:gd name="T113" fmla="*/ 429 h 779"/>
                <a:gd name="T114" fmla="*/ 412 w 744"/>
                <a:gd name="T115" fmla="*/ 393 h 779"/>
                <a:gd name="T116" fmla="*/ 430 w 744"/>
                <a:gd name="T117" fmla="*/ 362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4" h="779">
                  <a:moveTo>
                    <a:pt x="584" y="277"/>
                  </a:moveTo>
                  <a:lnTo>
                    <a:pt x="584" y="277"/>
                  </a:lnTo>
                  <a:lnTo>
                    <a:pt x="593" y="281"/>
                  </a:lnTo>
                  <a:lnTo>
                    <a:pt x="603" y="287"/>
                  </a:lnTo>
                  <a:lnTo>
                    <a:pt x="621" y="299"/>
                  </a:lnTo>
                  <a:lnTo>
                    <a:pt x="637" y="314"/>
                  </a:lnTo>
                  <a:lnTo>
                    <a:pt x="652" y="330"/>
                  </a:lnTo>
                  <a:lnTo>
                    <a:pt x="652" y="330"/>
                  </a:lnTo>
                  <a:lnTo>
                    <a:pt x="663" y="346"/>
                  </a:lnTo>
                  <a:lnTo>
                    <a:pt x="673" y="362"/>
                  </a:lnTo>
                  <a:lnTo>
                    <a:pt x="681" y="380"/>
                  </a:lnTo>
                  <a:lnTo>
                    <a:pt x="688" y="398"/>
                  </a:lnTo>
                  <a:lnTo>
                    <a:pt x="693" y="418"/>
                  </a:lnTo>
                  <a:lnTo>
                    <a:pt x="698" y="439"/>
                  </a:lnTo>
                  <a:lnTo>
                    <a:pt x="700" y="459"/>
                  </a:lnTo>
                  <a:lnTo>
                    <a:pt x="702" y="481"/>
                  </a:lnTo>
                  <a:lnTo>
                    <a:pt x="702" y="481"/>
                  </a:lnTo>
                  <a:lnTo>
                    <a:pt x="700" y="497"/>
                  </a:lnTo>
                  <a:lnTo>
                    <a:pt x="699" y="511"/>
                  </a:lnTo>
                  <a:lnTo>
                    <a:pt x="697" y="527"/>
                  </a:lnTo>
                  <a:lnTo>
                    <a:pt x="694" y="541"/>
                  </a:lnTo>
                  <a:lnTo>
                    <a:pt x="694" y="541"/>
                  </a:lnTo>
                  <a:lnTo>
                    <a:pt x="694" y="543"/>
                  </a:lnTo>
                  <a:lnTo>
                    <a:pt x="694" y="543"/>
                  </a:lnTo>
                  <a:lnTo>
                    <a:pt x="687" y="568"/>
                  </a:lnTo>
                  <a:lnTo>
                    <a:pt x="678" y="591"/>
                  </a:lnTo>
                  <a:lnTo>
                    <a:pt x="666" y="612"/>
                  </a:lnTo>
                  <a:lnTo>
                    <a:pt x="652" y="632"/>
                  </a:lnTo>
                  <a:lnTo>
                    <a:pt x="652" y="632"/>
                  </a:lnTo>
                  <a:lnTo>
                    <a:pt x="411" y="632"/>
                  </a:lnTo>
                  <a:lnTo>
                    <a:pt x="412" y="631"/>
                  </a:lnTo>
                  <a:lnTo>
                    <a:pt x="412" y="631"/>
                  </a:lnTo>
                  <a:lnTo>
                    <a:pt x="418" y="612"/>
                  </a:lnTo>
                  <a:lnTo>
                    <a:pt x="424" y="593"/>
                  </a:lnTo>
                  <a:lnTo>
                    <a:pt x="424" y="593"/>
                  </a:lnTo>
                  <a:lnTo>
                    <a:pt x="430" y="602"/>
                  </a:lnTo>
                  <a:lnTo>
                    <a:pt x="464" y="617"/>
                  </a:lnTo>
                  <a:lnTo>
                    <a:pt x="501" y="600"/>
                  </a:lnTo>
                  <a:lnTo>
                    <a:pt x="448" y="576"/>
                  </a:lnTo>
                  <a:lnTo>
                    <a:pt x="426" y="587"/>
                  </a:lnTo>
                  <a:lnTo>
                    <a:pt x="426" y="587"/>
                  </a:lnTo>
                  <a:lnTo>
                    <a:pt x="430" y="568"/>
                  </a:lnTo>
                  <a:lnTo>
                    <a:pt x="434" y="549"/>
                  </a:lnTo>
                  <a:lnTo>
                    <a:pt x="448" y="556"/>
                  </a:lnTo>
                  <a:lnTo>
                    <a:pt x="501" y="532"/>
                  </a:lnTo>
                  <a:lnTo>
                    <a:pt x="453" y="509"/>
                  </a:lnTo>
                  <a:lnTo>
                    <a:pt x="436" y="517"/>
                  </a:lnTo>
                  <a:lnTo>
                    <a:pt x="436" y="517"/>
                  </a:lnTo>
                  <a:lnTo>
                    <a:pt x="436" y="500"/>
                  </a:lnTo>
                  <a:lnTo>
                    <a:pt x="436" y="485"/>
                  </a:lnTo>
                  <a:lnTo>
                    <a:pt x="436" y="485"/>
                  </a:lnTo>
                  <a:lnTo>
                    <a:pt x="435" y="480"/>
                  </a:lnTo>
                  <a:lnTo>
                    <a:pt x="453" y="488"/>
                  </a:lnTo>
                  <a:lnTo>
                    <a:pt x="501" y="465"/>
                  </a:lnTo>
                  <a:lnTo>
                    <a:pt x="446" y="440"/>
                  </a:lnTo>
                  <a:lnTo>
                    <a:pt x="429" y="449"/>
                  </a:lnTo>
                  <a:lnTo>
                    <a:pt x="429" y="449"/>
                  </a:lnTo>
                  <a:lnTo>
                    <a:pt x="425" y="438"/>
                  </a:lnTo>
                  <a:lnTo>
                    <a:pt x="422" y="428"/>
                  </a:lnTo>
                  <a:lnTo>
                    <a:pt x="417" y="418"/>
                  </a:lnTo>
                  <a:lnTo>
                    <a:pt x="412" y="409"/>
                  </a:lnTo>
                  <a:lnTo>
                    <a:pt x="405" y="400"/>
                  </a:lnTo>
                  <a:lnTo>
                    <a:pt x="399" y="392"/>
                  </a:lnTo>
                  <a:lnTo>
                    <a:pt x="390" y="385"/>
                  </a:lnTo>
                  <a:lnTo>
                    <a:pt x="382" y="377"/>
                  </a:lnTo>
                  <a:lnTo>
                    <a:pt x="382" y="377"/>
                  </a:lnTo>
                  <a:lnTo>
                    <a:pt x="377" y="375"/>
                  </a:lnTo>
                  <a:lnTo>
                    <a:pt x="377" y="375"/>
                  </a:lnTo>
                  <a:lnTo>
                    <a:pt x="383" y="363"/>
                  </a:lnTo>
                  <a:lnTo>
                    <a:pt x="389" y="351"/>
                  </a:lnTo>
                  <a:lnTo>
                    <a:pt x="396" y="340"/>
                  </a:lnTo>
                  <a:lnTo>
                    <a:pt x="404" y="330"/>
                  </a:lnTo>
                  <a:lnTo>
                    <a:pt x="404" y="330"/>
                  </a:lnTo>
                  <a:lnTo>
                    <a:pt x="416" y="316"/>
                  </a:lnTo>
                  <a:lnTo>
                    <a:pt x="429" y="304"/>
                  </a:lnTo>
                  <a:lnTo>
                    <a:pt x="443" y="293"/>
                  </a:lnTo>
                  <a:lnTo>
                    <a:pt x="458" y="283"/>
                  </a:lnTo>
                  <a:lnTo>
                    <a:pt x="458" y="283"/>
                  </a:lnTo>
                  <a:lnTo>
                    <a:pt x="454" y="276"/>
                  </a:lnTo>
                  <a:lnTo>
                    <a:pt x="449" y="270"/>
                  </a:lnTo>
                  <a:lnTo>
                    <a:pt x="438" y="258"/>
                  </a:lnTo>
                  <a:lnTo>
                    <a:pt x="424" y="247"/>
                  </a:lnTo>
                  <a:lnTo>
                    <a:pt x="410" y="238"/>
                  </a:lnTo>
                  <a:lnTo>
                    <a:pt x="393" y="230"/>
                  </a:lnTo>
                  <a:lnTo>
                    <a:pt x="374" y="222"/>
                  </a:lnTo>
                  <a:lnTo>
                    <a:pt x="354" y="216"/>
                  </a:lnTo>
                  <a:lnTo>
                    <a:pt x="334" y="210"/>
                  </a:lnTo>
                  <a:lnTo>
                    <a:pt x="334" y="210"/>
                  </a:lnTo>
                  <a:lnTo>
                    <a:pt x="358" y="208"/>
                  </a:lnTo>
                  <a:lnTo>
                    <a:pt x="381" y="205"/>
                  </a:lnTo>
                  <a:lnTo>
                    <a:pt x="402" y="204"/>
                  </a:lnTo>
                  <a:lnTo>
                    <a:pt x="423" y="205"/>
                  </a:lnTo>
                  <a:lnTo>
                    <a:pt x="441" y="208"/>
                  </a:lnTo>
                  <a:lnTo>
                    <a:pt x="458" y="212"/>
                  </a:lnTo>
                  <a:lnTo>
                    <a:pt x="466" y="216"/>
                  </a:lnTo>
                  <a:lnTo>
                    <a:pt x="473" y="221"/>
                  </a:lnTo>
                  <a:lnTo>
                    <a:pt x="482" y="226"/>
                  </a:lnTo>
                  <a:lnTo>
                    <a:pt x="489" y="232"/>
                  </a:lnTo>
                  <a:lnTo>
                    <a:pt x="489" y="232"/>
                  </a:lnTo>
                  <a:lnTo>
                    <a:pt x="483" y="218"/>
                  </a:lnTo>
                  <a:lnTo>
                    <a:pt x="474" y="206"/>
                  </a:lnTo>
                  <a:lnTo>
                    <a:pt x="465" y="194"/>
                  </a:lnTo>
                  <a:lnTo>
                    <a:pt x="454" y="182"/>
                  </a:lnTo>
                  <a:lnTo>
                    <a:pt x="442" y="171"/>
                  </a:lnTo>
                  <a:lnTo>
                    <a:pt x="429" y="159"/>
                  </a:lnTo>
                  <a:lnTo>
                    <a:pt x="399" y="139"/>
                  </a:lnTo>
                  <a:lnTo>
                    <a:pt x="399" y="139"/>
                  </a:lnTo>
                  <a:lnTo>
                    <a:pt x="426" y="144"/>
                  </a:lnTo>
                  <a:lnTo>
                    <a:pt x="450" y="151"/>
                  </a:lnTo>
                  <a:lnTo>
                    <a:pt x="473" y="157"/>
                  </a:lnTo>
                  <a:lnTo>
                    <a:pt x="492" y="167"/>
                  </a:lnTo>
                  <a:lnTo>
                    <a:pt x="492" y="167"/>
                  </a:lnTo>
                  <a:lnTo>
                    <a:pt x="491" y="147"/>
                  </a:lnTo>
                  <a:lnTo>
                    <a:pt x="488" y="129"/>
                  </a:lnTo>
                  <a:lnTo>
                    <a:pt x="480" y="111"/>
                  </a:lnTo>
                  <a:lnTo>
                    <a:pt x="473" y="96"/>
                  </a:lnTo>
                  <a:lnTo>
                    <a:pt x="464" y="80"/>
                  </a:lnTo>
                  <a:lnTo>
                    <a:pt x="453" y="67"/>
                  </a:lnTo>
                  <a:lnTo>
                    <a:pt x="441" y="55"/>
                  </a:lnTo>
                  <a:lnTo>
                    <a:pt x="428" y="45"/>
                  </a:lnTo>
                  <a:lnTo>
                    <a:pt x="428" y="45"/>
                  </a:lnTo>
                  <a:lnTo>
                    <a:pt x="441" y="49"/>
                  </a:lnTo>
                  <a:lnTo>
                    <a:pt x="453" y="52"/>
                  </a:lnTo>
                  <a:lnTo>
                    <a:pt x="465" y="57"/>
                  </a:lnTo>
                  <a:lnTo>
                    <a:pt x="477" y="62"/>
                  </a:lnTo>
                  <a:lnTo>
                    <a:pt x="488" y="69"/>
                  </a:lnTo>
                  <a:lnTo>
                    <a:pt x="498" y="76"/>
                  </a:lnTo>
                  <a:lnTo>
                    <a:pt x="508" y="85"/>
                  </a:lnTo>
                  <a:lnTo>
                    <a:pt x="518" y="94"/>
                  </a:lnTo>
                  <a:lnTo>
                    <a:pt x="518" y="94"/>
                  </a:lnTo>
                  <a:lnTo>
                    <a:pt x="521" y="85"/>
                  </a:lnTo>
                  <a:lnTo>
                    <a:pt x="526" y="75"/>
                  </a:lnTo>
                  <a:lnTo>
                    <a:pt x="531" y="65"/>
                  </a:lnTo>
                  <a:lnTo>
                    <a:pt x="536" y="58"/>
                  </a:lnTo>
                  <a:lnTo>
                    <a:pt x="542" y="50"/>
                  </a:lnTo>
                  <a:lnTo>
                    <a:pt x="549" y="42"/>
                  </a:lnTo>
                  <a:lnTo>
                    <a:pt x="563" y="30"/>
                  </a:lnTo>
                  <a:lnTo>
                    <a:pt x="579" y="20"/>
                  </a:lnTo>
                  <a:lnTo>
                    <a:pt x="596" y="11"/>
                  </a:lnTo>
                  <a:lnTo>
                    <a:pt x="614" y="5"/>
                  </a:lnTo>
                  <a:lnTo>
                    <a:pt x="632" y="0"/>
                  </a:lnTo>
                  <a:lnTo>
                    <a:pt x="632" y="0"/>
                  </a:lnTo>
                  <a:lnTo>
                    <a:pt x="619" y="10"/>
                  </a:lnTo>
                  <a:lnTo>
                    <a:pt x="608" y="22"/>
                  </a:lnTo>
                  <a:lnTo>
                    <a:pt x="596" y="35"/>
                  </a:lnTo>
                  <a:lnTo>
                    <a:pt x="586" y="51"/>
                  </a:lnTo>
                  <a:lnTo>
                    <a:pt x="579" y="68"/>
                  </a:lnTo>
                  <a:lnTo>
                    <a:pt x="573" y="85"/>
                  </a:lnTo>
                  <a:lnTo>
                    <a:pt x="568" y="104"/>
                  </a:lnTo>
                  <a:lnTo>
                    <a:pt x="567" y="122"/>
                  </a:lnTo>
                  <a:lnTo>
                    <a:pt x="567" y="122"/>
                  </a:lnTo>
                  <a:lnTo>
                    <a:pt x="578" y="116"/>
                  </a:lnTo>
                  <a:lnTo>
                    <a:pt x="590" y="110"/>
                  </a:lnTo>
                  <a:lnTo>
                    <a:pt x="601" y="106"/>
                  </a:lnTo>
                  <a:lnTo>
                    <a:pt x="613" y="103"/>
                  </a:lnTo>
                  <a:lnTo>
                    <a:pt x="626" y="100"/>
                  </a:lnTo>
                  <a:lnTo>
                    <a:pt x="638" y="98"/>
                  </a:lnTo>
                  <a:lnTo>
                    <a:pt x="650" y="98"/>
                  </a:lnTo>
                  <a:lnTo>
                    <a:pt x="663" y="98"/>
                  </a:lnTo>
                  <a:lnTo>
                    <a:pt x="663" y="98"/>
                  </a:lnTo>
                  <a:lnTo>
                    <a:pt x="651" y="103"/>
                  </a:lnTo>
                  <a:lnTo>
                    <a:pt x="640" y="109"/>
                  </a:lnTo>
                  <a:lnTo>
                    <a:pt x="628" y="117"/>
                  </a:lnTo>
                  <a:lnTo>
                    <a:pt x="617" y="126"/>
                  </a:lnTo>
                  <a:lnTo>
                    <a:pt x="608" y="135"/>
                  </a:lnTo>
                  <a:lnTo>
                    <a:pt x="598" y="147"/>
                  </a:lnTo>
                  <a:lnTo>
                    <a:pt x="590" y="159"/>
                  </a:lnTo>
                  <a:lnTo>
                    <a:pt x="583" y="173"/>
                  </a:lnTo>
                  <a:lnTo>
                    <a:pt x="583" y="173"/>
                  </a:lnTo>
                  <a:lnTo>
                    <a:pt x="598" y="167"/>
                  </a:lnTo>
                  <a:lnTo>
                    <a:pt x="616" y="162"/>
                  </a:lnTo>
                  <a:lnTo>
                    <a:pt x="656" y="153"/>
                  </a:lnTo>
                  <a:lnTo>
                    <a:pt x="656" y="153"/>
                  </a:lnTo>
                  <a:lnTo>
                    <a:pt x="634" y="168"/>
                  </a:lnTo>
                  <a:lnTo>
                    <a:pt x="615" y="183"/>
                  </a:lnTo>
                  <a:lnTo>
                    <a:pt x="597" y="200"/>
                  </a:lnTo>
                  <a:lnTo>
                    <a:pt x="583" y="217"/>
                  </a:lnTo>
                  <a:lnTo>
                    <a:pt x="583" y="217"/>
                  </a:lnTo>
                  <a:lnTo>
                    <a:pt x="595" y="215"/>
                  </a:lnTo>
                  <a:lnTo>
                    <a:pt x="608" y="214"/>
                  </a:lnTo>
                  <a:lnTo>
                    <a:pt x="621" y="215"/>
                  </a:lnTo>
                  <a:lnTo>
                    <a:pt x="636" y="216"/>
                  </a:lnTo>
                  <a:lnTo>
                    <a:pt x="666" y="221"/>
                  </a:lnTo>
                  <a:lnTo>
                    <a:pt x="699" y="228"/>
                  </a:lnTo>
                  <a:lnTo>
                    <a:pt x="699" y="228"/>
                  </a:lnTo>
                  <a:lnTo>
                    <a:pt x="681" y="232"/>
                  </a:lnTo>
                  <a:lnTo>
                    <a:pt x="664" y="235"/>
                  </a:lnTo>
                  <a:lnTo>
                    <a:pt x="648" y="240"/>
                  </a:lnTo>
                  <a:lnTo>
                    <a:pt x="632" y="245"/>
                  </a:lnTo>
                  <a:lnTo>
                    <a:pt x="619" y="252"/>
                  </a:lnTo>
                  <a:lnTo>
                    <a:pt x="605" y="259"/>
                  </a:lnTo>
                  <a:lnTo>
                    <a:pt x="593" y="268"/>
                  </a:lnTo>
                  <a:lnTo>
                    <a:pt x="584" y="277"/>
                  </a:lnTo>
                  <a:lnTo>
                    <a:pt x="584" y="277"/>
                  </a:lnTo>
                  <a:close/>
                  <a:moveTo>
                    <a:pt x="148" y="762"/>
                  </a:moveTo>
                  <a:lnTo>
                    <a:pt x="642" y="762"/>
                  </a:lnTo>
                  <a:lnTo>
                    <a:pt x="642" y="779"/>
                  </a:lnTo>
                  <a:lnTo>
                    <a:pt x="148" y="779"/>
                  </a:lnTo>
                  <a:lnTo>
                    <a:pt x="148" y="762"/>
                  </a:lnTo>
                  <a:lnTo>
                    <a:pt x="148" y="762"/>
                  </a:lnTo>
                  <a:close/>
                  <a:moveTo>
                    <a:pt x="51" y="658"/>
                  </a:moveTo>
                  <a:lnTo>
                    <a:pt x="51" y="658"/>
                  </a:lnTo>
                  <a:lnTo>
                    <a:pt x="744" y="658"/>
                  </a:lnTo>
                  <a:lnTo>
                    <a:pt x="744" y="658"/>
                  </a:lnTo>
                  <a:lnTo>
                    <a:pt x="735" y="674"/>
                  </a:lnTo>
                  <a:lnTo>
                    <a:pt x="726" y="688"/>
                  </a:lnTo>
                  <a:lnTo>
                    <a:pt x="715" y="702"/>
                  </a:lnTo>
                  <a:lnTo>
                    <a:pt x="703" y="714"/>
                  </a:lnTo>
                  <a:lnTo>
                    <a:pt x="691" y="725"/>
                  </a:lnTo>
                  <a:lnTo>
                    <a:pt x="678" y="734"/>
                  </a:lnTo>
                  <a:lnTo>
                    <a:pt x="664" y="744"/>
                  </a:lnTo>
                  <a:lnTo>
                    <a:pt x="650" y="752"/>
                  </a:lnTo>
                  <a:lnTo>
                    <a:pt x="650" y="752"/>
                  </a:lnTo>
                  <a:lnTo>
                    <a:pt x="140" y="752"/>
                  </a:lnTo>
                  <a:lnTo>
                    <a:pt x="140" y="752"/>
                  </a:lnTo>
                  <a:lnTo>
                    <a:pt x="127" y="745"/>
                  </a:lnTo>
                  <a:lnTo>
                    <a:pt x="115" y="737"/>
                  </a:lnTo>
                  <a:lnTo>
                    <a:pt x="103" y="727"/>
                  </a:lnTo>
                  <a:lnTo>
                    <a:pt x="91" y="716"/>
                  </a:lnTo>
                  <a:lnTo>
                    <a:pt x="80" y="704"/>
                  </a:lnTo>
                  <a:lnTo>
                    <a:pt x="69" y="691"/>
                  </a:lnTo>
                  <a:lnTo>
                    <a:pt x="60" y="675"/>
                  </a:lnTo>
                  <a:lnTo>
                    <a:pt x="51" y="658"/>
                  </a:lnTo>
                  <a:lnTo>
                    <a:pt x="51" y="658"/>
                  </a:lnTo>
                  <a:close/>
                  <a:moveTo>
                    <a:pt x="125" y="632"/>
                  </a:moveTo>
                  <a:lnTo>
                    <a:pt x="383" y="632"/>
                  </a:lnTo>
                  <a:lnTo>
                    <a:pt x="383" y="632"/>
                  </a:lnTo>
                  <a:lnTo>
                    <a:pt x="388" y="621"/>
                  </a:lnTo>
                  <a:lnTo>
                    <a:pt x="388" y="621"/>
                  </a:lnTo>
                  <a:lnTo>
                    <a:pt x="394" y="603"/>
                  </a:lnTo>
                  <a:lnTo>
                    <a:pt x="399" y="586"/>
                  </a:lnTo>
                  <a:lnTo>
                    <a:pt x="404" y="569"/>
                  </a:lnTo>
                  <a:lnTo>
                    <a:pt x="407" y="552"/>
                  </a:lnTo>
                  <a:lnTo>
                    <a:pt x="410" y="537"/>
                  </a:lnTo>
                  <a:lnTo>
                    <a:pt x="411" y="520"/>
                  </a:lnTo>
                  <a:lnTo>
                    <a:pt x="411" y="505"/>
                  </a:lnTo>
                  <a:lnTo>
                    <a:pt x="410" y="490"/>
                  </a:lnTo>
                  <a:lnTo>
                    <a:pt x="408" y="476"/>
                  </a:lnTo>
                  <a:lnTo>
                    <a:pt x="406" y="462"/>
                  </a:lnTo>
                  <a:lnTo>
                    <a:pt x="402" y="450"/>
                  </a:lnTo>
                  <a:lnTo>
                    <a:pt x="398" y="438"/>
                  </a:lnTo>
                  <a:lnTo>
                    <a:pt x="393" y="427"/>
                  </a:lnTo>
                  <a:lnTo>
                    <a:pt x="386" y="417"/>
                  </a:lnTo>
                  <a:lnTo>
                    <a:pt x="378" y="409"/>
                  </a:lnTo>
                  <a:lnTo>
                    <a:pt x="370" y="402"/>
                  </a:lnTo>
                  <a:lnTo>
                    <a:pt x="370" y="402"/>
                  </a:lnTo>
                  <a:lnTo>
                    <a:pt x="370" y="402"/>
                  </a:lnTo>
                  <a:lnTo>
                    <a:pt x="367" y="398"/>
                  </a:lnTo>
                  <a:lnTo>
                    <a:pt x="358" y="390"/>
                  </a:lnTo>
                  <a:lnTo>
                    <a:pt x="351" y="384"/>
                  </a:lnTo>
                  <a:lnTo>
                    <a:pt x="342" y="379"/>
                  </a:lnTo>
                  <a:lnTo>
                    <a:pt x="333" y="374"/>
                  </a:lnTo>
                  <a:lnTo>
                    <a:pt x="322" y="369"/>
                  </a:lnTo>
                  <a:lnTo>
                    <a:pt x="322" y="369"/>
                  </a:lnTo>
                  <a:lnTo>
                    <a:pt x="316" y="368"/>
                  </a:lnTo>
                  <a:lnTo>
                    <a:pt x="311" y="364"/>
                  </a:lnTo>
                  <a:lnTo>
                    <a:pt x="307" y="361"/>
                  </a:lnTo>
                  <a:lnTo>
                    <a:pt x="304" y="357"/>
                  </a:lnTo>
                  <a:lnTo>
                    <a:pt x="298" y="349"/>
                  </a:lnTo>
                  <a:lnTo>
                    <a:pt x="294" y="339"/>
                  </a:lnTo>
                  <a:lnTo>
                    <a:pt x="292" y="330"/>
                  </a:lnTo>
                  <a:lnTo>
                    <a:pt x="291" y="322"/>
                  </a:lnTo>
                  <a:lnTo>
                    <a:pt x="288" y="315"/>
                  </a:lnTo>
                  <a:lnTo>
                    <a:pt x="287" y="310"/>
                  </a:lnTo>
                  <a:lnTo>
                    <a:pt x="287" y="310"/>
                  </a:lnTo>
                  <a:lnTo>
                    <a:pt x="283" y="302"/>
                  </a:lnTo>
                  <a:lnTo>
                    <a:pt x="280" y="297"/>
                  </a:lnTo>
                  <a:lnTo>
                    <a:pt x="275" y="292"/>
                  </a:lnTo>
                  <a:lnTo>
                    <a:pt x="268" y="287"/>
                  </a:lnTo>
                  <a:lnTo>
                    <a:pt x="259" y="283"/>
                  </a:lnTo>
                  <a:lnTo>
                    <a:pt x="249" y="280"/>
                  </a:lnTo>
                  <a:lnTo>
                    <a:pt x="234" y="277"/>
                  </a:lnTo>
                  <a:lnTo>
                    <a:pt x="234" y="277"/>
                  </a:lnTo>
                  <a:lnTo>
                    <a:pt x="235" y="256"/>
                  </a:lnTo>
                  <a:lnTo>
                    <a:pt x="235" y="256"/>
                  </a:lnTo>
                  <a:lnTo>
                    <a:pt x="238" y="239"/>
                  </a:lnTo>
                  <a:lnTo>
                    <a:pt x="243" y="222"/>
                  </a:lnTo>
                  <a:lnTo>
                    <a:pt x="249" y="206"/>
                  </a:lnTo>
                  <a:lnTo>
                    <a:pt x="257" y="189"/>
                  </a:lnTo>
                  <a:lnTo>
                    <a:pt x="257" y="189"/>
                  </a:lnTo>
                  <a:lnTo>
                    <a:pt x="259" y="183"/>
                  </a:lnTo>
                  <a:lnTo>
                    <a:pt x="259" y="177"/>
                  </a:lnTo>
                  <a:lnTo>
                    <a:pt x="257" y="171"/>
                  </a:lnTo>
                  <a:lnTo>
                    <a:pt x="251" y="167"/>
                  </a:lnTo>
                  <a:lnTo>
                    <a:pt x="251" y="167"/>
                  </a:lnTo>
                  <a:lnTo>
                    <a:pt x="245" y="164"/>
                  </a:lnTo>
                  <a:lnTo>
                    <a:pt x="238" y="164"/>
                  </a:lnTo>
                  <a:lnTo>
                    <a:pt x="232" y="167"/>
                  </a:lnTo>
                  <a:lnTo>
                    <a:pt x="228" y="173"/>
                  </a:lnTo>
                  <a:lnTo>
                    <a:pt x="228" y="173"/>
                  </a:lnTo>
                  <a:lnTo>
                    <a:pt x="218" y="188"/>
                  </a:lnTo>
                  <a:lnTo>
                    <a:pt x="211" y="205"/>
                  </a:lnTo>
                  <a:lnTo>
                    <a:pt x="211" y="205"/>
                  </a:lnTo>
                  <a:lnTo>
                    <a:pt x="206" y="185"/>
                  </a:lnTo>
                  <a:lnTo>
                    <a:pt x="203" y="174"/>
                  </a:lnTo>
                  <a:lnTo>
                    <a:pt x="199" y="163"/>
                  </a:lnTo>
                  <a:lnTo>
                    <a:pt x="193" y="152"/>
                  </a:lnTo>
                  <a:lnTo>
                    <a:pt x="187" y="143"/>
                  </a:lnTo>
                  <a:lnTo>
                    <a:pt x="179" y="133"/>
                  </a:lnTo>
                  <a:lnTo>
                    <a:pt x="170" y="123"/>
                  </a:lnTo>
                  <a:lnTo>
                    <a:pt x="170" y="123"/>
                  </a:lnTo>
                  <a:lnTo>
                    <a:pt x="160" y="117"/>
                  </a:lnTo>
                  <a:lnTo>
                    <a:pt x="149" y="112"/>
                  </a:lnTo>
                  <a:lnTo>
                    <a:pt x="137" y="109"/>
                  </a:lnTo>
                  <a:lnTo>
                    <a:pt x="124" y="106"/>
                  </a:lnTo>
                  <a:lnTo>
                    <a:pt x="109" y="105"/>
                  </a:lnTo>
                  <a:lnTo>
                    <a:pt x="95" y="105"/>
                  </a:lnTo>
                  <a:lnTo>
                    <a:pt x="67" y="108"/>
                  </a:lnTo>
                  <a:lnTo>
                    <a:pt x="41" y="111"/>
                  </a:lnTo>
                  <a:lnTo>
                    <a:pt x="19" y="116"/>
                  </a:lnTo>
                  <a:lnTo>
                    <a:pt x="0" y="121"/>
                  </a:lnTo>
                  <a:lnTo>
                    <a:pt x="0" y="121"/>
                  </a:lnTo>
                  <a:lnTo>
                    <a:pt x="7" y="135"/>
                  </a:lnTo>
                  <a:lnTo>
                    <a:pt x="15" y="152"/>
                  </a:lnTo>
                  <a:lnTo>
                    <a:pt x="26" y="171"/>
                  </a:lnTo>
                  <a:lnTo>
                    <a:pt x="39" y="191"/>
                  </a:lnTo>
                  <a:lnTo>
                    <a:pt x="56" y="211"/>
                  </a:lnTo>
                  <a:lnTo>
                    <a:pt x="65" y="220"/>
                  </a:lnTo>
                  <a:lnTo>
                    <a:pt x="73" y="228"/>
                  </a:lnTo>
                  <a:lnTo>
                    <a:pt x="83" y="235"/>
                  </a:lnTo>
                  <a:lnTo>
                    <a:pt x="92" y="240"/>
                  </a:lnTo>
                  <a:lnTo>
                    <a:pt x="92" y="240"/>
                  </a:lnTo>
                  <a:lnTo>
                    <a:pt x="110" y="249"/>
                  </a:lnTo>
                  <a:lnTo>
                    <a:pt x="126" y="255"/>
                  </a:lnTo>
                  <a:lnTo>
                    <a:pt x="140" y="257"/>
                  </a:lnTo>
                  <a:lnTo>
                    <a:pt x="154" y="258"/>
                  </a:lnTo>
                  <a:lnTo>
                    <a:pt x="164" y="258"/>
                  </a:lnTo>
                  <a:lnTo>
                    <a:pt x="174" y="257"/>
                  </a:lnTo>
                  <a:lnTo>
                    <a:pt x="192" y="253"/>
                  </a:lnTo>
                  <a:lnTo>
                    <a:pt x="192" y="253"/>
                  </a:lnTo>
                  <a:lnTo>
                    <a:pt x="188" y="245"/>
                  </a:lnTo>
                  <a:lnTo>
                    <a:pt x="184" y="236"/>
                  </a:lnTo>
                  <a:lnTo>
                    <a:pt x="173" y="221"/>
                  </a:lnTo>
                  <a:lnTo>
                    <a:pt x="160" y="205"/>
                  </a:lnTo>
                  <a:lnTo>
                    <a:pt x="145" y="192"/>
                  </a:lnTo>
                  <a:lnTo>
                    <a:pt x="130" y="179"/>
                  </a:lnTo>
                  <a:lnTo>
                    <a:pt x="114" y="167"/>
                  </a:lnTo>
                  <a:lnTo>
                    <a:pt x="97" y="156"/>
                  </a:lnTo>
                  <a:lnTo>
                    <a:pt x="81" y="147"/>
                  </a:lnTo>
                  <a:lnTo>
                    <a:pt x="81" y="147"/>
                  </a:lnTo>
                  <a:lnTo>
                    <a:pt x="95" y="152"/>
                  </a:lnTo>
                  <a:lnTo>
                    <a:pt x="127" y="165"/>
                  </a:lnTo>
                  <a:lnTo>
                    <a:pt x="146" y="175"/>
                  </a:lnTo>
                  <a:lnTo>
                    <a:pt x="166" y="185"/>
                  </a:lnTo>
                  <a:lnTo>
                    <a:pt x="184" y="196"/>
                  </a:lnTo>
                  <a:lnTo>
                    <a:pt x="199" y="208"/>
                  </a:lnTo>
                  <a:lnTo>
                    <a:pt x="199" y="208"/>
                  </a:lnTo>
                  <a:lnTo>
                    <a:pt x="209" y="215"/>
                  </a:lnTo>
                  <a:lnTo>
                    <a:pt x="209" y="215"/>
                  </a:lnTo>
                  <a:lnTo>
                    <a:pt x="204" y="233"/>
                  </a:lnTo>
                  <a:lnTo>
                    <a:pt x="200" y="252"/>
                  </a:lnTo>
                  <a:lnTo>
                    <a:pt x="200" y="252"/>
                  </a:lnTo>
                  <a:lnTo>
                    <a:pt x="199" y="265"/>
                  </a:lnTo>
                  <a:lnTo>
                    <a:pt x="199" y="280"/>
                  </a:lnTo>
                  <a:lnTo>
                    <a:pt x="199" y="280"/>
                  </a:lnTo>
                  <a:lnTo>
                    <a:pt x="191" y="282"/>
                  </a:lnTo>
                  <a:lnTo>
                    <a:pt x="184" y="285"/>
                  </a:lnTo>
                  <a:lnTo>
                    <a:pt x="179" y="290"/>
                  </a:lnTo>
                  <a:lnTo>
                    <a:pt x="174" y="293"/>
                  </a:lnTo>
                  <a:lnTo>
                    <a:pt x="169" y="299"/>
                  </a:lnTo>
                  <a:lnTo>
                    <a:pt x="167" y="304"/>
                  </a:lnTo>
                  <a:lnTo>
                    <a:pt x="162" y="316"/>
                  </a:lnTo>
                  <a:lnTo>
                    <a:pt x="160" y="329"/>
                  </a:lnTo>
                  <a:lnTo>
                    <a:pt x="158" y="341"/>
                  </a:lnTo>
                  <a:lnTo>
                    <a:pt x="157" y="353"/>
                  </a:lnTo>
                  <a:lnTo>
                    <a:pt x="155" y="364"/>
                  </a:lnTo>
                  <a:lnTo>
                    <a:pt x="155" y="364"/>
                  </a:lnTo>
                  <a:lnTo>
                    <a:pt x="149" y="377"/>
                  </a:lnTo>
                  <a:lnTo>
                    <a:pt x="142" y="390"/>
                  </a:lnTo>
                  <a:lnTo>
                    <a:pt x="133" y="400"/>
                  </a:lnTo>
                  <a:lnTo>
                    <a:pt x="125" y="410"/>
                  </a:lnTo>
                  <a:lnTo>
                    <a:pt x="107" y="429"/>
                  </a:lnTo>
                  <a:lnTo>
                    <a:pt x="99" y="440"/>
                  </a:lnTo>
                  <a:lnTo>
                    <a:pt x="92" y="451"/>
                  </a:lnTo>
                  <a:lnTo>
                    <a:pt x="92" y="451"/>
                  </a:lnTo>
                  <a:lnTo>
                    <a:pt x="89" y="459"/>
                  </a:lnTo>
                  <a:lnTo>
                    <a:pt x="85" y="468"/>
                  </a:lnTo>
                  <a:lnTo>
                    <a:pt x="83" y="477"/>
                  </a:lnTo>
                  <a:lnTo>
                    <a:pt x="81" y="487"/>
                  </a:lnTo>
                  <a:lnTo>
                    <a:pt x="80" y="498"/>
                  </a:lnTo>
                  <a:lnTo>
                    <a:pt x="80" y="508"/>
                  </a:lnTo>
                  <a:lnTo>
                    <a:pt x="80" y="518"/>
                  </a:lnTo>
                  <a:lnTo>
                    <a:pt x="81" y="531"/>
                  </a:lnTo>
                  <a:lnTo>
                    <a:pt x="84" y="541"/>
                  </a:lnTo>
                  <a:lnTo>
                    <a:pt x="86" y="553"/>
                  </a:lnTo>
                  <a:lnTo>
                    <a:pt x="91" y="565"/>
                  </a:lnTo>
                  <a:lnTo>
                    <a:pt x="96" y="579"/>
                  </a:lnTo>
                  <a:lnTo>
                    <a:pt x="102" y="592"/>
                  </a:lnTo>
                  <a:lnTo>
                    <a:pt x="108" y="605"/>
                  </a:lnTo>
                  <a:lnTo>
                    <a:pt x="116" y="618"/>
                  </a:lnTo>
                  <a:lnTo>
                    <a:pt x="125" y="632"/>
                  </a:lnTo>
                  <a:lnTo>
                    <a:pt x="125" y="632"/>
                  </a:lnTo>
                  <a:close/>
                  <a:moveTo>
                    <a:pt x="150" y="617"/>
                  </a:moveTo>
                  <a:lnTo>
                    <a:pt x="150" y="617"/>
                  </a:lnTo>
                  <a:lnTo>
                    <a:pt x="136" y="591"/>
                  </a:lnTo>
                  <a:lnTo>
                    <a:pt x="125" y="565"/>
                  </a:lnTo>
                  <a:lnTo>
                    <a:pt x="116" y="540"/>
                  </a:lnTo>
                  <a:lnTo>
                    <a:pt x="111" y="517"/>
                  </a:lnTo>
                  <a:lnTo>
                    <a:pt x="109" y="506"/>
                  </a:lnTo>
                  <a:lnTo>
                    <a:pt x="109" y="497"/>
                  </a:lnTo>
                  <a:lnTo>
                    <a:pt x="109" y="486"/>
                  </a:lnTo>
                  <a:lnTo>
                    <a:pt x="110" y="477"/>
                  </a:lnTo>
                  <a:lnTo>
                    <a:pt x="111" y="468"/>
                  </a:lnTo>
                  <a:lnTo>
                    <a:pt x="115" y="461"/>
                  </a:lnTo>
                  <a:lnTo>
                    <a:pt x="119" y="453"/>
                  </a:lnTo>
                  <a:lnTo>
                    <a:pt x="124" y="446"/>
                  </a:lnTo>
                  <a:lnTo>
                    <a:pt x="152" y="459"/>
                  </a:lnTo>
                  <a:lnTo>
                    <a:pt x="152" y="459"/>
                  </a:lnTo>
                  <a:lnTo>
                    <a:pt x="148" y="474"/>
                  </a:lnTo>
                  <a:lnTo>
                    <a:pt x="145" y="491"/>
                  </a:lnTo>
                  <a:lnTo>
                    <a:pt x="143" y="510"/>
                  </a:lnTo>
                  <a:lnTo>
                    <a:pt x="143" y="531"/>
                  </a:lnTo>
                  <a:lnTo>
                    <a:pt x="144" y="552"/>
                  </a:lnTo>
                  <a:lnTo>
                    <a:pt x="145" y="574"/>
                  </a:lnTo>
                  <a:lnTo>
                    <a:pt x="150" y="617"/>
                  </a:lnTo>
                  <a:lnTo>
                    <a:pt x="150" y="617"/>
                  </a:lnTo>
                  <a:close/>
                  <a:moveTo>
                    <a:pt x="161" y="440"/>
                  </a:moveTo>
                  <a:lnTo>
                    <a:pt x="140" y="432"/>
                  </a:lnTo>
                  <a:lnTo>
                    <a:pt x="140" y="432"/>
                  </a:lnTo>
                  <a:lnTo>
                    <a:pt x="151" y="424"/>
                  </a:lnTo>
                  <a:lnTo>
                    <a:pt x="162" y="415"/>
                  </a:lnTo>
                  <a:lnTo>
                    <a:pt x="167" y="410"/>
                  </a:lnTo>
                  <a:lnTo>
                    <a:pt x="173" y="404"/>
                  </a:lnTo>
                  <a:lnTo>
                    <a:pt x="176" y="397"/>
                  </a:lnTo>
                  <a:lnTo>
                    <a:pt x="180" y="390"/>
                  </a:lnTo>
                  <a:lnTo>
                    <a:pt x="180" y="390"/>
                  </a:lnTo>
                  <a:lnTo>
                    <a:pt x="180" y="398"/>
                  </a:lnTo>
                  <a:lnTo>
                    <a:pt x="179" y="406"/>
                  </a:lnTo>
                  <a:lnTo>
                    <a:pt x="176" y="414"/>
                  </a:lnTo>
                  <a:lnTo>
                    <a:pt x="174" y="420"/>
                  </a:lnTo>
                  <a:lnTo>
                    <a:pt x="167" y="432"/>
                  </a:lnTo>
                  <a:lnTo>
                    <a:pt x="161" y="440"/>
                  </a:lnTo>
                  <a:lnTo>
                    <a:pt x="161" y="440"/>
                  </a:lnTo>
                  <a:close/>
                  <a:moveTo>
                    <a:pt x="471" y="565"/>
                  </a:moveTo>
                  <a:lnTo>
                    <a:pt x="524" y="590"/>
                  </a:lnTo>
                  <a:lnTo>
                    <a:pt x="577" y="565"/>
                  </a:lnTo>
                  <a:lnTo>
                    <a:pt x="524" y="541"/>
                  </a:lnTo>
                  <a:lnTo>
                    <a:pt x="471" y="565"/>
                  </a:lnTo>
                  <a:lnTo>
                    <a:pt x="471" y="565"/>
                  </a:lnTo>
                  <a:close/>
                  <a:moveTo>
                    <a:pt x="476" y="498"/>
                  </a:moveTo>
                  <a:lnTo>
                    <a:pt x="524" y="521"/>
                  </a:lnTo>
                  <a:lnTo>
                    <a:pt x="572" y="498"/>
                  </a:lnTo>
                  <a:lnTo>
                    <a:pt x="524" y="476"/>
                  </a:lnTo>
                  <a:lnTo>
                    <a:pt x="476" y="498"/>
                  </a:lnTo>
                  <a:lnTo>
                    <a:pt x="476" y="498"/>
                  </a:lnTo>
                  <a:close/>
                  <a:moveTo>
                    <a:pt x="501" y="330"/>
                  </a:moveTo>
                  <a:lnTo>
                    <a:pt x="474" y="320"/>
                  </a:lnTo>
                  <a:lnTo>
                    <a:pt x="474" y="320"/>
                  </a:lnTo>
                  <a:lnTo>
                    <a:pt x="466" y="324"/>
                  </a:lnTo>
                  <a:lnTo>
                    <a:pt x="458" y="330"/>
                  </a:lnTo>
                  <a:lnTo>
                    <a:pt x="449" y="338"/>
                  </a:lnTo>
                  <a:lnTo>
                    <a:pt x="442" y="346"/>
                  </a:lnTo>
                  <a:lnTo>
                    <a:pt x="455" y="352"/>
                  </a:lnTo>
                  <a:lnTo>
                    <a:pt x="501" y="330"/>
                  </a:lnTo>
                  <a:lnTo>
                    <a:pt x="501" y="330"/>
                  </a:lnTo>
                  <a:close/>
                  <a:moveTo>
                    <a:pt x="579" y="429"/>
                  </a:moveTo>
                  <a:lnTo>
                    <a:pt x="524" y="405"/>
                  </a:lnTo>
                  <a:lnTo>
                    <a:pt x="468" y="429"/>
                  </a:lnTo>
                  <a:lnTo>
                    <a:pt x="524" y="455"/>
                  </a:lnTo>
                  <a:lnTo>
                    <a:pt x="579" y="429"/>
                  </a:lnTo>
                  <a:lnTo>
                    <a:pt x="579" y="429"/>
                  </a:lnTo>
                  <a:close/>
                  <a:moveTo>
                    <a:pt x="501" y="394"/>
                  </a:moveTo>
                  <a:lnTo>
                    <a:pt x="455" y="373"/>
                  </a:lnTo>
                  <a:lnTo>
                    <a:pt x="412" y="393"/>
                  </a:lnTo>
                  <a:lnTo>
                    <a:pt x="412" y="393"/>
                  </a:lnTo>
                  <a:lnTo>
                    <a:pt x="408" y="402"/>
                  </a:lnTo>
                  <a:lnTo>
                    <a:pt x="446" y="420"/>
                  </a:lnTo>
                  <a:lnTo>
                    <a:pt x="501" y="394"/>
                  </a:lnTo>
                  <a:lnTo>
                    <a:pt x="501" y="394"/>
                  </a:lnTo>
                  <a:close/>
                  <a:moveTo>
                    <a:pt x="432" y="363"/>
                  </a:moveTo>
                  <a:lnTo>
                    <a:pt x="430" y="362"/>
                  </a:lnTo>
                  <a:lnTo>
                    <a:pt x="430" y="362"/>
                  </a:lnTo>
                  <a:lnTo>
                    <a:pt x="428" y="364"/>
                  </a:lnTo>
                  <a:lnTo>
                    <a:pt x="432" y="3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nvGrpSpPr>
          <p:cNvPr id="66620" name="Group 168"/>
          <p:cNvGrpSpPr>
            <a:grpSpLocks/>
          </p:cNvGrpSpPr>
          <p:nvPr/>
        </p:nvGrpSpPr>
        <p:grpSpPr bwMode="auto">
          <a:xfrm>
            <a:off x="250825" y="5197475"/>
            <a:ext cx="252413" cy="252413"/>
            <a:chOff x="390306" y="3299919"/>
            <a:chExt cx="365760" cy="365760"/>
          </a:xfrm>
        </p:grpSpPr>
        <p:sp>
          <p:nvSpPr>
            <p:cNvPr id="143" name="Oval 142">
              <a:extLst>
                <a:ext uri="{FF2B5EF4-FFF2-40B4-BE49-F238E27FC236}"/>
              </a:extLst>
            </p:cNvPr>
            <p:cNvSpPr/>
            <p:nvPr/>
          </p:nvSpPr>
          <p:spPr bwMode="ltGray">
            <a:xfrm>
              <a:off x="390306" y="3299919"/>
              <a:ext cx="365760" cy="365760"/>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44" name="Freeform 1334">
              <a:extLst>
                <a:ext uri="{FF2B5EF4-FFF2-40B4-BE49-F238E27FC236}"/>
              </a:extLst>
            </p:cNvPr>
            <p:cNvSpPr>
              <a:spLocks noEditPoints="1"/>
            </p:cNvSpPr>
            <p:nvPr/>
          </p:nvSpPr>
          <p:spPr bwMode="auto">
            <a:xfrm>
              <a:off x="413310" y="3332124"/>
              <a:ext cx="324353" cy="287547"/>
            </a:xfrm>
            <a:custGeom>
              <a:avLst/>
              <a:gdLst>
                <a:gd name="T0" fmla="*/ 816 w 828"/>
                <a:gd name="T1" fmla="*/ 259 h 673"/>
                <a:gd name="T2" fmla="*/ 427 w 828"/>
                <a:gd name="T3" fmla="*/ 4 h 673"/>
                <a:gd name="T4" fmla="*/ 403 w 828"/>
                <a:gd name="T5" fmla="*/ 4 h 673"/>
                <a:gd name="T6" fmla="*/ 257 w 828"/>
                <a:gd name="T7" fmla="*/ 99 h 673"/>
                <a:gd name="T8" fmla="*/ 257 w 828"/>
                <a:gd name="T9" fmla="*/ 22 h 673"/>
                <a:gd name="T10" fmla="*/ 236 w 828"/>
                <a:gd name="T11" fmla="*/ 1 h 673"/>
                <a:gd name="T12" fmla="*/ 148 w 828"/>
                <a:gd name="T13" fmla="*/ 1 h 673"/>
                <a:gd name="T14" fmla="*/ 127 w 828"/>
                <a:gd name="T15" fmla="*/ 22 h 673"/>
                <a:gd name="T16" fmla="*/ 127 w 828"/>
                <a:gd name="T17" fmla="*/ 185 h 673"/>
                <a:gd name="T18" fmla="*/ 11 w 828"/>
                <a:gd name="T19" fmla="*/ 260 h 673"/>
                <a:gd name="T20" fmla="*/ 3 w 828"/>
                <a:gd name="T21" fmla="*/ 285 h 673"/>
                <a:gd name="T22" fmla="*/ 23 w 828"/>
                <a:gd name="T23" fmla="*/ 300 h 673"/>
                <a:gd name="T24" fmla="*/ 126 w 828"/>
                <a:gd name="T25" fmla="*/ 300 h 673"/>
                <a:gd name="T26" fmla="*/ 126 w 828"/>
                <a:gd name="T27" fmla="*/ 638 h 673"/>
                <a:gd name="T28" fmla="*/ 161 w 828"/>
                <a:gd name="T29" fmla="*/ 673 h 673"/>
                <a:gd name="T30" fmla="*/ 275 w 828"/>
                <a:gd name="T31" fmla="*/ 673 h 673"/>
                <a:gd name="T32" fmla="*/ 260 w 828"/>
                <a:gd name="T33" fmla="*/ 646 h 673"/>
                <a:gd name="T34" fmla="*/ 260 w 828"/>
                <a:gd name="T35" fmla="*/ 547 h 673"/>
                <a:gd name="T36" fmla="*/ 226 w 828"/>
                <a:gd name="T37" fmla="*/ 547 h 673"/>
                <a:gd name="T38" fmla="*/ 204 w 828"/>
                <a:gd name="T39" fmla="*/ 525 h 673"/>
                <a:gd name="T40" fmla="*/ 204 w 828"/>
                <a:gd name="T41" fmla="*/ 396 h 673"/>
                <a:gd name="T42" fmla="*/ 226 w 828"/>
                <a:gd name="T43" fmla="*/ 375 h 673"/>
                <a:gd name="T44" fmla="*/ 354 w 828"/>
                <a:gd name="T45" fmla="*/ 375 h 673"/>
                <a:gd name="T46" fmla="*/ 376 w 828"/>
                <a:gd name="T47" fmla="*/ 396 h 673"/>
                <a:gd name="T48" fmla="*/ 376 w 828"/>
                <a:gd name="T49" fmla="*/ 525 h 673"/>
                <a:gd name="T50" fmla="*/ 354 w 828"/>
                <a:gd name="T51" fmla="*/ 547 h 673"/>
                <a:gd name="T52" fmla="*/ 320 w 828"/>
                <a:gd name="T53" fmla="*/ 547 h 673"/>
                <a:gd name="T54" fmla="*/ 320 w 828"/>
                <a:gd name="T55" fmla="*/ 646 h 673"/>
                <a:gd name="T56" fmla="*/ 305 w 828"/>
                <a:gd name="T57" fmla="*/ 673 h 673"/>
                <a:gd name="T58" fmla="*/ 507 w 828"/>
                <a:gd name="T59" fmla="*/ 673 h 673"/>
                <a:gd name="T60" fmla="*/ 492 w 828"/>
                <a:gd name="T61" fmla="*/ 646 h 673"/>
                <a:gd name="T62" fmla="*/ 492 w 828"/>
                <a:gd name="T63" fmla="*/ 547 h 673"/>
                <a:gd name="T64" fmla="*/ 440 w 828"/>
                <a:gd name="T65" fmla="*/ 547 h 673"/>
                <a:gd name="T66" fmla="*/ 423 w 828"/>
                <a:gd name="T67" fmla="*/ 537 h 673"/>
                <a:gd name="T68" fmla="*/ 420 w 828"/>
                <a:gd name="T69" fmla="*/ 518 h 673"/>
                <a:gd name="T70" fmla="*/ 464 w 828"/>
                <a:gd name="T71" fmla="*/ 389 h 673"/>
                <a:gd name="T72" fmla="*/ 485 w 828"/>
                <a:gd name="T73" fmla="*/ 375 h 673"/>
                <a:gd name="T74" fmla="*/ 559 w 828"/>
                <a:gd name="T75" fmla="*/ 375 h 673"/>
                <a:gd name="T76" fmla="*/ 580 w 828"/>
                <a:gd name="T77" fmla="*/ 389 h 673"/>
                <a:gd name="T78" fmla="*/ 623 w 828"/>
                <a:gd name="T79" fmla="*/ 514 h 673"/>
                <a:gd name="T80" fmla="*/ 626 w 828"/>
                <a:gd name="T81" fmla="*/ 525 h 673"/>
                <a:gd name="T82" fmla="*/ 604 w 828"/>
                <a:gd name="T83" fmla="*/ 547 h 673"/>
                <a:gd name="T84" fmla="*/ 604 w 828"/>
                <a:gd name="T85" fmla="*/ 547 h 673"/>
                <a:gd name="T86" fmla="*/ 552 w 828"/>
                <a:gd name="T87" fmla="*/ 547 h 673"/>
                <a:gd name="T88" fmla="*/ 552 w 828"/>
                <a:gd name="T89" fmla="*/ 646 h 673"/>
                <a:gd name="T90" fmla="*/ 537 w 828"/>
                <a:gd name="T91" fmla="*/ 673 h 673"/>
                <a:gd name="T92" fmla="*/ 669 w 828"/>
                <a:gd name="T93" fmla="*/ 673 h 673"/>
                <a:gd name="T94" fmla="*/ 703 w 828"/>
                <a:gd name="T95" fmla="*/ 638 h 673"/>
                <a:gd name="T96" fmla="*/ 703 w 828"/>
                <a:gd name="T97" fmla="*/ 300 h 673"/>
                <a:gd name="T98" fmla="*/ 806 w 828"/>
                <a:gd name="T99" fmla="*/ 300 h 673"/>
                <a:gd name="T100" fmla="*/ 807 w 828"/>
                <a:gd name="T101" fmla="*/ 300 h 673"/>
                <a:gd name="T102" fmla="*/ 828 w 828"/>
                <a:gd name="T103" fmla="*/ 279 h 673"/>
                <a:gd name="T104" fmla="*/ 816 w 828"/>
                <a:gd name="T105" fmla="*/ 259 h 673"/>
                <a:gd name="T106" fmla="*/ 290 w 828"/>
                <a:gd name="T107" fmla="*/ 350 h 673"/>
                <a:gd name="T108" fmla="*/ 239 w 828"/>
                <a:gd name="T109" fmla="*/ 299 h 673"/>
                <a:gd name="T110" fmla="*/ 290 w 828"/>
                <a:gd name="T111" fmla="*/ 247 h 673"/>
                <a:gd name="T112" fmla="*/ 342 w 828"/>
                <a:gd name="T113" fmla="*/ 299 h 673"/>
                <a:gd name="T114" fmla="*/ 290 w 828"/>
                <a:gd name="T115" fmla="*/ 350 h 673"/>
                <a:gd name="T116" fmla="*/ 522 w 828"/>
                <a:gd name="T117" fmla="*/ 350 h 673"/>
                <a:gd name="T118" fmla="*/ 471 w 828"/>
                <a:gd name="T119" fmla="*/ 299 h 673"/>
                <a:gd name="T120" fmla="*/ 522 w 828"/>
                <a:gd name="T121" fmla="*/ 247 h 673"/>
                <a:gd name="T122" fmla="*/ 573 w 828"/>
                <a:gd name="T123" fmla="*/ 299 h 673"/>
                <a:gd name="T124" fmla="*/ 522 w 828"/>
                <a:gd name="T125" fmla="*/ 350 h 67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28" h="673">
                  <a:moveTo>
                    <a:pt x="816" y="259"/>
                  </a:moveTo>
                  <a:cubicBezTo>
                    <a:pt x="427" y="4"/>
                    <a:pt x="427" y="4"/>
                    <a:pt x="427" y="4"/>
                  </a:cubicBezTo>
                  <a:cubicBezTo>
                    <a:pt x="419" y="0"/>
                    <a:pt x="410" y="0"/>
                    <a:pt x="403" y="4"/>
                  </a:cubicBezTo>
                  <a:cubicBezTo>
                    <a:pt x="257" y="99"/>
                    <a:pt x="257" y="99"/>
                    <a:pt x="257" y="99"/>
                  </a:cubicBezTo>
                  <a:cubicBezTo>
                    <a:pt x="257" y="22"/>
                    <a:pt x="257" y="22"/>
                    <a:pt x="257" y="22"/>
                  </a:cubicBezTo>
                  <a:cubicBezTo>
                    <a:pt x="257" y="10"/>
                    <a:pt x="248" y="1"/>
                    <a:pt x="236" y="1"/>
                  </a:cubicBezTo>
                  <a:cubicBezTo>
                    <a:pt x="148" y="1"/>
                    <a:pt x="148" y="1"/>
                    <a:pt x="148" y="1"/>
                  </a:cubicBezTo>
                  <a:cubicBezTo>
                    <a:pt x="136" y="1"/>
                    <a:pt x="127" y="10"/>
                    <a:pt x="127" y="22"/>
                  </a:cubicBezTo>
                  <a:cubicBezTo>
                    <a:pt x="127" y="185"/>
                    <a:pt x="127" y="185"/>
                    <a:pt x="127" y="185"/>
                  </a:cubicBezTo>
                  <a:cubicBezTo>
                    <a:pt x="11" y="260"/>
                    <a:pt x="11" y="260"/>
                    <a:pt x="11" y="260"/>
                  </a:cubicBezTo>
                  <a:cubicBezTo>
                    <a:pt x="3" y="266"/>
                    <a:pt x="0" y="276"/>
                    <a:pt x="3" y="285"/>
                  </a:cubicBezTo>
                  <a:cubicBezTo>
                    <a:pt x="5" y="294"/>
                    <a:pt x="14" y="300"/>
                    <a:pt x="23" y="300"/>
                  </a:cubicBezTo>
                  <a:cubicBezTo>
                    <a:pt x="126" y="300"/>
                    <a:pt x="126" y="300"/>
                    <a:pt x="126" y="300"/>
                  </a:cubicBezTo>
                  <a:cubicBezTo>
                    <a:pt x="126" y="638"/>
                    <a:pt x="126" y="638"/>
                    <a:pt x="126" y="638"/>
                  </a:cubicBezTo>
                  <a:cubicBezTo>
                    <a:pt x="126" y="657"/>
                    <a:pt x="142" y="673"/>
                    <a:pt x="161" y="673"/>
                  </a:cubicBezTo>
                  <a:cubicBezTo>
                    <a:pt x="275" y="673"/>
                    <a:pt x="275" y="673"/>
                    <a:pt x="275" y="673"/>
                  </a:cubicBezTo>
                  <a:cubicBezTo>
                    <a:pt x="266" y="668"/>
                    <a:pt x="260" y="658"/>
                    <a:pt x="260" y="646"/>
                  </a:cubicBezTo>
                  <a:cubicBezTo>
                    <a:pt x="260" y="547"/>
                    <a:pt x="260" y="547"/>
                    <a:pt x="260" y="547"/>
                  </a:cubicBezTo>
                  <a:cubicBezTo>
                    <a:pt x="226" y="547"/>
                    <a:pt x="226" y="547"/>
                    <a:pt x="226" y="547"/>
                  </a:cubicBezTo>
                  <a:cubicBezTo>
                    <a:pt x="214" y="547"/>
                    <a:pt x="204" y="537"/>
                    <a:pt x="204" y="525"/>
                  </a:cubicBezTo>
                  <a:cubicBezTo>
                    <a:pt x="204" y="396"/>
                    <a:pt x="204" y="396"/>
                    <a:pt x="204" y="396"/>
                  </a:cubicBezTo>
                  <a:cubicBezTo>
                    <a:pt x="204" y="384"/>
                    <a:pt x="214" y="375"/>
                    <a:pt x="226" y="375"/>
                  </a:cubicBezTo>
                  <a:cubicBezTo>
                    <a:pt x="354" y="375"/>
                    <a:pt x="354" y="375"/>
                    <a:pt x="354" y="375"/>
                  </a:cubicBezTo>
                  <a:cubicBezTo>
                    <a:pt x="366" y="375"/>
                    <a:pt x="376" y="384"/>
                    <a:pt x="376" y="396"/>
                  </a:cubicBezTo>
                  <a:cubicBezTo>
                    <a:pt x="376" y="525"/>
                    <a:pt x="376" y="525"/>
                    <a:pt x="376" y="525"/>
                  </a:cubicBezTo>
                  <a:cubicBezTo>
                    <a:pt x="376" y="537"/>
                    <a:pt x="366" y="547"/>
                    <a:pt x="354" y="547"/>
                  </a:cubicBezTo>
                  <a:cubicBezTo>
                    <a:pt x="320" y="547"/>
                    <a:pt x="320" y="547"/>
                    <a:pt x="320" y="547"/>
                  </a:cubicBezTo>
                  <a:cubicBezTo>
                    <a:pt x="320" y="646"/>
                    <a:pt x="320" y="646"/>
                    <a:pt x="320" y="646"/>
                  </a:cubicBezTo>
                  <a:cubicBezTo>
                    <a:pt x="320" y="658"/>
                    <a:pt x="314" y="668"/>
                    <a:pt x="305" y="673"/>
                  </a:cubicBezTo>
                  <a:cubicBezTo>
                    <a:pt x="507" y="673"/>
                    <a:pt x="507" y="673"/>
                    <a:pt x="507" y="673"/>
                  </a:cubicBezTo>
                  <a:cubicBezTo>
                    <a:pt x="498" y="668"/>
                    <a:pt x="492" y="658"/>
                    <a:pt x="492" y="646"/>
                  </a:cubicBezTo>
                  <a:cubicBezTo>
                    <a:pt x="492" y="547"/>
                    <a:pt x="492" y="547"/>
                    <a:pt x="492" y="547"/>
                  </a:cubicBezTo>
                  <a:cubicBezTo>
                    <a:pt x="440" y="547"/>
                    <a:pt x="440" y="547"/>
                    <a:pt x="440" y="547"/>
                  </a:cubicBezTo>
                  <a:cubicBezTo>
                    <a:pt x="433" y="547"/>
                    <a:pt x="427" y="543"/>
                    <a:pt x="423" y="537"/>
                  </a:cubicBezTo>
                  <a:cubicBezTo>
                    <a:pt x="419" y="532"/>
                    <a:pt x="417" y="524"/>
                    <a:pt x="420" y="518"/>
                  </a:cubicBezTo>
                  <a:cubicBezTo>
                    <a:pt x="464" y="389"/>
                    <a:pt x="464" y="389"/>
                    <a:pt x="464" y="389"/>
                  </a:cubicBezTo>
                  <a:cubicBezTo>
                    <a:pt x="467" y="381"/>
                    <a:pt x="475" y="375"/>
                    <a:pt x="485" y="375"/>
                  </a:cubicBezTo>
                  <a:cubicBezTo>
                    <a:pt x="559" y="375"/>
                    <a:pt x="559" y="375"/>
                    <a:pt x="559" y="375"/>
                  </a:cubicBezTo>
                  <a:cubicBezTo>
                    <a:pt x="569" y="375"/>
                    <a:pt x="577" y="381"/>
                    <a:pt x="580" y="389"/>
                  </a:cubicBezTo>
                  <a:cubicBezTo>
                    <a:pt x="623" y="514"/>
                    <a:pt x="623" y="514"/>
                    <a:pt x="623" y="514"/>
                  </a:cubicBezTo>
                  <a:cubicBezTo>
                    <a:pt x="625" y="517"/>
                    <a:pt x="626" y="521"/>
                    <a:pt x="626" y="525"/>
                  </a:cubicBezTo>
                  <a:cubicBezTo>
                    <a:pt x="626" y="537"/>
                    <a:pt x="616" y="547"/>
                    <a:pt x="604" y="547"/>
                  </a:cubicBezTo>
                  <a:cubicBezTo>
                    <a:pt x="604" y="547"/>
                    <a:pt x="604" y="547"/>
                    <a:pt x="604" y="547"/>
                  </a:cubicBezTo>
                  <a:cubicBezTo>
                    <a:pt x="552" y="547"/>
                    <a:pt x="552" y="547"/>
                    <a:pt x="552" y="547"/>
                  </a:cubicBezTo>
                  <a:cubicBezTo>
                    <a:pt x="552" y="646"/>
                    <a:pt x="552" y="646"/>
                    <a:pt x="552" y="646"/>
                  </a:cubicBezTo>
                  <a:cubicBezTo>
                    <a:pt x="552" y="658"/>
                    <a:pt x="546" y="668"/>
                    <a:pt x="537" y="673"/>
                  </a:cubicBezTo>
                  <a:cubicBezTo>
                    <a:pt x="669" y="673"/>
                    <a:pt x="669" y="673"/>
                    <a:pt x="669" y="673"/>
                  </a:cubicBezTo>
                  <a:cubicBezTo>
                    <a:pt x="688" y="673"/>
                    <a:pt x="703" y="657"/>
                    <a:pt x="703" y="638"/>
                  </a:cubicBezTo>
                  <a:cubicBezTo>
                    <a:pt x="703" y="300"/>
                    <a:pt x="703" y="300"/>
                    <a:pt x="703" y="300"/>
                  </a:cubicBezTo>
                  <a:cubicBezTo>
                    <a:pt x="806" y="300"/>
                    <a:pt x="806" y="300"/>
                    <a:pt x="806" y="300"/>
                  </a:cubicBezTo>
                  <a:cubicBezTo>
                    <a:pt x="806" y="300"/>
                    <a:pt x="807" y="300"/>
                    <a:pt x="807" y="300"/>
                  </a:cubicBezTo>
                  <a:cubicBezTo>
                    <a:pt x="819" y="300"/>
                    <a:pt x="828" y="290"/>
                    <a:pt x="828" y="279"/>
                  </a:cubicBezTo>
                  <a:cubicBezTo>
                    <a:pt x="828" y="270"/>
                    <a:pt x="823" y="262"/>
                    <a:pt x="816" y="259"/>
                  </a:cubicBezTo>
                  <a:close/>
                  <a:moveTo>
                    <a:pt x="290" y="350"/>
                  </a:moveTo>
                  <a:cubicBezTo>
                    <a:pt x="262" y="350"/>
                    <a:pt x="239" y="327"/>
                    <a:pt x="239" y="299"/>
                  </a:cubicBezTo>
                  <a:cubicBezTo>
                    <a:pt x="239" y="270"/>
                    <a:pt x="262" y="247"/>
                    <a:pt x="290" y="247"/>
                  </a:cubicBezTo>
                  <a:cubicBezTo>
                    <a:pt x="319" y="247"/>
                    <a:pt x="342" y="270"/>
                    <a:pt x="342" y="299"/>
                  </a:cubicBezTo>
                  <a:cubicBezTo>
                    <a:pt x="342" y="327"/>
                    <a:pt x="319" y="350"/>
                    <a:pt x="290" y="350"/>
                  </a:cubicBezTo>
                  <a:close/>
                  <a:moveTo>
                    <a:pt x="522" y="350"/>
                  </a:moveTo>
                  <a:cubicBezTo>
                    <a:pt x="494" y="350"/>
                    <a:pt x="471" y="327"/>
                    <a:pt x="471" y="299"/>
                  </a:cubicBezTo>
                  <a:cubicBezTo>
                    <a:pt x="471" y="270"/>
                    <a:pt x="494" y="247"/>
                    <a:pt x="522" y="247"/>
                  </a:cubicBezTo>
                  <a:cubicBezTo>
                    <a:pt x="550" y="247"/>
                    <a:pt x="573" y="270"/>
                    <a:pt x="573" y="299"/>
                  </a:cubicBezTo>
                  <a:cubicBezTo>
                    <a:pt x="573" y="327"/>
                    <a:pt x="550" y="350"/>
                    <a:pt x="522"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sp>
        <p:nvSpPr>
          <p:cNvPr id="145" name="Oval 144">
            <a:extLst>
              <a:ext uri="{FF2B5EF4-FFF2-40B4-BE49-F238E27FC236}"/>
            </a:extLst>
          </p:cNvPr>
          <p:cNvSpPr/>
          <p:nvPr/>
        </p:nvSpPr>
        <p:spPr bwMode="ltGray">
          <a:xfrm>
            <a:off x="250825" y="6253163"/>
            <a:ext cx="252413" cy="252412"/>
          </a:xfrm>
          <a:prstGeom prst="ellipse">
            <a:avLst/>
          </a:prstGeom>
          <a:solidFill>
            <a:srgbClr val="008755"/>
          </a:solidFill>
          <a:ln w="3175" cap="flat" cmpd="sng" algn="ctr">
            <a:noFill/>
            <a:prstDash val="solid"/>
          </a:ln>
          <a:effectLst/>
        </p:spPr>
        <p:txBody>
          <a:bodyPr lIns="0" tIns="0" rIns="0" bIns="0" anchor="ctr"/>
          <a:lstStyle/>
          <a:p>
            <a:pPr algn="ctr" defTabSz="871196" eaLnBrk="1" fontAlgn="auto" hangingPunct="1">
              <a:spcBef>
                <a:spcPts val="0"/>
              </a:spcBef>
              <a:spcAft>
                <a:spcPts val="0"/>
              </a:spcAft>
              <a:defRPr/>
            </a:pPr>
            <a:r>
              <a:rPr lang="en-GB" sz="600" b="1" kern="0" dirty="0">
                <a:solidFill>
                  <a:srgbClr val="FFFFFF"/>
                </a:solidFill>
                <a:latin typeface="Arial"/>
                <a:cs typeface="+mn-cs"/>
                <a:sym typeface="Arial"/>
              </a:rPr>
              <a:t>CDC</a:t>
            </a:r>
          </a:p>
        </p:txBody>
      </p:sp>
      <p:grpSp>
        <p:nvGrpSpPr>
          <p:cNvPr id="66622" name="Group 172"/>
          <p:cNvGrpSpPr>
            <a:grpSpLocks/>
          </p:cNvGrpSpPr>
          <p:nvPr/>
        </p:nvGrpSpPr>
        <p:grpSpPr bwMode="auto">
          <a:xfrm>
            <a:off x="1728788" y="5184775"/>
            <a:ext cx="252412" cy="252413"/>
            <a:chOff x="1807987" y="3521140"/>
            <a:chExt cx="365760" cy="365760"/>
          </a:xfrm>
        </p:grpSpPr>
        <p:sp>
          <p:nvSpPr>
            <p:cNvPr id="147" name="Oval 146">
              <a:extLst>
                <a:ext uri="{FF2B5EF4-FFF2-40B4-BE49-F238E27FC236}"/>
              </a:extLst>
            </p:cNvPr>
            <p:cNvSpPr/>
            <p:nvPr/>
          </p:nvSpPr>
          <p:spPr bwMode="ltGray">
            <a:xfrm>
              <a:off x="1807987" y="3521140"/>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48" name="Freeform 4">
              <a:extLst>
                <a:ext uri="{FF2B5EF4-FFF2-40B4-BE49-F238E27FC236}"/>
              </a:extLst>
            </p:cNvPr>
            <p:cNvSpPr>
              <a:spLocks noEditPoints="1"/>
            </p:cNvSpPr>
            <p:nvPr/>
          </p:nvSpPr>
          <p:spPr bwMode="auto">
            <a:xfrm>
              <a:off x="1858595" y="3567147"/>
              <a:ext cx="287547" cy="287547"/>
            </a:xfrm>
            <a:custGeom>
              <a:avLst/>
              <a:gdLst>
                <a:gd name="T0" fmla="*/ 85790705 w 173"/>
                <a:gd name="T1" fmla="*/ 782065674 h 172"/>
                <a:gd name="T2" fmla="*/ 69704324 w 173"/>
                <a:gd name="T3" fmla="*/ 927691535 h 172"/>
                <a:gd name="T4" fmla="*/ 166219283 w 173"/>
                <a:gd name="T5" fmla="*/ 803640558 h 172"/>
                <a:gd name="T6" fmla="*/ 144772439 w 173"/>
                <a:gd name="T7" fmla="*/ 738917581 h 172"/>
                <a:gd name="T8" fmla="*/ 134048185 w 173"/>
                <a:gd name="T9" fmla="*/ 695769488 h 172"/>
                <a:gd name="T10" fmla="*/ 445039908 w 173"/>
                <a:gd name="T11" fmla="*/ 690374512 h 172"/>
                <a:gd name="T12" fmla="*/ 471850543 w 173"/>
                <a:gd name="T13" fmla="*/ 647226419 h 172"/>
                <a:gd name="T14" fmla="*/ 520108023 w 173"/>
                <a:gd name="T15" fmla="*/ 614864930 h 172"/>
                <a:gd name="T16" fmla="*/ 927614705 w 173"/>
                <a:gd name="T17" fmla="*/ 873755163 h 172"/>
                <a:gd name="T18" fmla="*/ 734584786 w 173"/>
                <a:gd name="T19" fmla="*/ 825213767 h 172"/>
                <a:gd name="T20" fmla="*/ 471850543 w 173"/>
                <a:gd name="T21" fmla="*/ 566323535 h 172"/>
                <a:gd name="T22" fmla="*/ 579089757 w 173"/>
                <a:gd name="T23" fmla="*/ 517782140 h 172"/>
                <a:gd name="T24" fmla="*/ 836461873 w 173"/>
                <a:gd name="T25" fmla="*/ 749704186 h 172"/>
                <a:gd name="T26" fmla="*/ 638069827 w 173"/>
                <a:gd name="T27" fmla="*/ 361368000 h 172"/>
                <a:gd name="T28" fmla="*/ 316353850 w 173"/>
                <a:gd name="T29" fmla="*/ 204955535 h 172"/>
                <a:gd name="T30" fmla="*/ 209114636 w 173"/>
                <a:gd name="T31" fmla="*/ 183380651 h 172"/>
                <a:gd name="T32" fmla="*/ 171581410 w 173"/>
                <a:gd name="T33" fmla="*/ 280465116 h 172"/>
                <a:gd name="T34" fmla="*/ 455764162 w 173"/>
                <a:gd name="T35" fmla="*/ 517782140 h 172"/>
                <a:gd name="T36" fmla="*/ 278820624 w 173"/>
                <a:gd name="T37" fmla="*/ 566323535 h 172"/>
                <a:gd name="T38" fmla="*/ 0 w 173"/>
                <a:gd name="T39" fmla="*/ 194167256 h 172"/>
                <a:gd name="T40" fmla="*/ 450402035 w 173"/>
                <a:gd name="T41" fmla="*/ 614864930 h 172"/>
                <a:gd name="T42" fmla="*/ 445039908 w 173"/>
                <a:gd name="T43" fmla="*/ 663408000 h 172"/>
                <a:gd name="T44" fmla="*/ 101877087 w 173"/>
                <a:gd name="T45" fmla="*/ 695769488 h 172"/>
                <a:gd name="T46" fmla="*/ 85790705 w 173"/>
                <a:gd name="T47" fmla="*/ 738917581 h 172"/>
                <a:gd name="T48" fmla="*/ 541554867 w 173"/>
                <a:gd name="T49" fmla="*/ 469239070 h 172"/>
                <a:gd name="T50" fmla="*/ 466488416 w 173"/>
                <a:gd name="T51" fmla="*/ 485420651 h 172"/>
                <a:gd name="T52" fmla="*/ 509383769 w 173"/>
                <a:gd name="T53" fmla="*/ 453059163 h 172"/>
                <a:gd name="T54" fmla="*/ 337802358 w 173"/>
                <a:gd name="T55" fmla="*/ 485420651 h 172"/>
                <a:gd name="T56" fmla="*/ 230563145 w 173"/>
                <a:gd name="T57" fmla="*/ 226528744 h 172"/>
                <a:gd name="T58" fmla="*/ 359249202 w 173"/>
                <a:gd name="T59" fmla="*/ 453059163 h 172"/>
                <a:gd name="T60" fmla="*/ 455764162 w 173"/>
                <a:gd name="T61" fmla="*/ 485420651 h 172"/>
                <a:gd name="T62" fmla="*/ 96514960 w 173"/>
                <a:gd name="T63" fmla="*/ 26968186 h 172"/>
                <a:gd name="T64" fmla="*/ 96514960 w 173"/>
                <a:gd name="T65" fmla="*/ 151019163 h 172"/>
                <a:gd name="T66" fmla="*/ 219838890 w 173"/>
                <a:gd name="T67" fmla="*/ 151019163 h 172"/>
                <a:gd name="T68" fmla="*/ 219838890 w 173"/>
                <a:gd name="T69" fmla="*/ 26968186 h 172"/>
                <a:gd name="T70" fmla="*/ 117961803 w 173"/>
                <a:gd name="T71" fmla="*/ 798245581 h 172"/>
                <a:gd name="T72" fmla="*/ 117961803 w 173"/>
                <a:gd name="T73" fmla="*/ 879150140 h 172"/>
                <a:gd name="T74" fmla="*/ 117961803 w 173"/>
                <a:gd name="T75" fmla="*/ 798245581 h 172"/>
                <a:gd name="T76" fmla="*/ 112601341 w 173"/>
                <a:gd name="T77" fmla="*/ 846788651 h 172"/>
                <a:gd name="T78" fmla="*/ 101877087 w 173"/>
                <a:gd name="T79" fmla="*/ 852181953 h 172"/>
                <a:gd name="T80" fmla="*/ 112601341 w 173"/>
                <a:gd name="T81" fmla="*/ 862968558 h 172"/>
                <a:gd name="T82" fmla="*/ 123323931 w 173"/>
                <a:gd name="T83" fmla="*/ 852181953 h 172"/>
                <a:gd name="T84" fmla="*/ 134048185 w 173"/>
                <a:gd name="T85" fmla="*/ 846788651 h 172"/>
                <a:gd name="T86" fmla="*/ 123323931 w 173"/>
                <a:gd name="T87" fmla="*/ 830607070 h 1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3" h="172">
                  <a:moveTo>
                    <a:pt x="16" y="137"/>
                  </a:moveTo>
                  <a:cubicBezTo>
                    <a:pt x="16" y="145"/>
                    <a:pt x="16" y="145"/>
                    <a:pt x="16" y="145"/>
                  </a:cubicBezTo>
                  <a:cubicBezTo>
                    <a:pt x="13" y="149"/>
                    <a:pt x="13" y="149"/>
                    <a:pt x="13" y="149"/>
                  </a:cubicBezTo>
                  <a:cubicBezTo>
                    <a:pt x="13" y="172"/>
                    <a:pt x="13" y="172"/>
                    <a:pt x="13" y="172"/>
                  </a:cubicBezTo>
                  <a:cubicBezTo>
                    <a:pt x="31" y="172"/>
                    <a:pt x="31" y="172"/>
                    <a:pt x="31" y="172"/>
                  </a:cubicBezTo>
                  <a:cubicBezTo>
                    <a:pt x="31" y="149"/>
                    <a:pt x="31" y="149"/>
                    <a:pt x="31" y="149"/>
                  </a:cubicBezTo>
                  <a:cubicBezTo>
                    <a:pt x="27" y="145"/>
                    <a:pt x="27" y="145"/>
                    <a:pt x="27" y="145"/>
                  </a:cubicBezTo>
                  <a:cubicBezTo>
                    <a:pt x="27" y="137"/>
                    <a:pt x="27" y="137"/>
                    <a:pt x="27" y="137"/>
                  </a:cubicBezTo>
                  <a:cubicBezTo>
                    <a:pt x="25" y="137"/>
                    <a:pt x="25" y="137"/>
                    <a:pt x="25" y="137"/>
                  </a:cubicBezTo>
                  <a:cubicBezTo>
                    <a:pt x="25" y="129"/>
                    <a:pt x="25" y="129"/>
                    <a:pt x="25" y="129"/>
                  </a:cubicBezTo>
                  <a:cubicBezTo>
                    <a:pt x="25" y="129"/>
                    <a:pt x="25" y="128"/>
                    <a:pt x="25" y="128"/>
                  </a:cubicBezTo>
                  <a:cubicBezTo>
                    <a:pt x="83" y="128"/>
                    <a:pt x="83" y="128"/>
                    <a:pt x="83" y="128"/>
                  </a:cubicBezTo>
                  <a:cubicBezTo>
                    <a:pt x="85" y="128"/>
                    <a:pt x="87" y="127"/>
                    <a:pt x="87" y="126"/>
                  </a:cubicBezTo>
                  <a:cubicBezTo>
                    <a:pt x="88" y="125"/>
                    <a:pt x="88" y="123"/>
                    <a:pt x="88" y="120"/>
                  </a:cubicBezTo>
                  <a:cubicBezTo>
                    <a:pt x="88" y="114"/>
                    <a:pt x="88" y="114"/>
                    <a:pt x="88" y="114"/>
                  </a:cubicBezTo>
                  <a:cubicBezTo>
                    <a:pt x="97" y="114"/>
                    <a:pt x="97" y="114"/>
                    <a:pt x="97" y="114"/>
                  </a:cubicBezTo>
                  <a:cubicBezTo>
                    <a:pt x="132" y="162"/>
                    <a:pt x="132" y="162"/>
                    <a:pt x="132" y="162"/>
                  </a:cubicBezTo>
                  <a:cubicBezTo>
                    <a:pt x="173" y="162"/>
                    <a:pt x="173" y="162"/>
                    <a:pt x="173" y="162"/>
                  </a:cubicBezTo>
                  <a:cubicBezTo>
                    <a:pt x="168" y="153"/>
                    <a:pt x="168" y="153"/>
                    <a:pt x="168" y="153"/>
                  </a:cubicBezTo>
                  <a:cubicBezTo>
                    <a:pt x="137" y="153"/>
                    <a:pt x="137" y="153"/>
                    <a:pt x="137" y="153"/>
                  </a:cubicBezTo>
                  <a:cubicBezTo>
                    <a:pt x="103" y="105"/>
                    <a:pt x="103" y="105"/>
                    <a:pt x="103" y="105"/>
                  </a:cubicBezTo>
                  <a:cubicBezTo>
                    <a:pt x="88" y="105"/>
                    <a:pt x="88" y="105"/>
                    <a:pt x="88" y="105"/>
                  </a:cubicBezTo>
                  <a:cubicBezTo>
                    <a:pt x="87" y="96"/>
                    <a:pt x="87" y="96"/>
                    <a:pt x="87" y="96"/>
                  </a:cubicBezTo>
                  <a:cubicBezTo>
                    <a:pt x="108" y="96"/>
                    <a:pt x="108" y="96"/>
                    <a:pt x="108" y="96"/>
                  </a:cubicBezTo>
                  <a:cubicBezTo>
                    <a:pt x="142" y="138"/>
                    <a:pt x="142" y="138"/>
                    <a:pt x="142" y="138"/>
                  </a:cubicBezTo>
                  <a:cubicBezTo>
                    <a:pt x="143" y="140"/>
                    <a:pt x="148" y="141"/>
                    <a:pt x="156" y="139"/>
                  </a:cubicBezTo>
                  <a:cubicBezTo>
                    <a:pt x="164" y="138"/>
                    <a:pt x="167" y="131"/>
                    <a:pt x="166" y="119"/>
                  </a:cubicBezTo>
                  <a:cubicBezTo>
                    <a:pt x="119" y="67"/>
                    <a:pt x="119" y="67"/>
                    <a:pt x="119" y="67"/>
                  </a:cubicBezTo>
                  <a:cubicBezTo>
                    <a:pt x="78" y="67"/>
                    <a:pt x="78" y="67"/>
                    <a:pt x="78" y="67"/>
                  </a:cubicBezTo>
                  <a:cubicBezTo>
                    <a:pt x="59" y="38"/>
                    <a:pt x="59" y="38"/>
                    <a:pt x="59" y="38"/>
                  </a:cubicBezTo>
                  <a:cubicBezTo>
                    <a:pt x="57" y="34"/>
                    <a:pt x="54" y="32"/>
                    <a:pt x="50" y="32"/>
                  </a:cubicBezTo>
                  <a:cubicBezTo>
                    <a:pt x="46" y="32"/>
                    <a:pt x="43" y="33"/>
                    <a:pt x="39" y="34"/>
                  </a:cubicBezTo>
                  <a:cubicBezTo>
                    <a:pt x="36" y="36"/>
                    <a:pt x="33" y="39"/>
                    <a:pt x="32" y="42"/>
                  </a:cubicBezTo>
                  <a:cubicBezTo>
                    <a:pt x="30" y="45"/>
                    <a:pt x="30" y="49"/>
                    <a:pt x="32" y="52"/>
                  </a:cubicBezTo>
                  <a:cubicBezTo>
                    <a:pt x="57" y="96"/>
                    <a:pt x="57" y="96"/>
                    <a:pt x="57" y="96"/>
                  </a:cubicBezTo>
                  <a:cubicBezTo>
                    <a:pt x="85" y="96"/>
                    <a:pt x="85" y="96"/>
                    <a:pt x="85" y="96"/>
                  </a:cubicBezTo>
                  <a:cubicBezTo>
                    <a:pt x="84" y="105"/>
                    <a:pt x="84" y="105"/>
                    <a:pt x="84" y="105"/>
                  </a:cubicBezTo>
                  <a:cubicBezTo>
                    <a:pt x="52" y="105"/>
                    <a:pt x="52" y="105"/>
                    <a:pt x="52" y="105"/>
                  </a:cubicBezTo>
                  <a:cubicBezTo>
                    <a:pt x="8" y="31"/>
                    <a:pt x="8" y="31"/>
                    <a:pt x="8" y="31"/>
                  </a:cubicBezTo>
                  <a:cubicBezTo>
                    <a:pt x="0" y="36"/>
                    <a:pt x="0" y="36"/>
                    <a:pt x="0" y="36"/>
                  </a:cubicBezTo>
                  <a:cubicBezTo>
                    <a:pt x="46" y="114"/>
                    <a:pt x="46" y="114"/>
                    <a:pt x="46" y="114"/>
                  </a:cubicBezTo>
                  <a:cubicBezTo>
                    <a:pt x="84" y="114"/>
                    <a:pt x="84" y="114"/>
                    <a:pt x="84" y="114"/>
                  </a:cubicBezTo>
                  <a:cubicBezTo>
                    <a:pt x="84" y="122"/>
                    <a:pt x="84" y="122"/>
                    <a:pt x="84" y="122"/>
                  </a:cubicBezTo>
                  <a:cubicBezTo>
                    <a:pt x="84" y="123"/>
                    <a:pt x="84" y="123"/>
                    <a:pt x="83" y="123"/>
                  </a:cubicBezTo>
                  <a:cubicBezTo>
                    <a:pt x="26" y="123"/>
                    <a:pt x="26" y="123"/>
                    <a:pt x="26" y="123"/>
                  </a:cubicBezTo>
                  <a:cubicBezTo>
                    <a:pt x="22" y="123"/>
                    <a:pt x="19" y="125"/>
                    <a:pt x="19" y="129"/>
                  </a:cubicBezTo>
                  <a:cubicBezTo>
                    <a:pt x="19" y="137"/>
                    <a:pt x="19" y="137"/>
                    <a:pt x="19" y="137"/>
                  </a:cubicBezTo>
                  <a:lnTo>
                    <a:pt x="16" y="137"/>
                  </a:lnTo>
                  <a:close/>
                  <a:moveTo>
                    <a:pt x="95" y="84"/>
                  </a:moveTo>
                  <a:cubicBezTo>
                    <a:pt x="98" y="83"/>
                    <a:pt x="100" y="84"/>
                    <a:pt x="101" y="87"/>
                  </a:cubicBezTo>
                  <a:cubicBezTo>
                    <a:pt x="101" y="89"/>
                    <a:pt x="99" y="90"/>
                    <a:pt x="95" y="90"/>
                  </a:cubicBezTo>
                  <a:cubicBezTo>
                    <a:pt x="87" y="90"/>
                    <a:pt x="87" y="90"/>
                    <a:pt x="87" y="90"/>
                  </a:cubicBezTo>
                  <a:cubicBezTo>
                    <a:pt x="87" y="84"/>
                    <a:pt x="87" y="84"/>
                    <a:pt x="87" y="84"/>
                  </a:cubicBezTo>
                  <a:lnTo>
                    <a:pt x="95" y="84"/>
                  </a:lnTo>
                  <a:close/>
                  <a:moveTo>
                    <a:pt x="85" y="90"/>
                  </a:moveTo>
                  <a:cubicBezTo>
                    <a:pt x="63" y="90"/>
                    <a:pt x="63" y="90"/>
                    <a:pt x="63" y="90"/>
                  </a:cubicBezTo>
                  <a:cubicBezTo>
                    <a:pt x="41" y="49"/>
                    <a:pt x="41" y="49"/>
                    <a:pt x="41" y="49"/>
                  </a:cubicBezTo>
                  <a:cubicBezTo>
                    <a:pt x="39" y="45"/>
                    <a:pt x="40" y="43"/>
                    <a:pt x="43" y="42"/>
                  </a:cubicBezTo>
                  <a:cubicBezTo>
                    <a:pt x="45" y="41"/>
                    <a:pt x="47" y="42"/>
                    <a:pt x="49" y="45"/>
                  </a:cubicBezTo>
                  <a:cubicBezTo>
                    <a:pt x="67" y="84"/>
                    <a:pt x="67" y="84"/>
                    <a:pt x="67" y="84"/>
                  </a:cubicBezTo>
                  <a:cubicBezTo>
                    <a:pt x="85" y="84"/>
                    <a:pt x="85" y="84"/>
                    <a:pt x="85" y="84"/>
                  </a:cubicBezTo>
                  <a:lnTo>
                    <a:pt x="85" y="90"/>
                  </a:lnTo>
                  <a:close/>
                  <a:moveTo>
                    <a:pt x="30" y="0"/>
                  </a:moveTo>
                  <a:cubicBezTo>
                    <a:pt x="25" y="0"/>
                    <a:pt x="21" y="2"/>
                    <a:pt x="18" y="5"/>
                  </a:cubicBezTo>
                  <a:cubicBezTo>
                    <a:pt x="15" y="8"/>
                    <a:pt x="13" y="12"/>
                    <a:pt x="13" y="16"/>
                  </a:cubicBezTo>
                  <a:cubicBezTo>
                    <a:pt x="13" y="21"/>
                    <a:pt x="15" y="25"/>
                    <a:pt x="18" y="28"/>
                  </a:cubicBezTo>
                  <a:cubicBezTo>
                    <a:pt x="21" y="32"/>
                    <a:pt x="25" y="33"/>
                    <a:pt x="30" y="33"/>
                  </a:cubicBezTo>
                  <a:cubicBezTo>
                    <a:pt x="34" y="33"/>
                    <a:pt x="38" y="32"/>
                    <a:pt x="41" y="28"/>
                  </a:cubicBezTo>
                  <a:cubicBezTo>
                    <a:pt x="45" y="25"/>
                    <a:pt x="46" y="21"/>
                    <a:pt x="46" y="16"/>
                  </a:cubicBezTo>
                  <a:cubicBezTo>
                    <a:pt x="46" y="12"/>
                    <a:pt x="45" y="8"/>
                    <a:pt x="41" y="5"/>
                  </a:cubicBezTo>
                  <a:cubicBezTo>
                    <a:pt x="38" y="2"/>
                    <a:pt x="34" y="0"/>
                    <a:pt x="30" y="0"/>
                  </a:cubicBezTo>
                  <a:moveTo>
                    <a:pt x="22" y="148"/>
                  </a:moveTo>
                  <a:cubicBezTo>
                    <a:pt x="24" y="152"/>
                    <a:pt x="25" y="156"/>
                    <a:pt x="25" y="159"/>
                  </a:cubicBezTo>
                  <a:cubicBezTo>
                    <a:pt x="25" y="162"/>
                    <a:pt x="24" y="163"/>
                    <a:pt x="22" y="163"/>
                  </a:cubicBezTo>
                  <a:cubicBezTo>
                    <a:pt x="20" y="163"/>
                    <a:pt x="19" y="162"/>
                    <a:pt x="19" y="159"/>
                  </a:cubicBezTo>
                  <a:cubicBezTo>
                    <a:pt x="18" y="156"/>
                    <a:pt x="19" y="152"/>
                    <a:pt x="22" y="148"/>
                  </a:cubicBezTo>
                  <a:moveTo>
                    <a:pt x="21" y="154"/>
                  </a:moveTo>
                  <a:cubicBezTo>
                    <a:pt x="21" y="157"/>
                    <a:pt x="21" y="157"/>
                    <a:pt x="21" y="157"/>
                  </a:cubicBezTo>
                  <a:cubicBezTo>
                    <a:pt x="19" y="157"/>
                    <a:pt x="19" y="157"/>
                    <a:pt x="19" y="157"/>
                  </a:cubicBezTo>
                  <a:cubicBezTo>
                    <a:pt x="19" y="158"/>
                    <a:pt x="19" y="158"/>
                    <a:pt x="19" y="158"/>
                  </a:cubicBezTo>
                  <a:cubicBezTo>
                    <a:pt x="21" y="158"/>
                    <a:pt x="21" y="158"/>
                    <a:pt x="21" y="158"/>
                  </a:cubicBezTo>
                  <a:cubicBezTo>
                    <a:pt x="21" y="160"/>
                    <a:pt x="21" y="160"/>
                    <a:pt x="21" y="160"/>
                  </a:cubicBezTo>
                  <a:cubicBezTo>
                    <a:pt x="23" y="160"/>
                    <a:pt x="23" y="160"/>
                    <a:pt x="23" y="160"/>
                  </a:cubicBezTo>
                  <a:cubicBezTo>
                    <a:pt x="23" y="158"/>
                    <a:pt x="23" y="158"/>
                    <a:pt x="23" y="158"/>
                  </a:cubicBezTo>
                  <a:cubicBezTo>
                    <a:pt x="25" y="158"/>
                    <a:pt x="25" y="158"/>
                    <a:pt x="25" y="158"/>
                  </a:cubicBezTo>
                  <a:cubicBezTo>
                    <a:pt x="25" y="157"/>
                    <a:pt x="25" y="157"/>
                    <a:pt x="25" y="157"/>
                  </a:cubicBezTo>
                  <a:cubicBezTo>
                    <a:pt x="23" y="157"/>
                    <a:pt x="23" y="157"/>
                    <a:pt x="23" y="157"/>
                  </a:cubicBezTo>
                  <a:cubicBezTo>
                    <a:pt x="23" y="154"/>
                    <a:pt x="23" y="154"/>
                    <a:pt x="23" y="154"/>
                  </a:cubicBezTo>
                  <a:lnTo>
                    <a:pt x="21"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23" name="Group 175"/>
          <p:cNvGrpSpPr>
            <a:grpSpLocks/>
          </p:cNvGrpSpPr>
          <p:nvPr/>
        </p:nvGrpSpPr>
        <p:grpSpPr bwMode="auto">
          <a:xfrm>
            <a:off x="1728788" y="4843463"/>
            <a:ext cx="252412" cy="252412"/>
            <a:chOff x="1807987" y="3050116"/>
            <a:chExt cx="365760" cy="365760"/>
          </a:xfrm>
        </p:grpSpPr>
        <p:sp>
          <p:nvSpPr>
            <p:cNvPr id="150" name="Oval 149">
              <a:extLst>
                <a:ext uri="{FF2B5EF4-FFF2-40B4-BE49-F238E27FC236}"/>
              </a:extLst>
            </p:cNvPr>
            <p:cNvSpPr/>
            <p:nvPr/>
          </p:nvSpPr>
          <p:spPr bwMode="ltGray">
            <a:xfrm>
              <a:off x="1807987" y="3050116"/>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51" name="Freeform 1190">
              <a:extLst>
                <a:ext uri="{FF2B5EF4-FFF2-40B4-BE49-F238E27FC236}"/>
              </a:extLst>
            </p:cNvPr>
            <p:cNvSpPr>
              <a:spLocks noEditPoints="1"/>
            </p:cNvSpPr>
            <p:nvPr/>
          </p:nvSpPr>
          <p:spPr bwMode="auto">
            <a:xfrm>
              <a:off x="1867797" y="3059318"/>
              <a:ext cx="253042" cy="322053"/>
            </a:xfrm>
            <a:custGeom>
              <a:avLst/>
              <a:gdLst>
                <a:gd name="T0" fmla="*/ 673 w 711"/>
                <a:gd name="T1" fmla="*/ 279 h 878"/>
                <a:gd name="T2" fmla="*/ 600 w 711"/>
                <a:gd name="T3" fmla="*/ 205 h 878"/>
                <a:gd name="T4" fmla="*/ 386 w 711"/>
                <a:gd name="T5" fmla="*/ 169 h 878"/>
                <a:gd name="T6" fmla="*/ 325 w 711"/>
                <a:gd name="T7" fmla="*/ 135 h 878"/>
                <a:gd name="T8" fmla="*/ 0 w 711"/>
                <a:gd name="T9" fmla="*/ 523 h 878"/>
                <a:gd name="T10" fmla="*/ 711 w 711"/>
                <a:gd name="T11" fmla="*/ 523 h 878"/>
                <a:gd name="T12" fmla="*/ 356 w 711"/>
                <a:gd name="T13" fmla="*/ 844 h 878"/>
                <a:gd name="T14" fmla="*/ 356 w 711"/>
                <a:gd name="T15" fmla="*/ 202 h 878"/>
                <a:gd name="T16" fmla="*/ 613 w 711"/>
                <a:gd name="T17" fmla="*/ 332 h 878"/>
                <a:gd name="T18" fmla="*/ 677 w 711"/>
                <a:gd name="T19" fmla="*/ 523 h 878"/>
                <a:gd name="T20" fmla="*/ 291 w 711"/>
                <a:gd name="T21" fmla="*/ 87 h 878"/>
                <a:gd name="T22" fmla="*/ 312 w 711"/>
                <a:gd name="T23" fmla="*/ 0 h 878"/>
                <a:gd name="T24" fmla="*/ 421 w 711"/>
                <a:gd name="T25" fmla="*/ 22 h 878"/>
                <a:gd name="T26" fmla="*/ 399 w 711"/>
                <a:gd name="T27" fmla="*/ 109 h 878"/>
                <a:gd name="T28" fmla="*/ 291 w 711"/>
                <a:gd name="T29" fmla="*/ 87 h 878"/>
                <a:gd name="T30" fmla="*/ 356 w 711"/>
                <a:gd name="T31" fmla="*/ 549 h 878"/>
                <a:gd name="T32" fmla="*/ 356 w 711"/>
                <a:gd name="T33" fmla="*/ 497 h 878"/>
                <a:gd name="T34" fmla="*/ 588 w 711"/>
                <a:gd name="T35" fmla="*/ 540 h 878"/>
                <a:gd name="T36" fmla="*/ 588 w 711"/>
                <a:gd name="T37" fmla="*/ 506 h 878"/>
                <a:gd name="T38" fmla="*/ 356 w 711"/>
                <a:gd name="T39" fmla="*/ 244 h 878"/>
                <a:gd name="T40" fmla="*/ 124 w 711"/>
                <a:gd name="T41" fmla="*/ 506 h 878"/>
                <a:gd name="T42" fmla="*/ 124 w 711"/>
                <a:gd name="T43" fmla="*/ 540 h 878"/>
                <a:gd name="T44" fmla="*/ 338 w 711"/>
                <a:gd name="T45" fmla="*/ 801 h 878"/>
                <a:gd name="T46" fmla="*/ 356 w 711"/>
                <a:gd name="T47" fmla="*/ 738 h 878"/>
                <a:gd name="T48" fmla="*/ 373 w 711"/>
                <a:gd name="T49" fmla="*/ 801 h 878"/>
                <a:gd name="T50" fmla="*/ 588 w 711"/>
                <a:gd name="T51" fmla="*/ 540 h 878"/>
                <a:gd name="T52" fmla="*/ 434 w 711"/>
                <a:gd name="T53" fmla="*/ 288 h 878"/>
                <a:gd name="T54" fmla="*/ 356 w 711"/>
                <a:gd name="T55" fmla="*/ 397 h 878"/>
                <a:gd name="T56" fmla="*/ 344 w 711"/>
                <a:gd name="T57" fmla="*/ 338 h 878"/>
                <a:gd name="T58" fmla="*/ 518 w 711"/>
                <a:gd name="T59" fmla="*/ 703 h 878"/>
                <a:gd name="T60" fmla="*/ 384 w 711"/>
                <a:gd name="T61" fmla="*/ 576 h 878"/>
                <a:gd name="T62" fmla="*/ 326 w 711"/>
                <a:gd name="T63" fmla="*/ 575 h 878"/>
                <a:gd name="T64" fmla="*/ 284 w 711"/>
                <a:gd name="T65" fmla="*/ 476 h 878"/>
                <a:gd name="T66" fmla="*/ 309 w 711"/>
                <a:gd name="T67" fmla="*/ 452 h 878"/>
                <a:gd name="T68" fmla="*/ 356 w 711"/>
                <a:gd name="T69" fmla="*/ 463 h 878"/>
                <a:gd name="T70" fmla="*/ 409 w 711"/>
                <a:gd name="T71" fmla="*/ 551 h 878"/>
                <a:gd name="T72" fmla="*/ 531 w 711"/>
                <a:gd name="T73" fmla="*/ 698 h 8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11" h="878">
                  <a:moveTo>
                    <a:pt x="641" y="311"/>
                  </a:moveTo>
                  <a:cubicBezTo>
                    <a:pt x="673" y="279"/>
                    <a:pt x="673" y="279"/>
                    <a:pt x="673" y="279"/>
                  </a:cubicBezTo>
                  <a:cubicBezTo>
                    <a:pt x="694" y="259"/>
                    <a:pt x="694" y="226"/>
                    <a:pt x="673" y="205"/>
                  </a:cubicBezTo>
                  <a:cubicBezTo>
                    <a:pt x="653" y="185"/>
                    <a:pt x="620" y="185"/>
                    <a:pt x="600" y="205"/>
                  </a:cubicBezTo>
                  <a:cubicBezTo>
                    <a:pt x="567" y="238"/>
                    <a:pt x="567" y="238"/>
                    <a:pt x="567" y="238"/>
                  </a:cubicBezTo>
                  <a:cubicBezTo>
                    <a:pt x="516" y="200"/>
                    <a:pt x="454" y="175"/>
                    <a:pt x="386" y="169"/>
                  </a:cubicBezTo>
                  <a:cubicBezTo>
                    <a:pt x="386" y="135"/>
                    <a:pt x="386" y="135"/>
                    <a:pt x="386" y="135"/>
                  </a:cubicBezTo>
                  <a:cubicBezTo>
                    <a:pt x="325" y="135"/>
                    <a:pt x="325" y="135"/>
                    <a:pt x="325" y="135"/>
                  </a:cubicBezTo>
                  <a:cubicBezTo>
                    <a:pt x="325" y="169"/>
                    <a:pt x="325" y="169"/>
                    <a:pt x="325" y="169"/>
                  </a:cubicBezTo>
                  <a:cubicBezTo>
                    <a:pt x="143" y="185"/>
                    <a:pt x="0" y="337"/>
                    <a:pt x="0" y="523"/>
                  </a:cubicBezTo>
                  <a:cubicBezTo>
                    <a:pt x="0" y="719"/>
                    <a:pt x="159" y="878"/>
                    <a:pt x="356" y="878"/>
                  </a:cubicBezTo>
                  <a:cubicBezTo>
                    <a:pt x="552" y="878"/>
                    <a:pt x="711" y="719"/>
                    <a:pt x="711" y="523"/>
                  </a:cubicBezTo>
                  <a:cubicBezTo>
                    <a:pt x="711" y="444"/>
                    <a:pt x="685" y="371"/>
                    <a:pt x="641" y="311"/>
                  </a:cubicBezTo>
                  <a:close/>
                  <a:moveTo>
                    <a:pt x="356" y="844"/>
                  </a:moveTo>
                  <a:cubicBezTo>
                    <a:pt x="179" y="844"/>
                    <a:pt x="35" y="700"/>
                    <a:pt x="35" y="523"/>
                  </a:cubicBezTo>
                  <a:cubicBezTo>
                    <a:pt x="35" y="346"/>
                    <a:pt x="179" y="202"/>
                    <a:pt x="356" y="202"/>
                  </a:cubicBezTo>
                  <a:cubicBezTo>
                    <a:pt x="428" y="202"/>
                    <a:pt x="494" y="226"/>
                    <a:pt x="547" y="266"/>
                  </a:cubicBezTo>
                  <a:cubicBezTo>
                    <a:pt x="572" y="285"/>
                    <a:pt x="594" y="307"/>
                    <a:pt x="613" y="332"/>
                  </a:cubicBezTo>
                  <a:cubicBezTo>
                    <a:pt x="613" y="332"/>
                    <a:pt x="613" y="332"/>
                    <a:pt x="613" y="332"/>
                  </a:cubicBezTo>
                  <a:cubicBezTo>
                    <a:pt x="653" y="385"/>
                    <a:pt x="677" y="451"/>
                    <a:pt x="677" y="523"/>
                  </a:cubicBezTo>
                  <a:cubicBezTo>
                    <a:pt x="677" y="700"/>
                    <a:pt x="533" y="844"/>
                    <a:pt x="356" y="844"/>
                  </a:cubicBezTo>
                  <a:close/>
                  <a:moveTo>
                    <a:pt x="291" y="87"/>
                  </a:moveTo>
                  <a:cubicBezTo>
                    <a:pt x="291" y="22"/>
                    <a:pt x="291" y="22"/>
                    <a:pt x="291" y="22"/>
                  </a:cubicBezTo>
                  <a:cubicBezTo>
                    <a:pt x="291" y="10"/>
                    <a:pt x="300" y="0"/>
                    <a:pt x="312" y="0"/>
                  </a:cubicBezTo>
                  <a:cubicBezTo>
                    <a:pt x="399" y="0"/>
                    <a:pt x="399" y="0"/>
                    <a:pt x="399" y="0"/>
                  </a:cubicBezTo>
                  <a:cubicBezTo>
                    <a:pt x="411" y="0"/>
                    <a:pt x="421" y="10"/>
                    <a:pt x="421" y="22"/>
                  </a:cubicBezTo>
                  <a:cubicBezTo>
                    <a:pt x="421" y="87"/>
                    <a:pt x="421" y="87"/>
                    <a:pt x="421" y="87"/>
                  </a:cubicBezTo>
                  <a:cubicBezTo>
                    <a:pt x="421" y="99"/>
                    <a:pt x="411" y="109"/>
                    <a:pt x="399" y="109"/>
                  </a:cubicBezTo>
                  <a:cubicBezTo>
                    <a:pt x="312" y="109"/>
                    <a:pt x="312" y="109"/>
                    <a:pt x="312" y="109"/>
                  </a:cubicBezTo>
                  <a:cubicBezTo>
                    <a:pt x="300" y="109"/>
                    <a:pt x="291" y="99"/>
                    <a:pt x="291" y="87"/>
                  </a:cubicBezTo>
                  <a:close/>
                  <a:moveTo>
                    <a:pt x="381" y="523"/>
                  </a:moveTo>
                  <a:cubicBezTo>
                    <a:pt x="381" y="537"/>
                    <a:pt x="370" y="549"/>
                    <a:pt x="356" y="549"/>
                  </a:cubicBezTo>
                  <a:cubicBezTo>
                    <a:pt x="342" y="549"/>
                    <a:pt x="330" y="537"/>
                    <a:pt x="330" y="523"/>
                  </a:cubicBezTo>
                  <a:cubicBezTo>
                    <a:pt x="330" y="509"/>
                    <a:pt x="342" y="497"/>
                    <a:pt x="356" y="497"/>
                  </a:cubicBezTo>
                  <a:cubicBezTo>
                    <a:pt x="370" y="497"/>
                    <a:pt x="381" y="509"/>
                    <a:pt x="381" y="523"/>
                  </a:cubicBezTo>
                  <a:close/>
                  <a:moveTo>
                    <a:pt x="588" y="540"/>
                  </a:moveTo>
                  <a:cubicBezTo>
                    <a:pt x="578" y="540"/>
                    <a:pt x="571" y="533"/>
                    <a:pt x="571" y="523"/>
                  </a:cubicBezTo>
                  <a:cubicBezTo>
                    <a:pt x="571" y="513"/>
                    <a:pt x="578" y="506"/>
                    <a:pt x="588" y="506"/>
                  </a:cubicBezTo>
                  <a:cubicBezTo>
                    <a:pt x="634" y="506"/>
                    <a:pt x="634" y="506"/>
                    <a:pt x="634" y="506"/>
                  </a:cubicBezTo>
                  <a:cubicBezTo>
                    <a:pt x="625" y="360"/>
                    <a:pt x="504" y="244"/>
                    <a:pt x="356" y="244"/>
                  </a:cubicBezTo>
                  <a:cubicBezTo>
                    <a:pt x="208" y="244"/>
                    <a:pt x="87" y="360"/>
                    <a:pt x="78" y="506"/>
                  </a:cubicBezTo>
                  <a:cubicBezTo>
                    <a:pt x="124" y="506"/>
                    <a:pt x="124" y="506"/>
                    <a:pt x="124" y="506"/>
                  </a:cubicBezTo>
                  <a:cubicBezTo>
                    <a:pt x="133" y="506"/>
                    <a:pt x="141" y="513"/>
                    <a:pt x="141" y="523"/>
                  </a:cubicBezTo>
                  <a:cubicBezTo>
                    <a:pt x="141" y="533"/>
                    <a:pt x="133" y="540"/>
                    <a:pt x="124" y="540"/>
                  </a:cubicBezTo>
                  <a:cubicBezTo>
                    <a:pt x="78" y="540"/>
                    <a:pt x="78" y="540"/>
                    <a:pt x="78" y="540"/>
                  </a:cubicBezTo>
                  <a:cubicBezTo>
                    <a:pt x="86" y="681"/>
                    <a:pt x="198" y="793"/>
                    <a:pt x="338" y="801"/>
                  </a:cubicBezTo>
                  <a:cubicBezTo>
                    <a:pt x="338" y="755"/>
                    <a:pt x="338" y="755"/>
                    <a:pt x="338" y="755"/>
                  </a:cubicBezTo>
                  <a:cubicBezTo>
                    <a:pt x="338" y="746"/>
                    <a:pt x="346" y="738"/>
                    <a:pt x="356" y="738"/>
                  </a:cubicBezTo>
                  <a:cubicBezTo>
                    <a:pt x="365" y="738"/>
                    <a:pt x="373" y="746"/>
                    <a:pt x="373" y="755"/>
                  </a:cubicBezTo>
                  <a:cubicBezTo>
                    <a:pt x="373" y="801"/>
                    <a:pt x="373" y="801"/>
                    <a:pt x="373" y="801"/>
                  </a:cubicBezTo>
                  <a:cubicBezTo>
                    <a:pt x="513" y="793"/>
                    <a:pt x="625" y="681"/>
                    <a:pt x="634" y="540"/>
                  </a:cubicBezTo>
                  <a:lnTo>
                    <a:pt x="588" y="540"/>
                  </a:lnTo>
                  <a:close/>
                  <a:moveTo>
                    <a:pt x="344" y="338"/>
                  </a:moveTo>
                  <a:cubicBezTo>
                    <a:pt x="434" y="288"/>
                    <a:pt x="434" y="288"/>
                    <a:pt x="434" y="288"/>
                  </a:cubicBezTo>
                  <a:cubicBezTo>
                    <a:pt x="384" y="378"/>
                    <a:pt x="384" y="378"/>
                    <a:pt x="384" y="378"/>
                  </a:cubicBezTo>
                  <a:cubicBezTo>
                    <a:pt x="380" y="390"/>
                    <a:pt x="369" y="397"/>
                    <a:pt x="356" y="397"/>
                  </a:cubicBezTo>
                  <a:cubicBezTo>
                    <a:pt x="339" y="397"/>
                    <a:pt x="325" y="384"/>
                    <a:pt x="325" y="367"/>
                  </a:cubicBezTo>
                  <a:cubicBezTo>
                    <a:pt x="325" y="354"/>
                    <a:pt x="333" y="343"/>
                    <a:pt x="344" y="338"/>
                  </a:cubicBezTo>
                  <a:close/>
                  <a:moveTo>
                    <a:pt x="531" y="698"/>
                  </a:moveTo>
                  <a:cubicBezTo>
                    <a:pt x="527" y="701"/>
                    <a:pt x="523" y="703"/>
                    <a:pt x="518" y="703"/>
                  </a:cubicBezTo>
                  <a:cubicBezTo>
                    <a:pt x="514" y="703"/>
                    <a:pt x="510" y="701"/>
                    <a:pt x="506" y="698"/>
                  </a:cubicBezTo>
                  <a:cubicBezTo>
                    <a:pt x="384" y="576"/>
                    <a:pt x="384" y="576"/>
                    <a:pt x="384" y="576"/>
                  </a:cubicBezTo>
                  <a:cubicBezTo>
                    <a:pt x="376" y="581"/>
                    <a:pt x="366" y="583"/>
                    <a:pt x="356" y="583"/>
                  </a:cubicBezTo>
                  <a:cubicBezTo>
                    <a:pt x="346" y="583"/>
                    <a:pt x="335" y="581"/>
                    <a:pt x="326" y="575"/>
                  </a:cubicBezTo>
                  <a:cubicBezTo>
                    <a:pt x="297" y="559"/>
                    <a:pt x="287" y="523"/>
                    <a:pt x="303" y="495"/>
                  </a:cubicBezTo>
                  <a:cubicBezTo>
                    <a:pt x="284" y="476"/>
                    <a:pt x="284" y="476"/>
                    <a:pt x="284" y="476"/>
                  </a:cubicBezTo>
                  <a:cubicBezTo>
                    <a:pt x="278" y="469"/>
                    <a:pt x="278" y="458"/>
                    <a:pt x="284" y="452"/>
                  </a:cubicBezTo>
                  <a:cubicBezTo>
                    <a:pt x="291" y="445"/>
                    <a:pt x="302" y="445"/>
                    <a:pt x="309" y="452"/>
                  </a:cubicBezTo>
                  <a:cubicBezTo>
                    <a:pt x="327" y="470"/>
                    <a:pt x="327" y="470"/>
                    <a:pt x="327" y="470"/>
                  </a:cubicBezTo>
                  <a:cubicBezTo>
                    <a:pt x="336" y="465"/>
                    <a:pt x="346" y="463"/>
                    <a:pt x="356" y="463"/>
                  </a:cubicBezTo>
                  <a:cubicBezTo>
                    <a:pt x="366" y="463"/>
                    <a:pt x="376" y="465"/>
                    <a:pt x="386" y="471"/>
                  </a:cubicBezTo>
                  <a:cubicBezTo>
                    <a:pt x="414" y="487"/>
                    <a:pt x="424" y="523"/>
                    <a:pt x="409" y="551"/>
                  </a:cubicBezTo>
                  <a:cubicBezTo>
                    <a:pt x="531" y="673"/>
                    <a:pt x="531" y="673"/>
                    <a:pt x="531" y="673"/>
                  </a:cubicBezTo>
                  <a:cubicBezTo>
                    <a:pt x="537" y="680"/>
                    <a:pt x="537" y="691"/>
                    <a:pt x="531" y="6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24" name="Group 178"/>
          <p:cNvGrpSpPr>
            <a:grpSpLocks/>
          </p:cNvGrpSpPr>
          <p:nvPr/>
        </p:nvGrpSpPr>
        <p:grpSpPr bwMode="auto">
          <a:xfrm>
            <a:off x="1728788" y="4487863"/>
            <a:ext cx="252412" cy="252412"/>
            <a:chOff x="1814867" y="2540667"/>
            <a:chExt cx="365760" cy="365760"/>
          </a:xfrm>
        </p:grpSpPr>
        <p:sp>
          <p:nvSpPr>
            <p:cNvPr id="153" name="Oval 152">
              <a:extLst>
                <a:ext uri="{FF2B5EF4-FFF2-40B4-BE49-F238E27FC236}"/>
              </a:extLst>
            </p:cNvPr>
            <p:cNvSpPr/>
            <p:nvPr/>
          </p:nvSpPr>
          <p:spPr bwMode="ltGray">
            <a:xfrm>
              <a:off x="1814867" y="2540667"/>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54" name="Freeform 1204">
              <a:extLst>
                <a:ext uri="{FF2B5EF4-FFF2-40B4-BE49-F238E27FC236}"/>
              </a:extLst>
            </p:cNvPr>
            <p:cNvSpPr>
              <a:spLocks noEditPoints="1"/>
            </p:cNvSpPr>
            <p:nvPr/>
          </p:nvSpPr>
          <p:spPr bwMode="auto">
            <a:xfrm>
              <a:off x="1833270" y="2552168"/>
              <a:ext cx="324353" cy="324355"/>
            </a:xfrm>
            <a:custGeom>
              <a:avLst/>
              <a:gdLst>
                <a:gd name="T0" fmla="*/ 771 w 849"/>
                <a:gd name="T1" fmla="*/ 251 h 849"/>
                <a:gd name="T2" fmla="*/ 494 w 849"/>
                <a:gd name="T3" fmla="*/ 113 h 849"/>
                <a:gd name="T4" fmla="*/ 355 w 849"/>
                <a:gd name="T5" fmla="*/ 0 h 849"/>
                <a:gd name="T6" fmla="*/ 252 w 849"/>
                <a:gd name="T7" fmla="*/ 78 h 849"/>
                <a:gd name="T8" fmla="*/ 92 w 849"/>
                <a:gd name="T9" fmla="*/ 319 h 849"/>
                <a:gd name="T10" fmla="*/ 147 w 849"/>
                <a:gd name="T11" fmla="*/ 251 h 849"/>
                <a:gd name="T12" fmla="*/ 356 w 849"/>
                <a:gd name="T13" fmla="*/ 251 h 849"/>
                <a:gd name="T14" fmla="*/ 407 w 849"/>
                <a:gd name="T15" fmla="*/ 319 h 849"/>
                <a:gd name="T16" fmla="*/ 442 w 849"/>
                <a:gd name="T17" fmla="*/ 279 h 849"/>
                <a:gd name="T18" fmla="*/ 494 w 849"/>
                <a:gd name="T19" fmla="*/ 319 h 849"/>
                <a:gd name="T20" fmla="*/ 598 w 849"/>
                <a:gd name="T21" fmla="*/ 147 h 849"/>
                <a:gd name="T22" fmla="*/ 598 w 849"/>
                <a:gd name="T23" fmla="*/ 355 h 849"/>
                <a:gd name="T24" fmla="*/ 494 w 849"/>
                <a:gd name="T25" fmla="*/ 355 h 849"/>
                <a:gd name="T26" fmla="*/ 356 w 849"/>
                <a:gd name="T27" fmla="*/ 355 h 849"/>
                <a:gd name="T28" fmla="*/ 249 w 849"/>
                <a:gd name="T29" fmla="*/ 355 h 849"/>
                <a:gd name="T30" fmla="*/ 35 w 849"/>
                <a:gd name="T31" fmla="*/ 355 h 849"/>
                <a:gd name="T32" fmla="*/ 0 w 849"/>
                <a:gd name="T33" fmla="*/ 494 h 849"/>
                <a:gd name="T34" fmla="*/ 78 w 849"/>
                <a:gd name="T35" fmla="*/ 598 h 849"/>
                <a:gd name="T36" fmla="*/ 355 w 849"/>
                <a:gd name="T37" fmla="*/ 736 h 849"/>
                <a:gd name="T38" fmla="*/ 494 w 849"/>
                <a:gd name="T39" fmla="*/ 849 h 849"/>
                <a:gd name="T40" fmla="*/ 598 w 849"/>
                <a:gd name="T41" fmla="*/ 771 h 849"/>
                <a:gd name="T42" fmla="*/ 758 w 849"/>
                <a:gd name="T43" fmla="*/ 530 h 849"/>
                <a:gd name="T44" fmla="*/ 702 w 849"/>
                <a:gd name="T45" fmla="*/ 598 h 849"/>
                <a:gd name="T46" fmla="*/ 494 w 849"/>
                <a:gd name="T47" fmla="*/ 598 h 849"/>
                <a:gd name="T48" fmla="*/ 442 w 849"/>
                <a:gd name="T49" fmla="*/ 530 h 849"/>
                <a:gd name="T50" fmla="*/ 407 w 849"/>
                <a:gd name="T51" fmla="*/ 571 h 849"/>
                <a:gd name="T52" fmla="*/ 356 w 849"/>
                <a:gd name="T53" fmla="*/ 530 h 849"/>
                <a:gd name="T54" fmla="*/ 252 w 849"/>
                <a:gd name="T55" fmla="*/ 702 h 849"/>
                <a:gd name="T56" fmla="*/ 252 w 849"/>
                <a:gd name="T57" fmla="*/ 494 h 849"/>
                <a:gd name="T58" fmla="*/ 356 w 849"/>
                <a:gd name="T59" fmla="*/ 494 h 849"/>
                <a:gd name="T60" fmla="*/ 494 w 849"/>
                <a:gd name="T61" fmla="*/ 494 h 849"/>
                <a:gd name="T62" fmla="*/ 601 w 849"/>
                <a:gd name="T63" fmla="*/ 494 h 849"/>
                <a:gd name="T64" fmla="*/ 737 w 849"/>
                <a:gd name="T65" fmla="*/ 494 h 849"/>
                <a:gd name="T66" fmla="*/ 849 w 849"/>
                <a:gd name="T67" fmla="*/ 355 h 849"/>
                <a:gd name="T68" fmla="*/ 442 w 849"/>
                <a:gd name="T69" fmla="*/ 223 h 849"/>
                <a:gd name="T70" fmla="*/ 407 w 849"/>
                <a:gd name="T71" fmla="*/ 164 h 849"/>
                <a:gd name="T72" fmla="*/ 442 w 849"/>
                <a:gd name="T73" fmla="*/ 223 h 849"/>
                <a:gd name="T74" fmla="*/ 407 w 849"/>
                <a:gd name="T75" fmla="*/ 108 h 849"/>
                <a:gd name="T76" fmla="*/ 442 w 849"/>
                <a:gd name="T77" fmla="*/ 50 h 849"/>
                <a:gd name="T78" fmla="*/ 109 w 849"/>
                <a:gd name="T79" fmla="*/ 442 h 849"/>
                <a:gd name="T80" fmla="*/ 50 w 849"/>
                <a:gd name="T81" fmla="*/ 407 h 849"/>
                <a:gd name="T82" fmla="*/ 109 w 849"/>
                <a:gd name="T83" fmla="*/ 442 h 849"/>
                <a:gd name="T84" fmla="*/ 442 w 849"/>
                <a:gd name="T85" fmla="*/ 626 h 849"/>
                <a:gd name="T86" fmla="*/ 407 w 849"/>
                <a:gd name="T87" fmla="*/ 685 h 849"/>
                <a:gd name="T88" fmla="*/ 407 w 849"/>
                <a:gd name="T89" fmla="*/ 741 h 849"/>
                <a:gd name="T90" fmla="*/ 442 w 849"/>
                <a:gd name="T91" fmla="*/ 799 h 849"/>
                <a:gd name="T92" fmla="*/ 407 w 849"/>
                <a:gd name="T93" fmla="*/ 741 h 849"/>
                <a:gd name="T94" fmla="*/ 165 w 849"/>
                <a:gd name="T95" fmla="*/ 442 h 849"/>
                <a:gd name="T96" fmla="*/ 224 w 849"/>
                <a:gd name="T97" fmla="*/ 407 h 849"/>
                <a:gd name="T98" fmla="*/ 339 w 849"/>
                <a:gd name="T99" fmla="*/ 442 h 849"/>
                <a:gd name="T100" fmla="*/ 280 w 849"/>
                <a:gd name="T101" fmla="*/ 407 h 849"/>
                <a:gd name="T102" fmla="*/ 339 w 849"/>
                <a:gd name="T103" fmla="*/ 442 h 849"/>
                <a:gd name="T104" fmla="*/ 396 w 849"/>
                <a:gd name="T105" fmla="*/ 442 h 849"/>
                <a:gd name="T106" fmla="*/ 454 w 849"/>
                <a:gd name="T107" fmla="*/ 407 h 849"/>
                <a:gd name="T108" fmla="*/ 569 w 849"/>
                <a:gd name="T109" fmla="*/ 442 h 849"/>
                <a:gd name="T110" fmla="*/ 511 w 849"/>
                <a:gd name="T111" fmla="*/ 407 h 849"/>
                <a:gd name="T112" fmla="*/ 569 w 849"/>
                <a:gd name="T113" fmla="*/ 442 h 849"/>
                <a:gd name="T114" fmla="*/ 626 w 849"/>
                <a:gd name="T115" fmla="*/ 442 h 849"/>
                <a:gd name="T116" fmla="*/ 684 w 849"/>
                <a:gd name="T117" fmla="*/ 407 h 849"/>
                <a:gd name="T118" fmla="*/ 800 w 849"/>
                <a:gd name="T119" fmla="*/ 442 h 849"/>
                <a:gd name="T120" fmla="*/ 741 w 849"/>
                <a:gd name="T121" fmla="*/ 407 h 849"/>
                <a:gd name="T122" fmla="*/ 800 w 849"/>
                <a:gd name="T123" fmla="*/ 442 h 8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49" h="849">
                  <a:moveTo>
                    <a:pt x="737" y="355"/>
                  </a:moveTo>
                  <a:cubicBezTo>
                    <a:pt x="758" y="326"/>
                    <a:pt x="771" y="290"/>
                    <a:pt x="771" y="251"/>
                  </a:cubicBezTo>
                  <a:cubicBezTo>
                    <a:pt x="771" y="156"/>
                    <a:pt x="694" y="78"/>
                    <a:pt x="598" y="78"/>
                  </a:cubicBezTo>
                  <a:cubicBezTo>
                    <a:pt x="559" y="78"/>
                    <a:pt x="523" y="91"/>
                    <a:pt x="494" y="113"/>
                  </a:cubicBezTo>
                  <a:cubicBezTo>
                    <a:pt x="494" y="0"/>
                    <a:pt x="494" y="0"/>
                    <a:pt x="494" y="0"/>
                  </a:cubicBezTo>
                  <a:cubicBezTo>
                    <a:pt x="355" y="0"/>
                    <a:pt x="355" y="0"/>
                    <a:pt x="355" y="0"/>
                  </a:cubicBezTo>
                  <a:cubicBezTo>
                    <a:pt x="355" y="113"/>
                    <a:pt x="355" y="113"/>
                    <a:pt x="355" y="113"/>
                  </a:cubicBezTo>
                  <a:cubicBezTo>
                    <a:pt x="326" y="91"/>
                    <a:pt x="291" y="78"/>
                    <a:pt x="252" y="78"/>
                  </a:cubicBezTo>
                  <a:cubicBezTo>
                    <a:pt x="156" y="78"/>
                    <a:pt x="78" y="156"/>
                    <a:pt x="78" y="251"/>
                  </a:cubicBezTo>
                  <a:cubicBezTo>
                    <a:pt x="78" y="275"/>
                    <a:pt x="83" y="298"/>
                    <a:pt x="92" y="319"/>
                  </a:cubicBezTo>
                  <a:cubicBezTo>
                    <a:pt x="173" y="319"/>
                    <a:pt x="173" y="319"/>
                    <a:pt x="173" y="319"/>
                  </a:cubicBezTo>
                  <a:cubicBezTo>
                    <a:pt x="157" y="301"/>
                    <a:pt x="147" y="277"/>
                    <a:pt x="147" y="251"/>
                  </a:cubicBezTo>
                  <a:cubicBezTo>
                    <a:pt x="147" y="194"/>
                    <a:pt x="194" y="147"/>
                    <a:pt x="252" y="147"/>
                  </a:cubicBezTo>
                  <a:cubicBezTo>
                    <a:pt x="309" y="147"/>
                    <a:pt x="356" y="194"/>
                    <a:pt x="356" y="251"/>
                  </a:cubicBezTo>
                  <a:cubicBezTo>
                    <a:pt x="356" y="319"/>
                    <a:pt x="356" y="319"/>
                    <a:pt x="356" y="319"/>
                  </a:cubicBezTo>
                  <a:cubicBezTo>
                    <a:pt x="407" y="319"/>
                    <a:pt x="407" y="319"/>
                    <a:pt x="407" y="319"/>
                  </a:cubicBezTo>
                  <a:cubicBezTo>
                    <a:pt x="407" y="279"/>
                    <a:pt x="407" y="279"/>
                    <a:pt x="407" y="279"/>
                  </a:cubicBezTo>
                  <a:cubicBezTo>
                    <a:pt x="442" y="279"/>
                    <a:pt x="442" y="279"/>
                    <a:pt x="442" y="279"/>
                  </a:cubicBezTo>
                  <a:cubicBezTo>
                    <a:pt x="442" y="319"/>
                    <a:pt x="442" y="319"/>
                    <a:pt x="442" y="319"/>
                  </a:cubicBezTo>
                  <a:cubicBezTo>
                    <a:pt x="494" y="319"/>
                    <a:pt x="494" y="319"/>
                    <a:pt x="494" y="319"/>
                  </a:cubicBezTo>
                  <a:cubicBezTo>
                    <a:pt x="494" y="251"/>
                    <a:pt x="494" y="251"/>
                    <a:pt x="494" y="251"/>
                  </a:cubicBezTo>
                  <a:cubicBezTo>
                    <a:pt x="494" y="194"/>
                    <a:pt x="541" y="147"/>
                    <a:pt x="598" y="147"/>
                  </a:cubicBezTo>
                  <a:cubicBezTo>
                    <a:pt x="656" y="147"/>
                    <a:pt x="702" y="194"/>
                    <a:pt x="702" y="251"/>
                  </a:cubicBezTo>
                  <a:cubicBezTo>
                    <a:pt x="702" y="309"/>
                    <a:pt x="656" y="355"/>
                    <a:pt x="598" y="355"/>
                  </a:cubicBezTo>
                  <a:cubicBezTo>
                    <a:pt x="494" y="355"/>
                    <a:pt x="494" y="355"/>
                    <a:pt x="494" y="355"/>
                  </a:cubicBezTo>
                  <a:cubicBezTo>
                    <a:pt x="494" y="355"/>
                    <a:pt x="494" y="355"/>
                    <a:pt x="494" y="355"/>
                  </a:cubicBezTo>
                  <a:cubicBezTo>
                    <a:pt x="356" y="355"/>
                    <a:pt x="356" y="355"/>
                    <a:pt x="356" y="355"/>
                  </a:cubicBezTo>
                  <a:cubicBezTo>
                    <a:pt x="356" y="355"/>
                    <a:pt x="356" y="355"/>
                    <a:pt x="356" y="355"/>
                  </a:cubicBezTo>
                  <a:cubicBezTo>
                    <a:pt x="252" y="355"/>
                    <a:pt x="252" y="355"/>
                    <a:pt x="252" y="355"/>
                  </a:cubicBezTo>
                  <a:cubicBezTo>
                    <a:pt x="251" y="355"/>
                    <a:pt x="250" y="355"/>
                    <a:pt x="249" y="355"/>
                  </a:cubicBezTo>
                  <a:cubicBezTo>
                    <a:pt x="113" y="355"/>
                    <a:pt x="113" y="355"/>
                    <a:pt x="113" y="355"/>
                  </a:cubicBezTo>
                  <a:cubicBezTo>
                    <a:pt x="35" y="355"/>
                    <a:pt x="35" y="355"/>
                    <a:pt x="35" y="355"/>
                  </a:cubicBezTo>
                  <a:cubicBezTo>
                    <a:pt x="0" y="355"/>
                    <a:pt x="0" y="355"/>
                    <a:pt x="0" y="355"/>
                  </a:cubicBezTo>
                  <a:cubicBezTo>
                    <a:pt x="0" y="494"/>
                    <a:pt x="0" y="494"/>
                    <a:pt x="0" y="494"/>
                  </a:cubicBezTo>
                  <a:cubicBezTo>
                    <a:pt x="113" y="494"/>
                    <a:pt x="113" y="494"/>
                    <a:pt x="113" y="494"/>
                  </a:cubicBezTo>
                  <a:cubicBezTo>
                    <a:pt x="91" y="523"/>
                    <a:pt x="78" y="559"/>
                    <a:pt x="78" y="598"/>
                  </a:cubicBezTo>
                  <a:cubicBezTo>
                    <a:pt x="78" y="694"/>
                    <a:pt x="156" y="771"/>
                    <a:pt x="252" y="771"/>
                  </a:cubicBezTo>
                  <a:cubicBezTo>
                    <a:pt x="291" y="771"/>
                    <a:pt x="326" y="758"/>
                    <a:pt x="355" y="736"/>
                  </a:cubicBezTo>
                  <a:cubicBezTo>
                    <a:pt x="355" y="849"/>
                    <a:pt x="355" y="849"/>
                    <a:pt x="355" y="849"/>
                  </a:cubicBezTo>
                  <a:cubicBezTo>
                    <a:pt x="494" y="849"/>
                    <a:pt x="494" y="849"/>
                    <a:pt x="494" y="849"/>
                  </a:cubicBezTo>
                  <a:cubicBezTo>
                    <a:pt x="494" y="736"/>
                    <a:pt x="494" y="736"/>
                    <a:pt x="494" y="736"/>
                  </a:cubicBezTo>
                  <a:cubicBezTo>
                    <a:pt x="523" y="758"/>
                    <a:pt x="559" y="771"/>
                    <a:pt x="598" y="771"/>
                  </a:cubicBezTo>
                  <a:cubicBezTo>
                    <a:pt x="694" y="771"/>
                    <a:pt x="771" y="694"/>
                    <a:pt x="771" y="598"/>
                  </a:cubicBezTo>
                  <a:cubicBezTo>
                    <a:pt x="771" y="574"/>
                    <a:pt x="766" y="551"/>
                    <a:pt x="758" y="530"/>
                  </a:cubicBezTo>
                  <a:cubicBezTo>
                    <a:pt x="677" y="530"/>
                    <a:pt x="677" y="530"/>
                    <a:pt x="677" y="530"/>
                  </a:cubicBezTo>
                  <a:cubicBezTo>
                    <a:pt x="693" y="548"/>
                    <a:pt x="702" y="572"/>
                    <a:pt x="702" y="598"/>
                  </a:cubicBezTo>
                  <a:cubicBezTo>
                    <a:pt x="702" y="655"/>
                    <a:pt x="656" y="702"/>
                    <a:pt x="598" y="702"/>
                  </a:cubicBezTo>
                  <a:cubicBezTo>
                    <a:pt x="541" y="702"/>
                    <a:pt x="494" y="655"/>
                    <a:pt x="494" y="598"/>
                  </a:cubicBezTo>
                  <a:cubicBezTo>
                    <a:pt x="494" y="530"/>
                    <a:pt x="494" y="530"/>
                    <a:pt x="494" y="530"/>
                  </a:cubicBezTo>
                  <a:cubicBezTo>
                    <a:pt x="442" y="530"/>
                    <a:pt x="442" y="530"/>
                    <a:pt x="442" y="530"/>
                  </a:cubicBezTo>
                  <a:cubicBezTo>
                    <a:pt x="442" y="571"/>
                    <a:pt x="442" y="571"/>
                    <a:pt x="442" y="571"/>
                  </a:cubicBezTo>
                  <a:cubicBezTo>
                    <a:pt x="407" y="571"/>
                    <a:pt x="407" y="571"/>
                    <a:pt x="407" y="571"/>
                  </a:cubicBezTo>
                  <a:cubicBezTo>
                    <a:pt x="407" y="530"/>
                    <a:pt x="407" y="530"/>
                    <a:pt x="407" y="530"/>
                  </a:cubicBezTo>
                  <a:cubicBezTo>
                    <a:pt x="356" y="530"/>
                    <a:pt x="356" y="530"/>
                    <a:pt x="356" y="530"/>
                  </a:cubicBezTo>
                  <a:cubicBezTo>
                    <a:pt x="356" y="598"/>
                    <a:pt x="356" y="598"/>
                    <a:pt x="356" y="598"/>
                  </a:cubicBezTo>
                  <a:cubicBezTo>
                    <a:pt x="356" y="655"/>
                    <a:pt x="309" y="702"/>
                    <a:pt x="252" y="702"/>
                  </a:cubicBezTo>
                  <a:cubicBezTo>
                    <a:pt x="194" y="702"/>
                    <a:pt x="147" y="655"/>
                    <a:pt x="147" y="598"/>
                  </a:cubicBezTo>
                  <a:cubicBezTo>
                    <a:pt x="147" y="541"/>
                    <a:pt x="194" y="494"/>
                    <a:pt x="252" y="494"/>
                  </a:cubicBezTo>
                  <a:cubicBezTo>
                    <a:pt x="356" y="494"/>
                    <a:pt x="356" y="494"/>
                    <a:pt x="356" y="494"/>
                  </a:cubicBezTo>
                  <a:cubicBezTo>
                    <a:pt x="356" y="494"/>
                    <a:pt x="356" y="494"/>
                    <a:pt x="356" y="494"/>
                  </a:cubicBezTo>
                  <a:cubicBezTo>
                    <a:pt x="494" y="494"/>
                    <a:pt x="494" y="494"/>
                    <a:pt x="494" y="494"/>
                  </a:cubicBezTo>
                  <a:cubicBezTo>
                    <a:pt x="494" y="494"/>
                    <a:pt x="494" y="494"/>
                    <a:pt x="494" y="494"/>
                  </a:cubicBezTo>
                  <a:cubicBezTo>
                    <a:pt x="598" y="494"/>
                    <a:pt x="598" y="494"/>
                    <a:pt x="598" y="494"/>
                  </a:cubicBezTo>
                  <a:cubicBezTo>
                    <a:pt x="599" y="494"/>
                    <a:pt x="600" y="494"/>
                    <a:pt x="601" y="494"/>
                  </a:cubicBezTo>
                  <a:cubicBezTo>
                    <a:pt x="737" y="494"/>
                    <a:pt x="737" y="494"/>
                    <a:pt x="737" y="494"/>
                  </a:cubicBezTo>
                  <a:cubicBezTo>
                    <a:pt x="737" y="494"/>
                    <a:pt x="737" y="494"/>
                    <a:pt x="737" y="494"/>
                  </a:cubicBezTo>
                  <a:cubicBezTo>
                    <a:pt x="849" y="494"/>
                    <a:pt x="849" y="494"/>
                    <a:pt x="849" y="494"/>
                  </a:cubicBezTo>
                  <a:cubicBezTo>
                    <a:pt x="849" y="355"/>
                    <a:pt x="849" y="355"/>
                    <a:pt x="849" y="355"/>
                  </a:cubicBezTo>
                  <a:lnTo>
                    <a:pt x="737" y="355"/>
                  </a:lnTo>
                  <a:close/>
                  <a:moveTo>
                    <a:pt x="442" y="223"/>
                  </a:moveTo>
                  <a:cubicBezTo>
                    <a:pt x="407" y="223"/>
                    <a:pt x="407" y="223"/>
                    <a:pt x="407" y="223"/>
                  </a:cubicBezTo>
                  <a:cubicBezTo>
                    <a:pt x="407" y="164"/>
                    <a:pt x="407" y="164"/>
                    <a:pt x="407" y="164"/>
                  </a:cubicBezTo>
                  <a:cubicBezTo>
                    <a:pt x="442" y="164"/>
                    <a:pt x="442" y="164"/>
                    <a:pt x="442" y="164"/>
                  </a:cubicBezTo>
                  <a:lnTo>
                    <a:pt x="442" y="223"/>
                  </a:lnTo>
                  <a:close/>
                  <a:moveTo>
                    <a:pt x="442" y="108"/>
                  </a:moveTo>
                  <a:cubicBezTo>
                    <a:pt x="407" y="108"/>
                    <a:pt x="407" y="108"/>
                    <a:pt x="407" y="108"/>
                  </a:cubicBezTo>
                  <a:cubicBezTo>
                    <a:pt x="407" y="50"/>
                    <a:pt x="407" y="50"/>
                    <a:pt x="407" y="50"/>
                  </a:cubicBezTo>
                  <a:cubicBezTo>
                    <a:pt x="442" y="50"/>
                    <a:pt x="442" y="50"/>
                    <a:pt x="442" y="50"/>
                  </a:cubicBezTo>
                  <a:lnTo>
                    <a:pt x="442" y="108"/>
                  </a:lnTo>
                  <a:close/>
                  <a:moveTo>
                    <a:pt x="109" y="442"/>
                  </a:moveTo>
                  <a:cubicBezTo>
                    <a:pt x="50" y="442"/>
                    <a:pt x="50" y="442"/>
                    <a:pt x="50" y="442"/>
                  </a:cubicBezTo>
                  <a:cubicBezTo>
                    <a:pt x="50" y="407"/>
                    <a:pt x="50" y="407"/>
                    <a:pt x="50" y="407"/>
                  </a:cubicBezTo>
                  <a:cubicBezTo>
                    <a:pt x="109" y="407"/>
                    <a:pt x="109" y="407"/>
                    <a:pt x="109" y="407"/>
                  </a:cubicBezTo>
                  <a:lnTo>
                    <a:pt x="109" y="442"/>
                  </a:lnTo>
                  <a:close/>
                  <a:moveTo>
                    <a:pt x="407" y="626"/>
                  </a:moveTo>
                  <a:cubicBezTo>
                    <a:pt x="442" y="626"/>
                    <a:pt x="442" y="626"/>
                    <a:pt x="442" y="626"/>
                  </a:cubicBezTo>
                  <a:cubicBezTo>
                    <a:pt x="442" y="685"/>
                    <a:pt x="442" y="685"/>
                    <a:pt x="442" y="685"/>
                  </a:cubicBezTo>
                  <a:cubicBezTo>
                    <a:pt x="407" y="685"/>
                    <a:pt x="407" y="685"/>
                    <a:pt x="407" y="685"/>
                  </a:cubicBezTo>
                  <a:lnTo>
                    <a:pt x="407" y="626"/>
                  </a:lnTo>
                  <a:close/>
                  <a:moveTo>
                    <a:pt x="407" y="741"/>
                  </a:moveTo>
                  <a:cubicBezTo>
                    <a:pt x="442" y="741"/>
                    <a:pt x="442" y="741"/>
                    <a:pt x="442" y="741"/>
                  </a:cubicBezTo>
                  <a:cubicBezTo>
                    <a:pt x="442" y="799"/>
                    <a:pt x="442" y="799"/>
                    <a:pt x="442" y="799"/>
                  </a:cubicBezTo>
                  <a:cubicBezTo>
                    <a:pt x="407" y="799"/>
                    <a:pt x="407" y="799"/>
                    <a:pt x="407" y="799"/>
                  </a:cubicBezTo>
                  <a:lnTo>
                    <a:pt x="407" y="741"/>
                  </a:lnTo>
                  <a:close/>
                  <a:moveTo>
                    <a:pt x="224" y="442"/>
                  </a:moveTo>
                  <a:cubicBezTo>
                    <a:pt x="165" y="442"/>
                    <a:pt x="165" y="442"/>
                    <a:pt x="165" y="442"/>
                  </a:cubicBezTo>
                  <a:cubicBezTo>
                    <a:pt x="165" y="407"/>
                    <a:pt x="165" y="407"/>
                    <a:pt x="165" y="407"/>
                  </a:cubicBezTo>
                  <a:cubicBezTo>
                    <a:pt x="224" y="407"/>
                    <a:pt x="224" y="407"/>
                    <a:pt x="224" y="407"/>
                  </a:cubicBezTo>
                  <a:lnTo>
                    <a:pt x="224" y="442"/>
                  </a:lnTo>
                  <a:close/>
                  <a:moveTo>
                    <a:pt x="339" y="442"/>
                  </a:moveTo>
                  <a:cubicBezTo>
                    <a:pt x="280" y="442"/>
                    <a:pt x="280" y="442"/>
                    <a:pt x="280" y="442"/>
                  </a:cubicBezTo>
                  <a:cubicBezTo>
                    <a:pt x="280" y="407"/>
                    <a:pt x="280" y="407"/>
                    <a:pt x="280" y="407"/>
                  </a:cubicBezTo>
                  <a:cubicBezTo>
                    <a:pt x="339" y="407"/>
                    <a:pt x="339" y="407"/>
                    <a:pt x="339" y="407"/>
                  </a:cubicBezTo>
                  <a:lnTo>
                    <a:pt x="339" y="442"/>
                  </a:lnTo>
                  <a:close/>
                  <a:moveTo>
                    <a:pt x="454" y="442"/>
                  </a:moveTo>
                  <a:cubicBezTo>
                    <a:pt x="396" y="442"/>
                    <a:pt x="396" y="442"/>
                    <a:pt x="396" y="442"/>
                  </a:cubicBezTo>
                  <a:cubicBezTo>
                    <a:pt x="396" y="407"/>
                    <a:pt x="396" y="407"/>
                    <a:pt x="396" y="407"/>
                  </a:cubicBezTo>
                  <a:cubicBezTo>
                    <a:pt x="454" y="407"/>
                    <a:pt x="454" y="407"/>
                    <a:pt x="454" y="407"/>
                  </a:cubicBezTo>
                  <a:lnTo>
                    <a:pt x="454" y="442"/>
                  </a:lnTo>
                  <a:close/>
                  <a:moveTo>
                    <a:pt x="569" y="442"/>
                  </a:moveTo>
                  <a:cubicBezTo>
                    <a:pt x="511" y="442"/>
                    <a:pt x="511" y="442"/>
                    <a:pt x="511" y="442"/>
                  </a:cubicBezTo>
                  <a:cubicBezTo>
                    <a:pt x="511" y="407"/>
                    <a:pt x="511" y="407"/>
                    <a:pt x="511" y="407"/>
                  </a:cubicBezTo>
                  <a:cubicBezTo>
                    <a:pt x="569" y="407"/>
                    <a:pt x="569" y="407"/>
                    <a:pt x="569" y="407"/>
                  </a:cubicBezTo>
                  <a:lnTo>
                    <a:pt x="569" y="442"/>
                  </a:lnTo>
                  <a:close/>
                  <a:moveTo>
                    <a:pt x="684" y="442"/>
                  </a:moveTo>
                  <a:cubicBezTo>
                    <a:pt x="626" y="442"/>
                    <a:pt x="626" y="442"/>
                    <a:pt x="626" y="442"/>
                  </a:cubicBezTo>
                  <a:cubicBezTo>
                    <a:pt x="626" y="407"/>
                    <a:pt x="626" y="407"/>
                    <a:pt x="626" y="407"/>
                  </a:cubicBezTo>
                  <a:cubicBezTo>
                    <a:pt x="684" y="407"/>
                    <a:pt x="684" y="407"/>
                    <a:pt x="684" y="407"/>
                  </a:cubicBezTo>
                  <a:lnTo>
                    <a:pt x="684" y="442"/>
                  </a:lnTo>
                  <a:close/>
                  <a:moveTo>
                    <a:pt x="800" y="442"/>
                  </a:moveTo>
                  <a:cubicBezTo>
                    <a:pt x="741" y="442"/>
                    <a:pt x="741" y="442"/>
                    <a:pt x="741" y="442"/>
                  </a:cubicBezTo>
                  <a:cubicBezTo>
                    <a:pt x="741" y="407"/>
                    <a:pt x="741" y="407"/>
                    <a:pt x="741" y="407"/>
                  </a:cubicBezTo>
                  <a:cubicBezTo>
                    <a:pt x="800" y="407"/>
                    <a:pt x="800" y="407"/>
                    <a:pt x="800" y="407"/>
                  </a:cubicBezTo>
                  <a:lnTo>
                    <a:pt x="800" y="4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25" name="Group 181"/>
          <p:cNvGrpSpPr>
            <a:grpSpLocks/>
          </p:cNvGrpSpPr>
          <p:nvPr/>
        </p:nvGrpSpPr>
        <p:grpSpPr bwMode="auto">
          <a:xfrm>
            <a:off x="1728788" y="4138613"/>
            <a:ext cx="252412" cy="250825"/>
            <a:chOff x="1811427" y="2243772"/>
            <a:chExt cx="365760" cy="365760"/>
          </a:xfrm>
        </p:grpSpPr>
        <p:sp>
          <p:nvSpPr>
            <p:cNvPr id="156" name="Oval 155">
              <a:extLst>
                <a:ext uri="{FF2B5EF4-FFF2-40B4-BE49-F238E27FC236}"/>
              </a:extLst>
            </p:cNvPr>
            <p:cNvSpPr/>
            <p:nvPr/>
          </p:nvSpPr>
          <p:spPr bwMode="ltGray">
            <a:xfrm>
              <a:off x="1811427" y="2243772"/>
              <a:ext cx="365760" cy="365760"/>
            </a:xfrm>
            <a:prstGeom prst="ellipse">
              <a:avLst/>
            </a:prstGeom>
            <a:solidFill>
              <a:srgbClr val="D0DF00"/>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66684" name="Group 183"/>
            <p:cNvGrpSpPr>
              <a:grpSpLocks/>
            </p:cNvGrpSpPr>
            <p:nvPr/>
          </p:nvGrpSpPr>
          <p:grpSpPr bwMode="auto">
            <a:xfrm>
              <a:off x="1814307" y="2256272"/>
              <a:ext cx="360000" cy="288000"/>
              <a:chOff x="-1446400" y="518583"/>
              <a:chExt cx="1799938" cy="1729899"/>
            </a:xfrm>
          </p:grpSpPr>
          <p:sp>
            <p:nvSpPr>
              <p:cNvPr id="158" name="Freeform 28">
                <a:extLst>
                  <a:ext uri="{FF2B5EF4-FFF2-40B4-BE49-F238E27FC236}"/>
                </a:extLst>
              </p:cNvPr>
              <p:cNvSpPr>
                <a:spLocks noEditPoints="1"/>
              </p:cNvSpPr>
              <p:nvPr/>
            </p:nvSpPr>
            <p:spPr bwMode="auto">
              <a:xfrm>
                <a:off x="-1449298" y="513021"/>
                <a:ext cx="1805741" cy="1738115"/>
              </a:xfrm>
              <a:custGeom>
                <a:avLst/>
                <a:gdLst>
                  <a:gd name="T0" fmla="*/ 859703720 w 162"/>
                  <a:gd name="T1" fmla="*/ 2147483646 h 171"/>
                  <a:gd name="T2" fmla="*/ 2147483646 w 162"/>
                  <a:gd name="T3" fmla="*/ 2147483646 h 171"/>
                  <a:gd name="T4" fmla="*/ 2147483646 w 162"/>
                  <a:gd name="T5" fmla="*/ 2147483646 h 171"/>
                  <a:gd name="T6" fmla="*/ 859703720 w 162"/>
                  <a:gd name="T7" fmla="*/ 2147483646 h 171"/>
                  <a:gd name="T8" fmla="*/ 859703720 w 162"/>
                  <a:gd name="T9" fmla="*/ 2147483646 h 171"/>
                  <a:gd name="T10" fmla="*/ 2147483646 w 162"/>
                  <a:gd name="T11" fmla="*/ 2147483646 h 171"/>
                  <a:gd name="T12" fmla="*/ 2147483646 w 162"/>
                  <a:gd name="T13" fmla="*/ 2147483646 h 171"/>
                  <a:gd name="T14" fmla="*/ 1468660522 w 162"/>
                  <a:gd name="T15" fmla="*/ 2147483646 h 171"/>
                  <a:gd name="T16" fmla="*/ 1397018545 w 162"/>
                  <a:gd name="T17" fmla="*/ 2147483646 h 171"/>
                  <a:gd name="T18" fmla="*/ 1397018545 w 162"/>
                  <a:gd name="T19" fmla="*/ 2147483646 h 171"/>
                  <a:gd name="T20" fmla="*/ 1468660522 w 162"/>
                  <a:gd name="T21" fmla="*/ 2147483646 h 171"/>
                  <a:gd name="T22" fmla="*/ 2147483646 w 162"/>
                  <a:gd name="T23" fmla="*/ 2147483646 h 171"/>
                  <a:gd name="T24" fmla="*/ 2147483646 w 162"/>
                  <a:gd name="T25" fmla="*/ 2147483646 h 171"/>
                  <a:gd name="T26" fmla="*/ 2147483646 w 162"/>
                  <a:gd name="T27" fmla="*/ 2147483646 h 171"/>
                  <a:gd name="T28" fmla="*/ 1397018545 w 162"/>
                  <a:gd name="T29" fmla="*/ 2147483646 h 171"/>
                  <a:gd name="T30" fmla="*/ 1468660522 w 162"/>
                  <a:gd name="T31" fmla="*/ 2147483646 h 171"/>
                  <a:gd name="T32" fmla="*/ 2147483646 w 162"/>
                  <a:gd name="T33" fmla="*/ 2147483646 h 171"/>
                  <a:gd name="T34" fmla="*/ 2147483646 w 162"/>
                  <a:gd name="T35" fmla="*/ 2147483646 h 171"/>
                  <a:gd name="T36" fmla="*/ 2147483646 w 162"/>
                  <a:gd name="T37" fmla="*/ 2147483646 h 171"/>
                  <a:gd name="T38" fmla="*/ 2147483646 w 162"/>
                  <a:gd name="T39" fmla="*/ 2147483646 h 171"/>
                  <a:gd name="T40" fmla="*/ 1468660522 w 162"/>
                  <a:gd name="T41" fmla="*/ 2147483646 h 171"/>
                  <a:gd name="T42" fmla="*/ 1397018545 w 162"/>
                  <a:gd name="T43" fmla="*/ 2147483646 h 171"/>
                  <a:gd name="T44" fmla="*/ 1397018545 w 162"/>
                  <a:gd name="T45" fmla="*/ 2147483646 h 171"/>
                  <a:gd name="T46" fmla="*/ 1361197557 w 162"/>
                  <a:gd name="T47" fmla="*/ 2147483646 h 171"/>
                  <a:gd name="T48" fmla="*/ 1432839534 w 162"/>
                  <a:gd name="T49" fmla="*/ 2147483646 h 171"/>
                  <a:gd name="T50" fmla="*/ 2147483646 w 162"/>
                  <a:gd name="T51" fmla="*/ 2147483646 h 171"/>
                  <a:gd name="T52" fmla="*/ 2147483646 w 162"/>
                  <a:gd name="T53" fmla="*/ 2147483646 h 171"/>
                  <a:gd name="T54" fmla="*/ 2147483646 w 162"/>
                  <a:gd name="T55" fmla="*/ 2147483646 h 171"/>
                  <a:gd name="T56" fmla="*/ 2147483646 w 162"/>
                  <a:gd name="T57" fmla="*/ 2147483646 h 171"/>
                  <a:gd name="T58" fmla="*/ 1432839534 w 162"/>
                  <a:gd name="T59" fmla="*/ 2147483646 h 171"/>
                  <a:gd name="T60" fmla="*/ 1361197557 w 162"/>
                  <a:gd name="T61" fmla="*/ 2147483646 h 171"/>
                  <a:gd name="T62" fmla="*/ 1361197557 w 162"/>
                  <a:gd name="T63" fmla="*/ 2147483646 h 171"/>
                  <a:gd name="T64" fmla="*/ 2147483646 w 162"/>
                  <a:gd name="T65" fmla="*/ 0 h 171"/>
                  <a:gd name="T66" fmla="*/ 0 w 162"/>
                  <a:gd name="T67" fmla="*/ 2147483646 h 171"/>
                  <a:gd name="T68" fmla="*/ 2147483646 w 162"/>
                  <a:gd name="T69" fmla="*/ 2147483646 h 171"/>
                  <a:gd name="T70" fmla="*/ 2147483646 w 162"/>
                  <a:gd name="T71" fmla="*/ 0 h 171"/>
                  <a:gd name="T72" fmla="*/ 2147483646 w 162"/>
                  <a:gd name="T73" fmla="*/ 1830243258 h 171"/>
                  <a:gd name="T74" fmla="*/ 2147483646 w 162"/>
                  <a:gd name="T75" fmla="*/ 2147483646 h 171"/>
                  <a:gd name="T76" fmla="*/ 2147483646 w 162"/>
                  <a:gd name="T77" fmla="*/ 2147483646 h 171"/>
                  <a:gd name="T78" fmla="*/ 2147483646 w 162"/>
                  <a:gd name="T79" fmla="*/ 1830243258 h 171"/>
                  <a:gd name="T80" fmla="*/ 2113438312 w 162"/>
                  <a:gd name="T81" fmla="*/ 1830243258 h 171"/>
                  <a:gd name="T82" fmla="*/ 2113438312 w 162"/>
                  <a:gd name="T83" fmla="*/ 1405365901 h 171"/>
                  <a:gd name="T84" fmla="*/ 2147483646 w 162"/>
                  <a:gd name="T85" fmla="*/ 1405365901 h 171"/>
                  <a:gd name="T86" fmla="*/ 2147483646 w 162"/>
                  <a:gd name="T87" fmla="*/ 915126687 h 171"/>
                  <a:gd name="T88" fmla="*/ 2147483646 w 162"/>
                  <a:gd name="T89" fmla="*/ 915126687 h 171"/>
                  <a:gd name="T90" fmla="*/ 2147483646 w 162"/>
                  <a:gd name="T91" fmla="*/ 1405365901 h 171"/>
                  <a:gd name="T92" fmla="*/ 2147483646 w 162"/>
                  <a:gd name="T93" fmla="*/ 1405365901 h 171"/>
                  <a:gd name="T94" fmla="*/ 2147483646 w 162"/>
                  <a:gd name="T95" fmla="*/ 1830243258 h 171"/>
                  <a:gd name="T96" fmla="*/ 2147483646 w 162"/>
                  <a:gd name="T97" fmla="*/ 1830243258 h 1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sp>
            <p:nvSpPr>
              <p:cNvPr id="159" name="Rectangle 158">
                <a:extLst>
                  <a:ext uri="{FF2B5EF4-FFF2-40B4-BE49-F238E27FC236}"/>
                </a:extLst>
              </p:cNvPr>
              <p:cNvSpPr/>
              <p:nvPr/>
            </p:nvSpPr>
            <p:spPr>
              <a:xfrm>
                <a:off x="-793708" y="846738"/>
                <a:ext cx="552073" cy="444956"/>
              </a:xfrm>
              <a:prstGeom prst="rect">
                <a:avLst/>
              </a:prstGeom>
              <a:solidFill>
                <a:srgbClr val="FFFFFF"/>
              </a:solidFill>
              <a:ln w="9525" cap="flat" cmpd="sng" algn="ctr">
                <a:solidFill>
                  <a:srgbClr val="FFFFFF"/>
                </a:solidFill>
                <a:prstDash val="solid"/>
              </a:ln>
              <a:effectLst/>
            </p:spPr>
            <p:txBody>
              <a:bodyPr anchor="ctr"/>
              <a:lstStyle>
                <a:lvl1pPr>
                  <a:defRPr sz="1400">
                    <a:solidFill>
                      <a:srgbClr val="000000"/>
                    </a:solidFill>
                    <a:latin typeface="Arial" charset="0"/>
                    <a:ea typeface="Arial" charset="0"/>
                    <a:cs typeface="Arial" charset="0"/>
                    <a:sym typeface="Arial" charset="0"/>
                  </a:defRPr>
                </a:lvl1pPr>
                <a:lvl2pPr marL="742950" indent="-285750">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200" kern="0"/>
              </a:p>
            </p:txBody>
          </p:sp>
          <p:sp>
            <p:nvSpPr>
              <p:cNvPr id="160" name="Moon 159">
                <a:extLst>
                  <a:ext uri="{FF2B5EF4-FFF2-40B4-BE49-F238E27FC236}"/>
                </a:extLst>
              </p:cNvPr>
              <p:cNvSpPr/>
              <p:nvPr/>
            </p:nvSpPr>
            <p:spPr>
              <a:xfrm rot="11572288">
                <a:off x="-655690" y="749408"/>
                <a:ext cx="310537" cy="556195"/>
              </a:xfrm>
              <a:prstGeom prst="moon">
                <a:avLst>
                  <a:gd name="adj" fmla="val 37675"/>
                </a:avLst>
              </a:prstGeom>
              <a:solidFill>
                <a:srgbClr val="FF0000"/>
              </a:solidFill>
              <a:ln w="9525" cap="flat" cmpd="sng" algn="ctr">
                <a:solidFill>
                  <a:srgbClr val="FF0000"/>
                </a:solidFill>
                <a:prstDash val="solid"/>
              </a:ln>
              <a:effectLst/>
            </p:spPr>
            <p:txBody>
              <a:bodyPr anchor="ctr"/>
              <a:lstStyle>
                <a:lvl1pPr>
                  <a:defRPr sz="1400">
                    <a:solidFill>
                      <a:srgbClr val="000000"/>
                    </a:solidFill>
                    <a:latin typeface="Arial" charset="0"/>
                    <a:ea typeface="Arial" charset="0"/>
                    <a:cs typeface="Arial" charset="0"/>
                    <a:sym typeface="Arial" charset="0"/>
                  </a:defRPr>
                </a:lvl1pPr>
                <a:lvl2pPr marL="742950" indent="-285750">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200" kern="0"/>
              </a:p>
            </p:txBody>
          </p:sp>
        </p:grpSp>
      </p:grpSp>
      <p:grpSp>
        <p:nvGrpSpPr>
          <p:cNvPr id="66626" name="Group 187"/>
          <p:cNvGrpSpPr>
            <a:grpSpLocks/>
          </p:cNvGrpSpPr>
          <p:nvPr/>
        </p:nvGrpSpPr>
        <p:grpSpPr bwMode="auto">
          <a:xfrm>
            <a:off x="3132138" y="5211763"/>
            <a:ext cx="268287" cy="266700"/>
            <a:chOff x="3215739" y="4597725"/>
            <a:chExt cx="365760" cy="365760"/>
          </a:xfrm>
        </p:grpSpPr>
        <p:sp>
          <p:nvSpPr>
            <p:cNvPr id="162" name="Oval 161">
              <a:extLst>
                <a:ext uri="{FF2B5EF4-FFF2-40B4-BE49-F238E27FC236}"/>
              </a:extLst>
            </p:cNvPr>
            <p:cNvSpPr/>
            <p:nvPr/>
          </p:nvSpPr>
          <p:spPr bwMode="ltGray">
            <a:xfrm>
              <a:off x="3215739" y="4597725"/>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63" name="Freeform 62">
              <a:extLst>
                <a:ext uri="{FF2B5EF4-FFF2-40B4-BE49-F238E27FC236}"/>
              </a:extLst>
            </p:cNvPr>
            <p:cNvSpPr>
              <a:spLocks noEditPoints="1"/>
            </p:cNvSpPr>
            <p:nvPr/>
          </p:nvSpPr>
          <p:spPr bwMode="auto">
            <a:xfrm>
              <a:off x="3274173" y="4682633"/>
              <a:ext cx="253220" cy="178526"/>
            </a:xfrm>
            <a:custGeom>
              <a:avLst/>
              <a:gdLst>
                <a:gd name="T0" fmla="*/ 783 w 783"/>
                <a:gd name="T1" fmla="*/ 572 h 572"/>
                <a:gd name="T2" fmla="*/ 750 w 783"/>
                <a:gd name="T3" fmla="*/ 539 h 572"/>
                <a:gd name="T4" fmla="*/ 750 w 783"/>
                <a:gd name="T5" fmla="*/ 33 h 572"/>
                <a:gd name="T6" fmla="*/ 674 w 783"/>
                <a:gd name="T7" fmla="*/ 338 h 572"/>
                <a:gd name="T8" fmla="*/ 669 w 783"/>
                <a:gd name="T9" fmla="*/ 364 h 572"/>
                <a:gd name="T10" fmla="*/ 653 w 783"/>
                <a:gd name="T11" fmla="*/ 387 h 572"/>
                <a:gd name="T12" fmla="*/ 639 w 783"/>
                <a:gd name="T13" fmla="*/ 398 h 572"/>
                <a:gd name="T14" fmla="*/ 639 w 783"/>
                <a:gd name="T15" fmla="*/ 507 h 572"/>
                <a:gd name="T16" fmla="*/ 569 w 783"/>
                <a:gd name="T17" fmla="*/ 399 h 572"/>
                <a:gd name="T18" fmla="*/ 569 w 783"/>
                <a:gd name="T19" fmla="*/ 398 h 572"/>
                <a:gd name="T20" fmla="*/ 549 w 783"/>
                <a:gd name="T21" fmla="*/ 380 h 572"/>
                <a:gd name="T22" fmla="*/ 536 w 783"/>
                <a:gd name="T23" fmla="*/ 356 h 572"/>
                <a:gd name="T24" fmla="*/ 534 w 783"/>
                <a:gd name="T25" fmla="*/ 338 h 572"/>
                <a:gd name="T26" fmla="*/ 536 w 783"/>
                <a:gd name="T27" fmla="*/ 316 h 572"/>
                <a:gd name="T28" fmla="*/ 554 w 783"/>
                <a:gd name="T29" fmla="*/ 287 h 572"/>
                <a:gd name="T30" fmla="*/ 583 w 783"/>
                <a:gd name="T31" fmla="*/ 269 h 572"/>
                <a:gd name="T32" fmla="*/ 603 w 783"/>
                <a:gd name="T33" fmla="*/ 267 h 572"/>
                <a:gd name="T34" fmla="*/ 619 w 783"/>
                <a:gd name="T35" fmla="*/ 268 h 572"/>
                <a:gd name="T36" fmla="*/ 644 w 783"/>
                <a:gd name="T37" fmla="*/ 278 h 572"/>
                <a:gd name="T38" fmla="*/ 669 w 783"/>
                <a:gd name="T39" fmla="*/ 310 h 572"/>
                <a:gd name="T40" fmla="*/ 674 w 783"/>
                <a:gd name="T41" fmla="*/ 329 h 572"/>
                <a:gd name="T42" fmla="*/ 87 w 783"/>
                <a:gd name="T43" fmla="*/ 119 h 572"/>
                <a:gd name="T44" fmla="*/ 90 w 783"/>
                <a:gd name="T45" fmla="*/ 112 h 572"/>
                <a:gd name="T46" fmla="*/ 668 w 783"/>
                <a:gd name="T47" fmla="*/ 108 h 572"/>
                <a:gd name="T48" fmla="*/ 676 w 783"/>
                <a:gd name="T49" fmla="*/ 112 h 572"/>
                <a:gd name="T50" fmla="*/ 679 w 783"/>
                <a:gd name="T51" fmla="*/ 119 h 572"/>
                <a:gd name="T52" fmla="*/ 673 w 783"/>
                <a:gd name="T53" fmla="*/ 129 h 572"/>
                <a:gd name="T54" fmla="*/ 98 w 783"/>
                <a:gd name="T55" fmla="*/ 130 h 572"/>
                <a:gd name="T56" fmla="*/ 88 w 783"/>
                <a:gd name="T57" fmla="*/ 123 h 572"/>
                <a:gd name="T58" fmla="*/ 585 w 783"/>
                <a:gd name="T59" fmla="*/ 215 h 572"/>
                <a:gd name="T60" fmla="*/ 146 w 783"/>
                <a:gd name="T61" fmla="*/ 214 h 572"/>
                <a:gd name="T62" fmla="*/ 140 w 783"/>
                <a:gd name="T63" fmla="*/ 203 h 572"/>
                <a:gd name="T64" fmla="*/ 142 w 783"/>
                <a:gd name="T65" fmla="*/ 195 h 572"/>
                <a:gd name="T66" fmla="*/ 585 w 783"/>
                <a:gd name="T67" fmla="*/ 192 h 572"/>
                <a:gd name="T68" fmla="*/ 592 w 783"/>
                <a:gd name="T69" fmla="*/ 195 h 572"/>
                <a:gd name="T70" fmla="*/ 595 w 783"/>
                <a:gd name="T71" fmla="*/ 203 h 572"/>
                <a:gd name="T72" fmla="*/ 588 w 783"/>
                <a:gd name="T73" fmla="*/ 214 h 572"/>
                <a:gd name="T74" fmla="*/ 428 w 783"/>
                <a:gd name="T75" fmla="*/ 343 h 572"/>
                <a:gd name="T76" fmla="*/ 424 w 783"/>
                <a:gd name="T77" fmla="*/ 351 h 572"/>
                <a:gd name="T78" fmla="*/ 169 w 783"/>
                <a:gd name="T79" fmla="*/ 355 h 572"/>
                <a:gd name="T80" fmla="*/ 161 w 783"/>
                <a:gd name="T81" fmla="*/ 351 h 572"/>
                <a:gd name="T82" fmla="*/ 157 w 783"/>
                <a:gd name="T83" fmla="*/ 343 h 572"/>
                <a:gd name="T84" fmla="*/ 164 w 783"/>
                <a:gd name="T85" fmla="*/ 334 h 572"/>
                <a:gd name="T86" fmla="*/ 416 w 783"/>
                <a:gd name="T87" fmla="*/ 333 h 572"/>
                <a:gd name="T88" fmla="*/ 427 w 783"/>
                <a:gd name="T89" fmla="*/ 340 h 572"/>
                <a:gd name="T90" fmla="*/ 428 w 783"/>
                <a:gd name="T91" fmla="*/ 426 h 572"/>
                <a:gd name="T92" fmla="*/ 424 w 783"/>
                <a:gd name="T93" fmla="*/ 434 h 572"/>
                <a:gd name="T94" fmla="*/ 169 w 783"/>
                <a:gd name="T95" fmla="*/ 437 h 572"/>
                <a:gd name="T96" fmla="*/ 161 w 783"/>
                <a:gd name="T97" fmla="*/ 434 h 572"/>
                <a:gd name="T98" fmla="*/ 157 w 783"/>
                <a:gd name="T99" fmla="*/ 426 h 572"/>
                <a:gd name="T100" fmla="*/ 164 w 783"/>
                <a:gd name="T101" fmla="*/ 415 h 572"/>
                <a:gd name="T102" fmla="*/ 416 w 783"/>
                <a:gd name="T103" fmla="*/ 415 h 572"/>
                <a:gd name="T104" fmla="*/ 427 w 783"/>
                <a:gd name="T105" fmla="*/ 42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3" h="572">
                  <a:moveTo>
                    <a:pt x="0" y="0"/>
                  </a:moveTo>
                  <a:lnTo>
                    <a:pt x="0" y="572"/>
                  </a:lnTo>
                  <a:lnTo>
                    <a:pt x="783" y="572"/>
                  </a:lnTo>
                  <a:lnTo>
                    <a:pt x="783" y="0"/>
                  </a:lnTo>
                  <a:lnTo>
                    <a:pt x="0" y="0"/>
                  </a:lnTo>
                  <a:close/>
                  <a:moveTo>
                    <a:pt x="750" y="539"/>
                  </a:moveTo>
                  <a:lnTo>
                    <a:pt x="31" y="539"/>
                  </a:lnTo>
                  <a:lnTo>
                    <a:pt x="31" y="33"/>
                  </a:lnTo>
                  <a:lnTo>
                    <a:pt x="750" y="33"/>
                  </a:lnTo>
                  <a:lnTo>
                    <a:pt x="750" y="539"/>
                  </a:lnTo>
                  <a:close/>
                  <a:moveTo>
                    <a:pt x="674" y="338"/>
                  </a:moveTo>
                  <a:lnTo>
                    <a:pt x="674" y="338"/>
                  </a:lnTo>
                  <a:lnTo>
                    <a:pt x="674" y="347"/>
                  </a:lnTo>
                  <a:lnTo>
                    <a:pt x="672" y="356"/>
                  </a:lnTo>
                  <a:lnTo>
                    <a:pt x="669" y="364"/>
                  </a:lnTo>
                  <a:lnTo>
                    <a:pt x="665" y="372"/>
                  </a:lnTo>
                  <a:lnTo>
                    <a:pt x="659" y="380"/>
                  </a:lnTo>
                  <a:lnTo>
                    <a:pt x="653" y="387"/>
                  </a:lnTo>
                  <a:lnTo>
                    <a:pt x="646" y="393"/>
                  </a:lnTo>
                  <a:lnTo>
                    <a:pt x="639" y="398"/>
                  </a:lnTo>
                  <a:lnTo>
                    <a:pt x="639" y="398"/>
                  </a:lnTo>
                  <a:lnTo>
                    <a:pt x="639" y="399"/>
                  </a:lnTo>
                  <a:lnTo>
                    <a:pt x="639" y="399"/>
                  </a:lnTo>
                  <a:lnTo>
                    <a:pt x="639" y="507"/>
                  </a:lnTo>
                  <a:lnTo>
                    <a:pt x="603" y="459"/>
                  </a:lnTo>
                  <a:lnTo>
                    <a:pt x="569" y="507"/>
                  </a:lnTo>
                  <a:lnTo>
                    <a:pt x="569" y="399"/>
                  </a:lnTo>
                  <a:lnTo>
                    <a:pt x="569" y="399"/>
                  </a:lnTo>
                  <a:lnTo>
                    <a:pt x="569" y="398"/>
                  </a:lnTo>
                  <a:lnTo>
                    <a:pt x="569" y="398"/>
                  </a:lnTo>
                  <a:lnTo>
                    <a:pt x="562" y="393"/>
                  </a:lnTo>
                  <a:lnTo>
                    <a:pt x="555" y="387"/>
                  </a:lnTo>
                  <a:lnTo>
                    <a:pt x="549" y="380"/>
                  </a:lnTo>
                  <a:lnTo>
                    <a:pt x="543" y="372"/>
                  </a:lnTo>
                  <a:lnTo>
                    <a:pt x="539" y="364"/>
                  </a:lnTo>
                  <a:lnTo>
                    <a:pt x="536" y="356"/>
                  </a:lnTo>
                  <a:lnTo>
                    <a:pt x="534" y="347"/>
                  </a:lnTo>
                  <a:lnTo>
                    <a:pt x="534" y="338"/>
                  </a:lnTo>
                  <a:lnTo>
                    <a:pt x="534" y="338"/>
                  </a:lnTo>
                  <a:lnTo>
                    <a:pt x="534" y="329"/>
                  </a:lnTo>
                  <a:lnTo>
                    <a:pt x="535" y="323"/>
                  </a:lnTo>
                  <a:lnTo>
                    <a:pt x="536" y="316"/>
                  </a:lnTo>
                  <a:lnTo>
                    <a:pt x="539" y="310"/>
                  </a:lnTo>
                  <a:lnTo>
                    <a:pt x="546" y="297"/>
                  </a:lnTo>
                  <a:lnTo>
                    <a:pt x="554" y="287"/>
                  </a:lnTo>
                  <a:lnTo>
                    <a:pt x="564" y="278"/>
                  </a:lnTo>
                  <a:lnTo>
                    <a:pt x="577" y="272"/>
                  </a:lnTo>
                  <a:lnTo>
                    <a:pt x="583" y="269"/>
                  </a:lnTo>
                  <a:lnTo>
                    <a:pt x="590" y="268"/>
                  </a:lnTo>
                  <a:lnTo>
                    <a:pt x="597" y="267"/>
                  </a:lnTo>
                  <a:lnTo>
                    <a:pt x="603" y="267"/>
                  </a:lnTo>
                  <a:lnTo>
                    <a:pt x="603" y="267"/>
                  </a:lnTo>
                  <a:lnTo>
                    <a:pt x="612" y="267"/>
                  </a:lnTo>
                  <a:lnTo>
                    <a:pt x="619" y="268"/>
                  </a:lnTo>
                  <a:lnTo>
                    <a:pt x="625" y="269"/>
                  </a:lnTo>
                  <a:lnTo>
                    <a:pt x="631" y="272"/>
                  </a:lnTo>
                  <a:lnTo>
                    <a:pt x="644" y="278"/>
                  </a:lnTo>
                  <a:lnTo>
                    <a:pt x="654" y="287"/>
                  </a:lnTo>
                  <a:lnTo>
                    <a:pt x="662" y="297"/>
                  </a:lnTo>
                  <a:lnTo>
                    <a:pt x="669" y="310"/>
                  </a:lnTo>
                  <a:lnTo>
                    <a:pt x="672" y="316"/>
                  </a:lnTo>
                  <a:lnTo>
                    <a:pt x="673" y="323"/>
                  </a:lnTo>
                  <a:lnTo>
                    <a:pt x="674" y="329"/>
                  </a:lnTo>
                  <a:lnTo>
                    <a:pt x="674" y="338"/>
                  </a:lnTo>
                  <a:lnTo>
                    <a:pt x="674" y="338"/>
                  </a:lnTo>
                  <a:close/>
                  <a:moveTo>
                    <a:pt x="87" y="119"/>
                  </a:moveTo>
                  <a:lnTo>
                    <a:pt x="87" y="119"/>
                  </a:lnTo>
                  <a:lnTo>
                    <a:pt x="88" y="115"/>
                  </a:lnTo>
                  <a:lnTo>
                    <a:pt x="90" y="112"/>
                  </a:lnTo>
                  <a:lnTo>
                    <a:pt x="94" y="109"/>
                  </a:lnTo>
                  <a:lnTo>
                    <a:pt x="98" y="108"/>
                  </a:lnTo>
                  <a:lnTo>
                    <a:pt x="668" y="108"/>
                  </a:lnTo>
                  <a:lnTo>
                    <a:pt x="668" y="108"/>
                  </a:lnTo>
                  <a:lnTo>
                    <a:pt x="673" y="109"/>
                  </a:lnTo>
                  <a:lnTo>
                    <a:pt x="676" y="112"/>
                  </a:lnTo>
                  <a:lnTo>
                    <a:pt x="679" y="115"/>
                  </a:lnTo>
                  <a:lnTo>
                    <a:pt x="679" y="119"/>
                  </a:lnTo>
                  <a:lnTo>
                    <a:pt x="679" y="119"/>
                  </a:lnTo>
                  <a:lnTo>
                    <a:pt x="679" y="123"/>
                  </a:lnTo>
                  <a:lnTo>
                    <a:pt x="676" y="127"/>
                  </a:lnTo>
                  <a:lnTo>
                    <a:pt x="673" y="129"/>
                  </a:lnTo>
                  <a:lnTo>
                    <a:pt x="668" y="130"/>
                  </a:lnTo>
                  <a:lnTo>
                    <a:pt x="98" y="130"/>
                  </a:lnTo>
                  <a:lnTo>
                    <a:pt x="98" y="130"/>
                  </a:lnTo>
                  <a:lnTo>
                    <a:pt x="94" y="129"/>
                  </a:lnTo>
                  <a:lnTo>
                    <a:pt x="90" y="127"/>
                  </a:lnTo>
                  <a:lnTo>
                    <a:pt x="88" y="123"/>
                  </a:lnTo>
                  <a:lnTo>
                    <a:pt x="87" y="119"/>
                  </a:lnTo>
                  <a:lnTo>
                    <a:pt x="87" y="119"/>
                  </a:lnTo>
                  <a:close/>
                  <a:moveTo>
                    <a:pt x="585" y="215"/>
                  </a:moveTo>
                  <a:lnTo>
                    <a:pt x="150" y="215"/>
                  </a:lnTo>
                  <a:lnTo>
                    <a:pt x="150" y="215"/>
                  </a:lnTo>
                  <a:lnTo>
                    <a:pt x="146" y="214"/>
                  </a:lnTo>
                  <a:lnTo>
                    <a:pt x="142" y="211"/>
                  </a:lnTo>
                  <a:lnTo>
                    <a:pt x="140" y="208"/>
                  </a:lnTo>
                  <a:lnTo>
                    <a:pt x="140" y="203"/>
                  </a:lnTo>
                  <a:lnTo>
                    <a:pt x="140" y="203"/>
                  </a:lnTo>
                  <a:lnTo>
                    <a:pt x="140" y="198"/>
                  </a:lnTo>
                  <a:lnTo>
                    <a:pt x="142" y="195"/>
                  </a:lnTo>
                  <a:lnTo>
                    <a:pt x="146" y="193"/>
                  </a:lnTo>
                  <a:lnTo>
                    <a:pt x="150" y="192"/>
                  </a:lnTo>
                  <a:lnTo>
                    <a:pt x="585" y="192"/>
                  </a:lnTo>
                  <a:lnTo>
                    <a:pt x="585" y="192"/>
                  </a:lnTo>
                  <a:lnTo>
                    <a:pt x="588" y="193"/>
                  </a:lnTo>
                  <a:lnTo>
                    <a:pt x="592" y="195"/>
                  </a:lnTo>
                  <a:lnTo>
                    <a:pt x="595" y="198"/>
                  </a:lnTo>
                  <a:lnTo>
                    <a:pt x="595" y="203"/>
                  </a:lnTo>
                  <a:lnTo>
                    <a:pt x="595" y="203"/>
                  </a:lnTo>
                  <a:lnTo>
                    <a:pt x="595" y="208"/>
                  </a:lnTo>
                  <a:lnTo>
                    <a:pt x="592" y="211"/>
                  </a:lnTo>
                  <a:lnTo>
                    <a:pt x="588" y="214"/>
                  </a:lnTo>
                  <a:lnTo>
                    <a:pt x="585" y="215"/>
                  </a:lnTo>
                  <a:lnTo>
                    <a:pt x="585" y="215"/>
                  </a:lnTo>
                  <a:close/>
                  <a:moveTo>
                    <a:pt x="428" y="343"/>
                  </a:moveTo>
                  <a:lnTo>
                    <a:pt x="428" y="343"/>
                  </a:lnTo>
                  <a:lnTo>
                    <a:pt x="427" y="348"/>
                  </a:lnTo>
                  <a:lnTo>
                    <a:pt x="424" y="351"/>
                  </a:lnTo>
                  <a:lnTo>
                    <a:pt x="421" y="354"/>
                  </a:lnTo>
                  <a:lnTo>
                    <a:pt x="416" y="355"/>
                  </a:lnTo>
                  <a:lnTo>
                    <a:pt x="169" y="355"/>
                  </a:lnTo>
                  <a:lnTo>
                    <a:pt x="169" y="355"/>
                  </a:lnTo>
                  <a:lnTo>
                    <a:pt x="164" y="354"/>
                  </a:lnTo>
                  <a:lnTo>
                    <a:pt x="161" y="351"/>
                  </a:lnTo>
                  <a:lnTo>
                    <a:pt x="158" y="348"/>
                  </a:lnTo>
                  <a:lnTo>
                    <a:pt x="157" y="343"/>
                  </a:lnTo>
                  <a:lnTo>
                    <a:pt x="157" y="343"/>
                  </a:lnTo>
                  <a:lnTo>
                    <a:pt x="158" y="340"/>
                  </a:lnTo>
                  <a:lnTo>
                    <a:pt x="161" y="336"/>
                  </a:lnTo>
                  <a:lnTo>
                    <a:pt x="164" y="334"/>
                  </a:lnTo>
                  <a:lnTo>
                    <a:pt x="169" y="333"/>
                  </a:lnTo>
                  <a:lnTo>
                    <a:pt x="416" y="333"/>
                  </a:lnTo>
                  <a:lnTo>
                    <a:pt x="416" y="333"/>
                  </a:lnTo>
                  <a:lnTo>
                    <a:pt x="421" y="334"/>
                  </a:lnTo>
                  <a:lnTo>
                    <a:pt x="424" y="336"/>
                  </a:lnTo>
                  <a:lnTo>
                    <a:pt x="427" y="340"/>
                  </a:lnTo>
                  <a:lnTo>
                    <a:pt x="428" y="343"/>
                  </a:lnTo>
                  <a:lnTo>
                    <a:pt x="428" y="343"/>
                  </a:lnTo>
                  <a:close/>
                  <a:moveTo>
                    <a:pt x="428" y="426"/>
                  </a:moveTo>
                  <a:lnTo>
                    <a:pt x="428" y="426"/>
                  </a:lnTo>
                  <a:lnTo>
                    <a:pt x="427" y="430"/>
                  </a:lnTo>
                  <a:lnTo>
                    <a:pt x="424" y="434"/>
                  </a:lnTo>
                  <a:lnTo>
                    <a:pt x="421" y="436"/>
                  </a:lnTo>
                  <a:lnTo>
                    <a:pt x="416" y="437"/>
                  </a:lnTo>
                  <a:lnTo>
                    <a:pt x="169" y="437"/>
                  </a:lnTo>
                  <a:lnTo>
                    <a:pt x="169" y="437"/>
                  </a:lnTo>
                  <a:lnTo>
                    <a:pt x="164" y="436"/>
                  </a:lnTo>
                  <a:lnTo>
                    <a:pt x="161" y="434"/>
                  </a:lnTo>
                  <a:lnTo>
                    <a:pt x="158" y="430"/>
                  </a:lnTo>
                  <a:lnTo>
                    <a:pt x="157" y="426"/>
                  </a:lnTo>
                  <a:lnTo>
                    <a:pt x="157" y="426"/>
                  </a:lnTo>
                  <a:lnTo>
                    <a:pt x="158" y="422"/>
                  </a:lnTo>
                  <a:lnTo>
                    <a:pt x="161" y="419"/>
                  </a:lnTo>
                  <a:lnTo>
                    <a:pt x="164" y="415"/>
                  </a:lnTo>
                  <a:lnTo>
                    <a:pt x="169" y="415"/>
                  </a:lnTo>
                  <a:lnTo>
                    <a:pt x="416" y="415"/>
                  </a:lnTo>
                  <a:lnTo>
                    <a:pt x="416" y="415"/>
                  </a:lnTo>
                  <a:lnTo>
                    <a:pt x="421" y="415"/>
                  </a:lnTo>
                  <a:lnTo>
                    <a:pt x="424" y="419"/>
                  </a:lnTo>
                  <a:lnTo>
                    <a:pt x="427" y="422"/>
                  </a:lnTo>
                  <a:lnTo>
                    <a:pt x="428" y="426"/>
                  </a:lnTo>
                  <a:lnTo>
                    <a:pt x="428" y="4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nvGrpSpPr>
          <p:cNvPr id="66627" name="Group 190"/>
          <p:cNvGrpSpPr>
            <a:grpSpLocks/>
          </p:cNvGrpSpPr>
          <p:nvPr/>
        </p:nvGrpSpPr>
        <p:grpSpPr bwMode="auto">
          <a:xfrm>
            <a:off x="3132138" y="4156075"/>
            <a:ext cx="268287" cy="266700"/>
            <a:chOff x="3215739" y="1684543"/>
            <a:chExt cx="365760" cy="365760"/>
          </a:xfrm>
        </p:grpSpPr>
        <p:sp>
          <p:nvSpPr>
            <p:cNvPr id="165" name="Oval 164">
              <a:extLst>
                <a:ext uri="{FF2B5EF4-FFF2-40B4-BE49-F238E27FC236}"/>
              </a:extLst>
            </p:cNvPr>
            <p:cNvSpPr/>
            <p:nvPr/>
          </p:nvSpPr>
          <p:spPr bwMode="ltGray">
            <a:xfrm>
              <a:off x="3215739" y="1684543"/>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66" name="Freeform 25">
              <a:extLst>
                <a:ext uri="{FF2B5EF4-FFF2-40B4-BE49-F238E27FC236}"/>
              </a:extLst>
            </p:cNvPr>
            <p:cNvSpPr>
              <a:spLocks noEditPoints="1"/>
            </p:cNvSpPr>
            <p:nvPr/>
          </p:nvSpPr>
          <p:spPr bwMode="auto">
            <a:xfrm>
              <a:off x="3235217" y="1719377"/>
              <a:ext cx="287848" cy="287383"/>
            </a:xfrm>
            <a:custGeom>
              <a:avLst/>
              <a:gdLst>
                <a:gd name="T0" fmla="*/ 759665898 w 177"/>
                <a:gd name="T1" fmla="*/ 5078557 h 183"/>
                <a:gd name="T2" fmla="*/ 733470915 w 177"/>
                <a:gd name="T3" fmla="*/ 30471344 h 183"/>
                <a:gd name="T4" fmla="*/ 681079322 w 177"/>
                <a:gd name="T5" fmla="*/ 233616787 h 183"/>
                <a:gd name="T6" fmla="*/ 560581424 w 177"/>
                <a:gd name="T7" fmla="*/ 172674098 h 183"/>
                <a:gd name="T8" fmla="*/ 581537085 w 177"/>
                <a:gd name="T9" fmla="*/ 208224000 h 183"/>
                <a:gd name="T10" fmla="*/ 172889492 w 177"/>
                <a:gd name="T11" fmla="*/ 644986230 h 183"/>
                <a:gd name="T12" fmla="*/ 162410847 w 177"/>
                <a:gd name="T13" fmla="*/ 711009049 h 183"/>
                <a:gd name="T14" fmla="*/ 26194983 w 177"/>
                <a:gd name="T15" fmla="*/ 878604590 h 183"/>
                <a:gd name="T16" fmla="*/ 0 w 177"/>
                <a:gd name="T17" fmla="*/ 924311607 h 183"/>
                <a:gd name="T18" fmla="*/ 10478644 w 177"/>
                <a:gd name="T19" fmla="*/ 929390164 h 183"/>
                <a:gd name="T20" fmla="*/ 214802441 w 177"/>
                <a:gd name="T21" fmla="*/ 761794623 h 183"/>
                <a:gd name="T22" fmla="*/ 277671051 w 177"/>
                <a:gd name="T23" fmla="*/ 746558951 h 183"/>
                <a:gd name="T24" fmla="*/ 717752949 w 177"/>
                <a:gd name="T25" fmla="*/ 335189508 h 183"/>
                <a:gd name="T26" fmla="*/ 754426576 w 177"/>
                <a:gd name="T27" fmla="*/ 355503738 h 183"/>
                <a:gd name="T28" fmla="*/ 696797288 w 177"/>
                <a:gd name="T29" fmla="*/ 248852459 h 183"/>
                <a:gd name="T30" fmla="*/ 901121085 w 177"/>
                <a:gd name="T31" fmla="*/ 182831213 h 183"/>
                <a:gd name="T32" fmla="*/ 922076746 w 177"/>
                <a:gd name="T33" fmla="*/ 157438426 h 183"/>
                <a:gd name="T34" fmla="*/ 26194983 w 177"/>
                <a:gd name="T35" fmla="*/ 883683148 h 183"/>
                <a:gd name="T36" fmla="*/ 183368136 w 177"/>
                <a:gd name="T37" fmla="*/ 731323279 h 183"/>
                <a:gd name="T38" fmla="*/ 15717966 w 177"/>
                <a:gd name="T39" fmla="*/ 914154492 h 183"/>
                <a:gd name="T40" fmla="*/ 178128814 w 177"/>
                <a:gd name="T41" fmla="*/ 711009049 h 183"/>
                <a:gd name="T42" fmla="*/ 246236746 w 177"/>
                <a:gd name="T43" fmla="*/ 711009049 h 183"/>
                <a:gd name="T44" fmla="*/ 351018305 w 177"/>
                <a:gd name="T45" fmla="*/ 644986230 h 183"/>
                <a:gd name="T46" fmla="*/ 392931254 w 177"/>
                <a:gd name="T47" fmla="*/ 584043541 h 183"/>
                <a:gd name="T48" fmla="*/ 335300339 w 177"/>
                <a:gd name="T49" fmla="*/ 523099279 h 183"/>
                <a:gd name="T50" fmla="*/ 445321220 w 177"/>
                <a:gd name="T51" fmla="*/ 528177836 h 183"/>
                <a:gd name="T52" fmla="*/ 413886915 w 177"/>
                <a:gd name="T53" fmla="*/ 487549377 h 183"/>
                <a:gd name="T54" fmla="*/ 497712814 w 177"/>
                <a:gd name="T55" fmla="*/ 477392262 h 183"/>
                <a:gd name="T56" fmla="*/ 351018305 w 177"/>
                <a:gd name="T57" fmla="*/ 644986230 h 183"/>
                <a:gd name="T58" fmla="*/ 539624136 w 177"/>
                <a:gd name="T59" fmla="*/ 492627934 h 183"/>
                <a:gd name="T60" fmla="*/ 518668475 w 177"/>
                <a:gd name="T61" fmla="*/ 477392262 h 183"/>
                <a:gd name="T62" fmla="*/ 508189831 w 177"/>
                <a:gd name="T63" fmla="*/ 467235148 h 183"/>
                <a:gd name="T64" fmla="*/ 592015729 w 177"/>
                <a:gd name="T65" fmla="*/ 218381115 h 1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7" h="183">
                  <a:moveTo>
                    <a:pt x="176" y="31"/>
                  </a:moveTo>
                  <a:cubicBezTo>
                    <a:pt x="145" y="1"/>
                    <a:pt x="145" y="1"/>
                    <a:pt x="145" y="1"/>
                  </a:cubicBezTo>
                  <a:cubicBezTo>
                    <a:pt x="144" y="0"/>
                    <a:pt x="142" y="0"/>
                    <a:pt x="141" y="2"/>
                  </a:cubicBezTo>
                  <a:cubicBezTo>
                    <a:pt x="140" y="3"/>
                    <a:pt x="140" y="5"/>
                    <a:pt x="140" y="6"/>
                  </a:cubicBezTo>
                  <a:cubicBezTo>
                    <a:pt x="155" y="20"/>
                    <a:pt x="155" y="20"/>
                    <a:pt x="155" y="20"/>
                  </a:cubicBezTo>
                  <a:cubicBezTo>
                    <a:pt x="130" y="46"/>
                    <a:pt x="130" y="46"/>
                    <a:pt x="130" y="46"/>
                  </a:cubicBezTo>
                  <a:cubicBezTo>
                    <a:pt x="112" y="28"/>
                    <a:pt x="112" y="28"/>
                    <a:pt x="112" y="28"/>
                  </a:cubicBezTo>
                  <a:cubicBezTo>
                    <a:pt x="107" y="34"/>
                    <a:pt x="107" y="34"/>
                    <a:pt x="107" y="34"/>
                  </a:cubicBezTo>
                  <a:cubicBezTo>
                    <a:pt x="113" y="40"/>
                    <a:pt x="113" y="40"/>
                    <a:pt x="113" y="40"/>
                  </a:cubicBezTo>
                  <a:cubicBezTo>
                    <a:pt x="112" y="40"/>
                    <a:pt x="112" y="41"/>
                    <a:pt x="111" y="41"/>
                  </a:cubicBezTo>
                  <a:cubicBezTo>
                    <a:pt x="34" y="120"/>
                    <a:pt x="34" y="120"/>
                    <a:pt x="34" y="120"/>
                  </a:cubicBezTo>
                  <a:cubicBezTo>
                    <a:pt x="32" y="123"/>
                    <a:pt x="31" y="125"/>
                    <a:pt x="33" y="127"/>
                  </a:cubicBezTo>
                  <a:cubicBezTo>
                    <a:pt x="38" y="132"/>
                    <a:pt x="38" y="132"/>
                    <a:pt x="38" y="132"/>
                  </a:cubicBezTo>
                  <a:cubicBezTo>
                    <a:pt x="31" y="140"/>
                    <a:pt x="31" y="140"/>
                    <a:pt x="31" y="140"/>
                  </a:cubicBezTo>
                  <a:cubicBezTo>
                    <a:pt x="34" y="143"/>
                    <a:pt x="34" y="143"/>
                    <a:pt x="34" y="143"/>
                  </a:cubicBezTo>
                  <a:cubicBezTo>
                    <a:pt x="5" y="173"/>
                    <a:pt x="5" y="173"/>
                    <a:pt x="5" y="173"/>
                  </a:cubicBezTo>
                  <a:cubicBezTo>
                    <a:pt x="4" y="173"/>
                    <a:pt x="4" y="173"/>
                    <a:pt x="4" y="173"/>
                  </a:cubicBezTo>
                  <a:cubicBezTo>
                    <a:pt x="0" y="182"/>
                    <a:pt x="0" y="182"/>
                    <a:pt x="0" y="182"/>
                  </a:cubicBezTo>
                  <a:cubicBezTo>
                    <a:pt x="1" y="183"/>
                    <a:pt x="1" y="183"/>
                    <a:pt x="1" y="183"/>
                  </a:cubicBezTo>
                  <a:cubicBezTo>
                    <a:pt x="2" y="183"/>
                    <a:pt x="2" y="183"/>
                    <a:pt x="2" y="183"/>
                  </a:cubicBezTo>
                  <a:cubicBezTo>
                    <a:pt x="37" y="146"/>
                    <a:pt x="37" y="146"/>
                    <a:pt x="37" y="146"/>
                  </a:cubicBezTo>
                  <a:cubicBezTo>
                    <a:pt x="41" y="150"/>
                    <a:pt x="41" y="150"/>
                    <a:pt x="41" y="150"/>
                  </a:cubicBezTo>
                  <a:cubicBezTo>
                    <a:pt x="48" y="142"/>
                    <a:pt x="48" y="142"/>
                    <a:pt x="48" y="142"/>
                  </a:cubicBezTo>
                  <a:cubicBezTo>
                    <a:pt x="53" y="147"/>
                    <a:pt x="53" y="147"/>
                    <a:pt x="53" y="147"/>
                  </a:cubicBezTo>
                  <a:cubicBezTo>
                    <a:pt x="55" y="148"/>
                    <a:pt x="58" y="148"/>
                    <a:pt x="60" y="145"/>
                  </a:cubicBezTo>
                  <a:cubicBezTo>
                    <a:pt x="137" y="66"/>
                    <a:pt x="137" y="66"/>
                    <a:pt x="137" y="66"/>
                  </a:cubicBezTo>
                  <a:cubicBezTo>
                    <a:pt x="137" y="66"/>
                    <a:pt x="138" y="65"/>
                    <a:pt x="138" y="65"/>
                  </a:cubicBezTo>
                  <a:cubicBezTo>
                    <a:pt x="144" y="70"/>
                    <a:pt x="144" y="70"/>
                    <a:pt x="144" y="70"/>
                  </a:cubicBezTo>
                  <a:cubicBezTo>
                    <a:pt x="149" y="65"/>
                    <a:pt x="149" y="65"/>
                    <a:pt x="149" y="65"/>
                  </a:cubicBezTo>
                  <a:cubicBezTo>
                    <a:pt x="133" y="49"/>
                    <a:pt x="133" y="49"/>
                    <a:pt x="133" y="49"/>
                  </a:cubicBezTo>
                  <a:cubicBezTo>
                    <a:pt x="158" y="23"/>
                    <a:pt x="158" y="23"/>
                    <a:pt x="158" y="23"/>
                  </a:cubicBezTo>
                  <a:cubicBezTo>
                    <a:pt x="172" y="36"/>
                    <a:pt x="172" y="36"/>
                    <a:pt x="172" y="36"/>
                  </a:cubicBezTo>
                  <a:cubicBezTo>
                    <a:pt x="173" y="37"/>
                    <a:pt x="175" y="37"/>
                    <a:pt x="176" y="36"/>
                  </a:cubicBezTo>
                  <a:cubicBezTo>
                    <a:pt x="177" y="34"/>
                    <a:pt x="177" y="32"/>
                    <a:pt x="176" y="31"/>
                  </a:cubicBezTo>
                  <a:close/>
                  <a:moveTo>
                    <a:pt x="3" y="180"/>
                  </a:moveTo>
                  <a:cubicBezTo>
                    <a:pt x="5" y="174"/>
                    <a:pt x="5" y="174"/>
                    <a:pt x="5" y="174"/>
                  </a:cubicBezTo>
                  <a:cubicBezTo>
                    <a:pt x="6" y="174"/>
                    <a:pt x="6" y="174"/>
                    <a:pt x="6" y="174"/>
                  </a:cubicBezTo>
                  <a:cubicBezTo>
                    <a:pt x="35" y="144"/>
                    <a:pt x="35" y="144"/>
                    <a:pt x="35" y="144"/>
                  </a:cubicBezTo>
                  <a:cubicBezTo>
                    <a:pt x="36" y="145"/>
                    <a:pt x="36" y="145"/>
                    <a:pt x="36" y="145"/>
                  </a:cubicBezTo>
                  <a:lnTo>
                    <a:pt x="3" y="180"/>
                  </a:lnTo>
                  <a:close/>
                  <a:moveTo>
                    <a:pt x="41" y="146"/>
                  </a:moveTo>
                  <a:cubicBezTo>
                    <a:pt x="40" y="145"/>
                    <a:pt x="35" y="141"/>
                    <a:pt x="34" y="140"/>
                  </a:cubicBezTo>
                  <a:cubicBezTo>
                    <a:pt x="34" y="139"/>
                    <a:pt x="37" y="136"/>
                    <a:pt x="40" y="134"/>
                  </a:cubicBezTo>
                  <a:cubicBezTo>
                    <a:pt x="47" y="140"/>
                    <a:pt x="47" y="140"/>
                    <a:pt x="47" y="140"/>
                  </a:cubicBezTo>
                  <a:cubicBezTo>
                    <a:pt x="44" y="143"/>
                    <a:pt x="41" y="146"/>
                    <a:pt x="41" y="146"/>
                  </a:cubicBezTo>
                  <a:close/>
                  <a:moveTo>
                    <a:pt x="67" y="127"/>
                  </a:moveTo>
                  <a:cubicBezTo>
                    <a:pt x="65" y="125"/>
                    <a:pt x="65" y="125"/>
                    <a:pt x="65" y="125"/>
                  </a:cubicBezTo>
                  <a:cubicBezTo>
                    <a:pt x="75" y="115"/>
                    <a:pt x="75" y="115"/>
                    <a:pt x="75" y="115"/>
                  </a:cubicBezTo>
                  <a:cubicBezTo>
                    <a:pt x="63" y="104"/>
                    <a:pt x="63" y="104"/>
                    <a:pt x="63" y="104"/>
                  </a:cubicBezTo>
                  <a:cubicBezTo>
                    <a:pt x="64" y="103"/>
                    <a:pt x="64" y="103"/>
                    <a:pt x="64" y="103"/>
                  </a:cubicBezTo>
                  <a:cubicBezTo>
                    <a:pt x="76" y="114"/>
                    <a:pt x="76" y="114"/>
                    <a:pt x="76" y="114"/>
                  </a:cubicBezTo>
                  <a:cubicBezTo>
                    <a:pt x="85" y="104"/>
                    <a:pt x="85" y="104"/>
                    <a:pt x="85" y="104"/>
                  </a:cubicBezTo>
                  <a:cubicBezTo>
                    <a:pt x="78" y="97"/>
                    <a:pt x="78" y="97"/>
                    <a:pt x="78" y="97"/>
                  </a:cubicBezTo>
                  <a:cubicBezTo>
                    <a:pt x="79" y="96"/>
                    <a:pt x="79" y="96"/>
                    <a:pt x="79" y="96"/>
                  </a:cubicBezTo>
                  <a:cubicBezTo>
                    <a:pt x="86" y="103"/>
                    <a:pt x="86" y="103"/>
                    <a:pt x="86" y="103"/>
                  </a:cubicBezTo>
                  <a:cubicBezTo>
                    <a:pt x="95" y="94"/>
                    <a:pt x="95" y="94"/>
                    <a:pt x="95" y="94"/>
                  </a:cubicBezTo>
                  <a:cubicBezTo>
                    <a:pt x="97" y="96"/>
                    <a:pt x="97" y="96"/>
                    <a:pt x="97" y="96"/>
                  </a:cubicBezTo>
                  <a:lnTo>
                    <a:pt x="67" y="127"/>
                  </a:lnTo>
                  <a:close/>
                  <a:moveTo>
                    <a:pt x="135" y="64"/>
                  </a:moveTo>
                  <a:cubicBezTo>
                    <a:pt x="103" y="97"/>
                    <a:pt x="103" y="97"/>
                    <a:pt x="103" y="97"/>
                  </a:cubicBezTo>
                  <a:cubicBezTo>
                    <a:pt x="99" y="94"/>
                    <a:pt x="99" y="94"/>
                    <a:pt x="99" y="94"/>
                  </a:cubicBezTo>
                  <a:cubicBezTo>
                    <a:pt x="99" y="94"/>
                    <a:pt x="99" y="94"/>
                    <a:pt x="99" y="94"/>
                  </a:cubicBezTo>
                  <a:cubicBezTo>
                    <a:pt x="97" y="92"/>
                    <a:pt x="97" y="92"/>
                    <a:pt x="97" y="92"/>
                  </a:cubicBezTo>
                  <a:cubicBezTo>
                    <a:pt x="97" y="92"/>
                    <a:pt x="97" y="92"/>
                    <a:pt x="97" y="92"/>
                  </a:cubicBezTo>
                  <a:cubicBezTo>
                    <a:pt x="81" y="76"/>
                    <a:pt x="81" y="76"/>
                    <a:pt x="81" y="76"/>
                  </a:cubicBezTo>
                  <a:cubicBezTo>
                    <a:pt x="113" y="43"/>
                    <a:pt x="113" y="43"/>
                    <a:pt x="113" y="43"/>
                  </a:cubicBezTo>
                  <a:lnTo>
                    <a:pt x="13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28" name="Group 193"/>
          <p:cNvGrpSpPr>
            <a:grpSpLocks/>
          </p:cNvGrpSpPr>
          <p:nvPr/>
        </p:nvGrpSpPr>
        <p:grpSpPr bwMode="auto">
          <a:xfrm>
            <a:off x="3116263" y="5910263"/>
            <a:ext cx="268287" cy="266700"/>
            <a:chOff x="3235509" y="4077693"/>
            <a:chExt cx="365760" cy="365760"/>
          </a:xfrm>
        </p:grpSpPr>
        <p:sp>
          <p:nvSpPr>
            <p:cNvPr id="168" name="Oval 167">
              <a:extLst>
                <a:ext uri="{FF2B5EF4-FFF2-40B4-BE49-F238E27FC236}"/>
              </a:extLst>
            </p:cNvPr>
            <p:cNvSpPr/>
            <p:nvPr/>
          </p:nvSpPr>
          <p:spPr bwMode="ltGray">
            <a:xfrm>
              <a:off x="3235509" y="4077693"/>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69" name="Freeform 161">
              <a:extLst>
                <a:ext uri="{FF2B5EF4-FFF2-40B4-BE49-F238E27FC236}"/>
              </a:extLst>
            </p:cNvPr>
            <p:cNvSpPr>
              <a:spLocks noEditPoints="1"/>
            </p:cNvSpPr>
            <p:nvPr/>
          </p:nvSpPr>
          <p:spPr bwMode="auto">
            <a:xfrm>
              <a:off x="3302601" y="4086402"/>
              <a:ext cx="251055" cy="324394"/>
            </a:xfrm>
            <a:custGeom>
              <a:avLst/>
              <a:gdLst>
                <a:gd name="T0" fmla="*/ 165177076 w 706"/>
                <a:gd name="T1" fmla="*/ 57275436 h 893"/>
                <a:gd name="T2" fmla="*/ 66542992 w 706"/>
                <a:gd name="T3" fmla="*/ 144382092 h 893"/>
                <a:gd name="T4" fmla="*/ 57575932 w 706"/>
                <a:gd name="T5" fmla="*/ 145575050 h 893"/>
                <a:gd name="T6" fmla="*/ 1887858 w 706"/>
                <a:gd name="T7" fmla="*/ 115982929 h 893"/>
                <a:gd name="T8" fmla="*/ 0 w 706"/>
                <a:gd name="T9" fmla="*/ 113596287 h 893"/>
                <a:gd name="T10" fmla="*/ 0 w 706"/>
                <a:gd name="T11" fmla="*/ 167053384 h 893"/>
                <a:gd name="T12" fmla="*/ 1887858 w 706"/>
                <a:gd name="T13" fmla="*/ 169678764 h 893"/>
                <a:gd name="T14" fmla="*/ 57575932 w 706"/>
                <a:gd name="T15" fmla="*/ 211680484 h 893"/>
                <a:gd name="T16" fmla="*/ 66542992 w 706"/>
                <a:gd name="T17" fmla="*/ 210487525 h 893"/>
                <a:gd name="T18" fmla="*/ 165177076 w 706"/>
                <a:gd name="T19" fmla="*/ 95697917 h 893"/>
                <a:gd name="T20" fmla="*/ 166593059 w 706"/>
                <a:gd name="T21" fmla="*/ 93311274 h 893"/>
                <a:gd name="T22" fmla="*/ 166593059 w 706"/>
                <a:gd name="T23" fmla="*/ 54889156 h 893"/>
                <a:gd name="T24" fmla="*/ 165177076 w 706"/>
                <a:gd name="T25" fmla="*/ 57275436 h 893"/>
                <a:gd name="T26" fmla="*/ 32563683 w 706"/>
                <a:gd name="T27" fmla="*/ 81378786 h 893"/>
                <a:gd name="T28" fmla="*/ 37518731 w 706"/>
                <a:gd name="T29" fmla="*/ 81378786 h 893"/>
                <a:gd name="T30" fmla="*/ 40114402 w 706"/>
                <a:gd name="T31" fmla="*/ 84242540 h 893"/>
                <a:gd name="T32" fmla="*/ 40114402 w 706"/>
                <a:gd name="T33" fmla="*/ 90686258 h 893"/>
                <a:gd name="T34" fmla="*/ 62531337 w 706"/>
                <a:gd name="T35" fmla="*/ 78992506 h 893"/>
                <a:gd name="T36" fmla="*/ 62531337 w 706"/>
                <a:gd name="T37" fmla="*/ 78992506 h 893"/>
                <a:gd name="T38" fmla="*/ 99342255 w 706"/>
                <a:gd name="T39" fmla="*/ 59662078 h 893"/>
                <a:gd name="T40" fmla="*/ 98870380 w 706"/>
                <a:gd name="T41" fmla="*/ 55843740 h 893"/>
                <a:gd name="T42" fmla="*/ 74329649 w 706"/>
                <a:gd name="T43" fmla="*/ 49400022 h 893"/>
                <a:gd name="T44" fmla="*/ 67958618 w 706"/>
                <a:gd name="T45" fmla="*/ 36751686 h 893"/>
                <a:gd name="T46" fmla="*/ 65834822 w 706"/>
                <a:gd name="T47" fmla="*/ 34842517 h 893"/>
                <a:gd name="T48" fmla="*/ 52384946 w 706"/>
                <a:gd name="T49" fmla="*/ 30069595 h 893"/>
                <a:gd name="T50" fmla="*/ 52148652 w 706"/>
                <a:gd name="T51" fmla="*/ 30069595 h 893"/>
                <a:gd name="T52" fmla="*/ 52148652 w 706"/>
                <a:gd name="T53" fmla="*/ 30069595 h 893"/>
                <a:gd name="T54" fmla="*/ 38698776 w 706"/>
                <a:gd name="T55" fmla="*/ 34842517 h 893"/>
                <a:gd name="T56" fmla="*/ 36339042 w 706"/>
                <a:gd name="T57" fmla="*/ 36751686 h 893"/>
                <a:gd name="T58" fmla="*/ 29732074 w 706"/>
                <a:gd name="T59" fmla="*/ 52979987 h 893"/>
                <a:gd name="T60" fmla="*/ 29732074 w 706"/>
                <a:gd name="T61" fmla="*/ 78753769 h 893"/>
                <a:gd name="T62" fmla="*/ 32563683 w 706"/>
                <a:gd name="T63" fmla="*/ 81378786 h 893"/>
                <a:gd name="T64" fmla="*/ 52148652 w 706"/>
                <a:gd name="T65" fmla="*/ 28160426 h 893"/>
                <a:gd name="T66" fmla="*/ 66070759 w 706"/>
                <a:gd name="T67" fmla="*/ 14080394 h 893"/>
                <a:gd name="T68" fmla="*/ 52148652 w 706"/>
                <a:gd name="T69" fmla="*/ 0 h 893"/>
                <a:gd name="T70" fmla="*/ 38226901 w 706"/>
                <a:gd name="T71" fmla="*/ 14080394 h 893"/>
                <a:gd name="T72" fmla="*/ 52148652 w 706"/>
                <a:gd name="T73" fmla="*/ 28160426 h 8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06" h="893">
                  <a:moveTo>
                    <a:pt x="700" y="240"/>
                  </a:moveTo>
                  <a:cubicBezTo>
                    <a:pt x="282" y="605"/>
                    <a:pt x="282" y="605"/>
                    <a:pt x="282" y="605"/>
                  </a:cubicBezTo>
                  <a:cubicBezTo>
                    <a:pt x="272" y="613"/>
                    <a:pt x="255" y="616"/>
                    <a:pt x="244" y="610"/>
                  </a:cubicBezTo>
                  <a:cubicBezTo>
                    <a:pt x="8" y="486"/>
                    <a:pt x="8" y="486"/>
                    <a:pt x="8" y="486"/>
                  </a:cubicBezTo>
                  <a:cubicBezTo>
                    <a:pt x="3" y="484"/>
                    <a:pt x="0" y="480"/>
                    <a:pt x="0" y="476"/>
                  </a:cubicBezTo>
                  <a:cubicBezTo>
                    <a:pt x="0" y="700"/>
                    <a:pt x="0" y="700"/>
                    <a:pt x="0" y="700"/>
                  </a:cubicBezTo>
                  <a:cubicBezTo>
                    <a:pt x="0" y="704"/>
                    <a:pt x="2" y="708"/>
                    <a:pt x="8" y="711"/>
                  </a:cubicBezTo>
                  <a:cubicBezTo>
                    <a:pt x="244" y="887"/>
                    <a:pt x="244" y="887"/>
                    <a:pt x="244" y="887"/>
                  </a:cubicBezTo>
                  <a:cubicBezTo>
                    <a:pt x="255" y="893"/>
                    <a:pt x="272" y="891"/>
                    <a:pt x="282" y="882"/>
                  </a:cubicBezTo>
                  <a:cubicBezTo>
                    <a:pt x="700" y="401"/>
                    <a:pt x="700" y="401"/>
                    <a:pt x="700" y="401"/>
                  </a:cubicBezTo>
                  <a:cubicBezTo>
                    <a:pt x="703" y="398"/>
                    <a:pt x="705" y="394"/>
                    <a:pt x="706" y="391"/>
                  </a:cubicBezTo>
                  <a:cubicBezTo>
                    <a:pt x="706" y="230"/>
                    <a:pt x="706" y="230"/>
                    <a:pt x="706" y="230"/>
                  </a:cubicBezTo>
                  <a:cubicBezTo>
                    <a:pt x="705" y="233"/>
                    <a:pt x="703" y="237"/>
                    <a:pt x="700" y="240"/>
                  </a:cubicBezTo>
                  <a:close/>
                  <a:moveTo>
                    <a:pt x="138" y="341"/>
                  </a:moveTo>
                  <a:cubicBezTo>
                    <a:pt x="159" y="341"/>
                    <a:pt x="159" y="341"/>
                    <a:pt x="159" y="341"/>
                  </a:cubicBezTo>
                  <a:cubicBezTo>
                    <a:pt x="165" y="341"/>
                    <a:pt x="170" y="347"/>
                    <a:pt x="170" y="353"/>
                  </a:cubicBezTo>
                  <a:cubicBezTo>
                    <a:pt x="170" y="380"/>
                    <a:pt x="170" y="380"/>
                    <a:pt x="170" y="380"/>
                  </a:cubicBezTo>
                  <a:cubicBezTo>
                    <a:pt x="265" y="331"/>
                    <a:pt x="265" y="331"/>
                    <a:pt x="265" y="331"/>
                  </a:cubicBezTo>
                  <a:cubicBezTo>
                    <a:pt x="265" y="331"/>
                    <a:pt x="265" y="331"/>
                    <a:pt x="265" y="331"/>
                  </a:cubicBezTo>
                  <a:cubicBezTo>
                    <a:pt x="421" y="250"/>
                    <a:pt x="421" y="250"/>
                    <a:pt x="421" y="250"/>
                  </a:cubicBezTo>
                  <a:cubicBezTo>
                    <a:pt x="433" y="244"/>
                    <a:pt x="432" y="237"/>
                    <a:pt x="419" y="234"/>
                  </a:cubicBezTo>
                  <a:cubicBezTo>
                    <a:pt x="315" y="207"/>
                    <a:pt x="315" y="207"/>
                    <a:pt x="315" y="207"/>
                  </a:cubicBezTo>
                  <a:cubicBezTo>
                    <a:pt x="312" y="187"/>
                    <a:pt x="303" y="169"/>
                    <a:pt x="288" y="154"/>
                  </a:cubicBezTo>
                  <a:cubicBezTo>
                    <a:pt x="285" y="151"/>
                    <a:pt x="282" y="149"/>
                    <a:pt x="279" y="146"/>
                  </a:cubicBezTo>
                  <a:cubicBezTo>
                    <a:pt x="262" y="133"/>
                    <a:pt x="243" y="126"/>
                    <a:pt x="222" y="126"/>
                  </a:cubicBezTo>
                  <a:cubicBezTo>
                    <a:pt x="221" y="126"/>
                    <a:pt x="221" y="126"/>
                    <a:pt x="221" y="126"/>
                  </a:cubicBezTo>
                  <a:cubicBezTo>
                    <a:pt x="221" y="126"/>
                    <a:pt x="221" y="126"/>
                    <a:pt x="221" y="126"/>
                  </a:cubicBezTo>
                  <a:cubicBezTo>
                    <a:pt x="199" y="126"/>
                    <a:pt x="180" y="133"/>
                    <a:pt x="164" y="146"/>
                  </a:cubicBezTo>
                  <a:cubicBezTo>
                    <a:pt x="160" y="149"/>
                    <a:pt x="157" y="151"/>
                    <a:pt x="154" y="154"/>
                  </a:cubicBezTo>
                  <a:cubicBezTo>
                    <a:pt x="136" y="173"/>
                    <a:pt x="126" y="195"/>
                    <a:pt x="126" y="222"/>
                  </a:cubicBezTo>
                  <a:cubicBezTo>
                    <a:pt x="126" y="330"/>
                    <a:pt x="126" y="330"/>
                    <a:pt x="126" y="330"/>
                  </a:cubicBezTo>
                  <a:cubicBezTo>
                    <a:pt x="126" y="336"/>
                    <a:pt x="131" y="341"/>
                    <a:pt x="138" y="341"/>
                  </a:cubicBezTo>
                  <a:close/>
                  <a:moveTo>
                    <a:pt x="221" y="118"/>
                  </a:moveTo>
                  <a:cubicBezTo>
                    <a:pt x="253" y="118"/>
                    <a:pt x="280" y="92"/>
                    <a:pt x="280" y="59"/>
                  </a:cubicBezTo>
                  <a:cubicBezTo>
                    <a:pt x="280" y="26"/>
                    <a:pt x="253" y="0"/>
                    <a:pt x="221" y="0"/>
                  </a:cubicBezTo>
                  <a:cubicBezTo>
                    <a:pt x="188" y="0"/>
                    <a:pt x="162" y="26"/>
                    <a:pt x="162" y="59"/>
                  </a:cubicBezTo>
                  <a:cubicBezTo>
                    <a:pt x="162" y="92"/>
                    <a:pt x="188" y="118"/>
                    <a:pt x="221"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29" name="Group 196"/>
          <p:cNvGrpSpPr>
            <a:grpSpLocks/>
          </p:cNvGrpSpPr>
          <p:nvPr/>
        </p:nvGrpSpPr>
        <p:grpSpPr bwMode="auto">
          <a:xfrm>
            <a:off x="3132138" y="6254750"/>
            <a:ext cx="268287" cy="268288"/>
            <a:chOff x="3237709" y="5006680"/>
            <a:chExt cx="365760" cy="365760"/>
          </a:xfrm>
        </p:grpSpPr>
        <p:sp>
          <p:nvSpPr>
            <p:cNvPr id="171" name="Oval 170">
              <a:extLst>
                <a:ext uri="{FF2B5EF4-FFF2-40B4-BE49-F238E27FC236}"/>
              </a:extLst>
            </p:cNvPr>
            <p:cNvSpPr/>
            <p:nvPr/>
          </p:nvSpPr>
          <p:spPr bwMode="ltGray">
            <a:xfrm>
              <a:off x="3237709" y="5006680"/>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172" name="Group 171">
              <a:extLst>
                <a:ext uri="{FF2B5EF4-FFF2-40B4-BE49-F238E27FC236}"/>
              </a:extLst>
            </p:cNvPr>
            <p:cNvGrpSpPr/>
            <p:nvPr/>
          </p:nvGrpSpPr>
          <p:grpSpPr>
            <a:xfrm>
              <a:off x="3294589" y="5037284"/>
              <a:ext cx="252000" cy="324000"/>
              <a:chOff x="2522582" y="5685530"/>
              <a:chExt cx="296863" cy="396875"/>
            </a:xfrm>
            <a:solidFill>
              <a:srgbClr val="FFFFFF"/>
            </a:solidFill>
          </p:grpSpPr>
          <p:sp>
            <p:nvSpPr>
              <p:cNvPr id="173" name="Oval 433">
                <a:extLst>
                  <a:ext uri="{FF2B5EF4-FFF2-40B4-BE49-F238E27FC236}"/>
                </a:extLst>
              </p:cNvPr>
              <p:cNvSpPr>
                <a:spLocks noChangeArrowheads="1"/>
              </p:cNvSpPr>
              <p:nvPr/>
            </p:nvSpPr>
            <p:spPr bwMode="auto">
              <a:xfrm>
                <a:off x="2616638" y="5685530"/>
                <a:ext cx="108752" cy="10850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4" name="Line 434">
                <a:extLst>
                  <a:ext uri="{FF2B5EF4-FFF2-40B4-BE49-F238E27FC236}"/>
                </a:extLst>
              </p:cNvPr>
              <p:cNvSpPr>
                <a:spLocks noChangeShapeType="1"/>
              </p:cNvSpPr>
              <p:nvPr/>
            </p:nvSpPr>
            <p:spPr bwMode="auto">
              <a:xfrm>
                <a:off x="2670524" y="5740271"/>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5" name="Line 435">
                <a:extLst>
                  <a:ext uri="{FF2B5EF4-FFF2-40B4-BE49-F238E27FC236}"/>
                </a:extLst>
              </p:cNvPr>
              <p:cNvSpPr>
                <a:spLocks noChangeShapeType="1"/>
              </p:cNvSpPr>
              <p:nvPr/>
            </p:nvSpPr>
            <p:spPr bwMode="auto">
              <a:xfrm>
                <a:off x="2670524" y="5740271"/>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6" name="Freeform 436">
                <a:extLst>
                  <a:ext uri="{FF2B5EF4-FFF2-40B4-BE49-F238E27FC236}"/>
                </a:extLst>
              </p:cNvPr>
              <p:cNvSpPr>
                <a:spLocks/>
              </p:cNvSpPr>
              <p:nvPr/>
            </p:nvSpPr>
            <p:spPr bwMode="auto">
              <a:xfrm>
                <a:off x="2522582" y="5802833"/>
                <a:ext cx="296863" cy="127078"/>
              </a:xfrm>
              <a:custGeom>
                <a:avLst/>
                <a:gdLst>
                  <a:gd name="T0" fmla="*/ 152 w 1303"/>
                  <a:gd name="T1" fmla="*/ 107 h 562"/>
                  <a:gd name="T2" fmla="*/ 93 w 1303"/>
                  <a:gd name="T3" fmla="*/ 107 h 562"/>
                  <a:gd name="T4" fmla="*/ 93 w 1303"/>
                  <a:gd name="T5" fmla="*/ 65 h 562"/>
                  <a:gd name="T6" fmla="*/ 48 w 1303"/>
                  <a:gd name="T7" fmla="*/ 110 h 562"/>
                  <a:gd name="T8" fmla="*/ 20 w 1303"/>
                  <a:gd name="T9" fmla="*/ 84 h 562"/>
                  <a:gd name="T10" fmla="*/ 95 w 1303"/>
                  <a:gd name="T11" fmla="*/ 10 h 562"/>
                  <a:gd name="T12" fmla="*/ 118 w 1303"/>
                  <a:gd name="T13" fmla="*/ 0 h 562"/>
                  <a:gd name="T14" fmla="*/ 152 w 1303"/>
                  <a:gd name="T15" fmla="*/ 0 h 562"/>
                  <a:gd name="T16" fmla="*/ 152 w 1303"/>
                  <a:gd name="T17" fmla="*/ 0 h 562"/>
                  <a:gd name="T18" fmla="*/ 185 w 1303"/>
                  <a:gd name="T19" fmla="*/ 0 h 562"/>
                  <a:gd name="T20" fmla="*/ 208 w 1303"/>
                  <a:gd name="T21" fmla="*/ 10 h 562"/>
                  <a:gd name="T22" fmla="*/ 284 w 1303"/>
                  <a:gd name="T23" fmla="*/ 85 h 562"/>
                  <a:gd name="T24" fmla="*/ 256 w 1303"/>
                  <a:gd name="T25" fmla="*/ 111 h 562"/>
                  <a:gd name="T26" fmla="*/ 210 w 1303"/>
                  <a:gd name="T27" fmla="*/ 65 h 562"/>
                  <a:gd name="T28" fmla="*/ 210 w 1303"/>
                  <a:gd name="T29" fmla="*/ 107 h 562"/>
                  <a:gd name="T30" fmla="*/ 152 w 1303"/>
                  <a:gd name="T31" fmla="*/ 107 h 5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03" h="562">
                    <a:moveTo>
                      <a:pt x="652" y="463"/>
                    </a:moveTo>
                    <a:cubicBezTo>
                      <a:pt x="399" y="463"/>
                      <a:pt x="399" y="463"/>
                      <a:pt x="399" y="463"/>
                    </a:cubicBezTo>
                    <a:cubicBezTo>
                      <a:pt x="399" y="280"/>
                      <a:pt x="399" y="280"/>
                      <a:pt x="399" y="280"/>
                    </a:cubicBezTo>
                    <a:cubicBezTo>
                      <a:pt x="206" y="475"/>
                      <a:pt x="206" y="475"/>
                      <a:pt x="206" y="475"/>
                    </a:cubicBezTo>
                    <a:cubicBezTo>
                      <a:pt x="118" y="562"/>
                      <a:pt x="0" y="450"/>
                      <a:pt x="87" y="362"/>
                    </a:cubicBezTo>
                    <a:cubicBezTo>
                      <a:pt x="408" y="42"/>
                      <a:pt x="408" y="42"/>
                      <a:pt x="408" y="42"/>
                    </a:cubicBezTo>
                    <a:cubicBezTo>
                      <a:pt x="433" y="16"/>
                      <a:pt x="462" y="0"/>
                      <a:pt x="507" y="0"/>
                    </a:cubicBezTo>
                    <a:cubicBezTo>
                      <a:pt x="652" y="0"/>
                      <a:pt x="652" y="0"/>
                      <a:pt x="652" y="0"/>
                    </a:cubicBezTo>
                    <a:cubicBezTo>
                      <a:pt x="652" y="0"/>
                      <a:pt x="652" y="0"/>
                      <a:pt x="652" y="0"/>
                    </a:cubicBezTo>
                    <a:cubicBezTo>
                      <a:pt x="794" y="0"/>
                      <a:pt x="794" y="0"/>
                      <a:pt x="794" y="0"/>
                    </a:cubicBezTo>
                    <a:cubicBezTo>
                      <a:pt x="839" y="0"/>
                      <a:pt x="870" y="16"/>
                      <a:pt x="896" y="42"/>
                    </a:cubicBezTo>
                    <a:cubicBezTo>
                      <a:pt x="1220" y="366"/>
                      <a:pt x="1220" y="366"/>
                      <a:pt x="1220" y="366"/>
                    </a:cubicBezTo>
                    <a:cubicBezTo>
                      <a:pt x="1303" y="449"/>
                      <a:pt x="1181" y="562"/>
                      <a:pt x="1101" y="478"/>
                    </a:cubicBezTo>
                    <a:cubicBezTo>
                      <a:pt x="903" y="279"/>
                      <a:pt x="903" y="279"/>
                      <a:pt x="903" y="279"/>
                    </a:cubicBezTo>
                    <a:cubicBezTo>
                      <a:pt x="903" y="463"/>
                      <a:pt x="903" y="463"/>
                      <a:pt x="903" y="463"/>
                    </a:cubicBezTo>
                    <a:cubicBezTo>
                      <a:pt x="652" y="463"/>
                      <a:pt x="652" y="463"/>
                      <a:pt x="652" y="4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7" name="Freeform 437">
                <a:extLst>
                  <a:ext uri="{FF2B5EF4-FFF2-40B4-BE49-F238E27FC236}"/>
                </a:extLst>
              </p:cNvPr>
              <p:cNvSpPr>
                <a:spLocks/>
              </p:cNvSpPr>
              <p:nvPr/>
            </p:nvSpPr>
            <p:spPr bwMode="auto">
              <a:xfrm>
                <a:off x="2664645" y="5928934"/>
                <a:ext cx="111691" cy="153471"/>
              </a:xfrm>
              <a:custGeom>
                <a:avLst/>
                <a:gdLst>
                  <a:gd name="T0" fmla="*/ 64 w 492"/>
                  <a:gd name="T1" fmla="*/ 0 h 677"/>
                  <a:gd name="T2" fmla="*/ 20 w 492"/>
                  <a:gd name="T3" fmla="*/ 44 h 677"/>
                  <a:gd name="T4" fmla="*/ 53 w 492"/>
                  <a:gd name="T5" fmla="*/ 76 h 677"/>
                  <a:gd name="T6" fmla="*/ 20 w 492"/>
                  <a:gd name="T7" fmla="*/ 109 h 677"/>
                  <a:gd name="T8" fmla="*/ 47 w 492"/>
                  <a:gd name="T9" fmla="*/ 137 h 677"/>
                  <a:gd name="T10" fmla="*/ 100 w 492"/>
                  <a:gd name="T11" fmla="*/ 82 h 677"/>
                  <a:gd name="T12" fmla="*/ 102 w 492"/>
                  <a:gd name="T13" fmla="*/ 38 h 677"/>
                  <a:gd name="T14" fmla="*/ 64 w 492"/>
                  <a:gd name="T15" fmla="*/ 0 h 6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677">
                    <a:moveTo>
                      <a:pt x="278" y="0"/>
                    </a:moveTo>
                    <a:cubicBezTo>
                      <a:pt x="88" y="190"/>
                      <a:pt x="88" y="190"/>
                      <a:pt x="88" y="190"/>
                    </a:cubicBezTo>
                    <a:cubicBezTo>
                      <a:pt x="227" y="329"/>
                      <a:pt x="227" y="329"/>
                      <a:pt x="227" y="329"/>
                    </a:cubicBezTo>
                    <a:cubicBezTo>
                      <a:pt x="85" y="472"/>
                      <a:pt x="85" y="472"/>
                      <a:pt x="85" y="472"/>
                    </a:cubicBezTo>
                    <a:cubicBezTo>
                      <a:pt x="0" y="557"/>
                      <a:pt x="117" y="677"/>
                      <a:pt x="204" y="590"/>
                    </a:cubicBezTo>
                    <a:cubicBezTo>
                      <a:pt x="430" y="355"/>
                      <a:pt x="430" y="355"/>
                      <a:pt x="430" y="355"/>
                    </a:cubicBezTo>
                    <a:cubicBezTo>
                      <a:pt x="478" y="306"/>
                      <a:pt x="492" y="214"/>
                      <a:pt x="440" y="162"/>
                    </a:cubicBezTo>
                    <a:cubicBezTo>
                      <a:pt x="440" y="162"/>
                      <a:pt x="278" y="0"/>
                      <a:pt x="2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78" name="Freeform 438">
                <a:extLst>
                  <a:ext uri="{FF2B5EF4-FFF2-40B4-BE49-F238E27FC236}"/>
                </a:extLst>
              </p:cNvPr>
              <p:cNvSpPr>
                <a:spLocks/>
              </p:cNvSpPr>
              <p:nvPr/>
            </p:nvSpPr>
            <p:spPr bwMode="auto">
              <a:xfrm>
                <a:off x="2564711" y="5928934"/>
                <a:ext cx="111691" cy="153471"/>
              </a:xfrm>
              <a:custGeom>
                <a:avLst/>
                <a:gdLst>
                  <a:gd name="T0" fmla="*/ 50 w 492"/>
                  <a:gd name="T1" fmla="*/ 0 h 677"/>
                  <a:gd name="T2" fmla="*/ 94 w 492"/>
                  <a:gd name="T3" fmla="*/ 44 h 677"/>
                  <a:gd name="T4" fmla="*/ 61 w 492"/>
                  <a:gd name="T5" fmla="*/ 76 h 677"/>
                  <a:gd name="T6" fmla="*/ 94 w 492"/>
                  <a:gd name="T7" fmla="*/ 109 h 677"/>
                  <a:gd name="T8" fmla="*/ 67 w 492"/>
                  <a:gd name="T9" fmla="*/ 137 h 677"/>
                  <a:gd name="T10" fmla="*/ 14 w 492"/>
                  <a:gd name="T11" fmla="*/ 82 h 677"/>
                  <a:gd name="T12" fmla="*/ 12 w 492"/>
                  <a:gd name="T13" fmla="*/ 38 h 677"/>
                  <a:gd name="T14" fmla="*/ 50 w 492"/>
                  <a:gd name="T15" fmla="*/ 0 h 6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2" h="677">
                    <a:moveTo>
                      <a:pt x="214" y="0"/>
                    </a:moveTo>
                    <a:cubicBezTo>
                      <a:pt x="404" y="190"/>
                      <a:pt x="404" y="190"/>
                      <a:pt x="404" y="190"/>
                    </a:cubicBezTo>
                    <a:cubicBezTo>
                      <a:pt x="265" y="329"/>
                      <a:pt x="265" y="329"/>
                      <a:pt x="265" y="329"/>
                    </a:cubicBezTo>
                    <a:cubicBezTo>
                      <a:pt x="407" y="472"/>
                      <a:pt x="407" y="472"/>
                      <a:pt x="407" y="472"/>
                    </a:cubicBezTo>
                    <a:cubicBezTo>
                      <a:pt x="492" y="557"/>
                      <a:pt x="375" y="677"/>
                      <a:pt x="288" y="590"/>
                    </a:cubicBezTo>
                    <a:cubicBezTo>
                      <a:pt x="62" y="355"/>
                      <a:pt x="62" y="355"/>
                      <a:pt x="62" y="355"/>
                    </a:cubicBezTo>
                    <a:cubicBezTo>
                      <a:pt x="14" y="306"/>
                      <a:pt x="0" y="214"/>
                      <a:pt x="52" y="162"/>
                    </a:cubicBezTo>
                    <a:cubicBezTo>
                      <a:pt x="52" y="162"/>
                      <a:pt x="214"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grpSp>
      </p:grpSp>
      <p:grpSp>
        <p:nvGrpSpPr>
          <p:cNvPr id="66630" name="Group 205"/>
          <p:cNvGrpSpPr>
            <a:grpSpLocks/>
          </p:cNvGrpSpPr>
          <p:nvPr/>
        </p:nvGrpSpPr>
        <p:grpSpPr bwMode="auto">
          <a:xfrm>
            <a:off x="3132138" y="4503738"/>
            <a:ext cx="268287" cy="268287"/>
            <a:chOff x="3215739" y="2355509"/>
            <a:chExt cx="365760" cy="365760"/>
          </a:xfrm>
        </p:grpSpPr>
        <p:sp>
          <p:nvSpPr>
            <p:cNvPr id="180" name="Oval 179">
              <a:extLst>
                <a:ext uri="{FF2B5EF4-FFF2-40B4-BE49-F238E27FC236}"/>
              </a:extLst>
            </p:cNvPr>
            <p:cNvSpPr/>
            <p:nvPr/>
          </p:nvSpPr>
          <p:spPr bwMode="ltGray">
            <a:xfrm>
              <a:off x="3215739" y="2355509"/>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181" name="Group 180">
              <a:extLst>
                <a:ext uri="{FF2B5EF4-FFF2-40B4-BE49-F238E27FC236}"/>
              </a:extLst>
            </p:cNvPr>
            <p:cNvGrpSpPr/>
            <p:nvPr/>
          </p:nvGrpSpPr>
          <p:grpSpPr>
            <a:xfrm>
              <a:off x="3250367" y="2388708"/>
              <a:ext cx="288000" cy="288000"/>
              <a:chOff x="1425123" y="5491855"/>
              <a:chExt cx="704850" cy="652462"/>
            </a:xfrm>
            <a:solidFill>
              <a:srgbClr val="FFFFFF"/>
            </a:solidFill>
          </p:grpSpPr>
          <p:sp>
            <p:nvSpPr>
              <p:cNvPr id="182" name="Rectangle 421">
                <a:extLst>
                  <a:ext uri="{FF2B5EF4-FFF2-40B4-BE49-F238E27FC236}"/>
                </a:extLst>
              </p:cNvPr>
              <p:cNvSpPr>
                <a:spLocks noChangeArrowheads="1"/>
              </p:cNvSpPr>
              <p:nvPr/>
            </p:nvSpPr>
            <p:spPr bwMode="auto">
              <a:xfrm>
                <a:off x="1768257" y="5496817"/>
                <a:ext cx="59460" cy="6350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3" name="Line 422">
                <a:extLst>
                  <a:ext uri="{FF2B5EF4-FFF2-40B4-BE49-F238E27FC236}"/>
                </a:extLst>
              </p:cNvPr>
              <p:cNvSpPr>
                <a:spLocks noChangeShapeType="1"/>
              </p:cNvSpPr>
              <p:nvPr/>
            </p:nvSpPr>
            <p:spPr bwMode="auto">
              <a:xfrm>
                <a:off x="1797987" y="581436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4" name="Line 423">
                <a:extLst>
                  <a:ext uri="{FF2B5EF4-FFF2-40B4-BE49-F238E27FC236}"/>
                </a:extLst>
              </p:cNvPr>
              <p:cNvSpPr>
                <a:spLocks noChangeShapeType="1"/>
              </p:cNvSpPr>
              <p:nvPr/>
            </p:nvSpPr>
            <p:spPr bwMode="auto">
              <a:xfrm>
                <a:off x="1797987" y="581436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5" name="Oval 424">
                <a:extLst>
                  <a:ext uri="{FF2B5EF4-FFF2-40B4-BE49-F238E27FC236}"/>
                </a:extLst>
              </p:cNvPr>
              <p:cNvSpPr>
                <a:spLocks noChangeArrowheads="1"/>
              </p:cNvSpPr>
              <p:nvPr/>
            </p:nvSpPr>
            <p:spPr bwMode="auto">
              <a:xfrm>
                <a:off x="1527939" y="5491855"/>
                <a:ext cx="104055" cy="1041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6" name="Line 425">
                <a:extLst>
                  <a:ext uri="{FF2B5EF4-FFF2-40B4-BE49-F238E27FC236}"/>
                </a:extLst>
              </p:cNvPr>
              <p:cNvSpPr>
                <a:spLocks noChangeShapeType="1"/>
              </p:cNvSpPr>
              <p:nvPr/>
            </p:nvSpPr>
            <p:spPr bwMode="auto">
              <a:xfrm>
                <a:off x="157996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7" name="Line 426">
                <a:extLst>
                  <a:ext uri="{FF2B5EF4-FFF2-40B4-BE49-F238E27FC236}"/>
                </a:extLst>
              </p:cNvPr>
              <p:cNvSpPr>
                <a:spLocks noChangeShapeType="1"/>
              </p:cNvSpPr>
              <p:nvPr/>
            </p:nvSpPr>
            <p:spPr bwMode="auto">
              <a:xfrm>
                <a:off x="157996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8" name="Freeform 427">
                <a:extLst>
                  <a:ext uri="{FF2B5EF4-FFF2-40B4-BE49-F238E27FC236}"/>
                </a:extLst>
              </p:cNvPr>
              <p:cNvSpPr>
                <a:spLocks/>
              </p:cNvSpPr>
              <p:nvPr/>
            </p:nvSpPr>
            <p:spPr bwMode="auto">
              <a:xfrm>
                <a:off x="1425123" y="5610936"/>
                <a:ext cx="309688" cy="532141"/>
              </a:xfrm>
              <a:custGeom>
                <a:avLst/>
                <a:gdLst>
                  <a:gd name="T0" fmla="*/ 119 w 771"/>
                  <a:gd name="T1" fmla="*/ 255 h 1320"/>
                  <a:gd name="T2" fmla="*/ 119 w 771"/>
                  <a:gd name="T3" fmla="*/ 403 h 1320"/>
                  <a:gd name="T4" fmla="*/ 79 w 771"/>
                  <a:gd name="T5" fmla="*/ 403 h 1320"/>
                  <a:gd name="T6" fmla="*/ 79 w 771"/>
                  <a:gd name="T7" fmla="*/ 255 h 1320"/>
                  <a:gd name="T8" fmla="*/ 27 w 771"/>
                  <a:gd name="T9" fmla="*/ 255 h 1320"/>
                  <a:gd name="T10" fmla="*/ 83 w 771"/>
                  <a:gd name="T11" fmla="*/ 60 h 1320"/>
                  <a:gd name="T12" fmla="*/ 74 w 771"/>
                  <a:gd name="T13" fmla="*/ 60 h 1320"/>
                  <a:gd name="T14" fmla="*/ 41 w 771"/>
                  <a:gd name="T15" fmla="*/ 171 h 1320"/>
                  <a:gd name="T16" fmla="*/ 7 w 771"/>
                  <a:gd name="T17" fmla="*/ 160 h 1320"/>
                  <a:gd name="T18" fmla="*/ 44 w 771"/>
                  <a:gd name="T19" fmla="*/ 38 h 1320"/>
                  <a:gd name="T20" fmla="*/ 96 w 771"/>
                  <a:gd name="T21" fmla="*/ 0 h 1320"/>
                  <a:gd name="T22" fmla="*/ 124 w 771"/>
                  <a:gd name="T23" fmla="*/ 0 h 1320"/>
                  <a:gd name="T24" fmla="*/ 124 w 771"/>
                  <a:gd name="T25" fmla="*/ 0 h 1320"/>
                  <a:gd name="T26" fmla="*/ 154 w 771"/>
                  <a:gd name="T27" fmla="*/ 0 h 1320"/>
                  <a:gd name="T28" fmla="*/ 206 w 771"/>
                  <a:gd name="T29" fmla="*/ 38 h 1320"/>
                  <a:gd name="T30" fmla="*/ 243 w 771"/>
                  <a:gd name="T31" fmla="*/ 160 h 1320"/>
                  <a:gd name="T32" fmla="*/ 209 w 771"/>
                  <a:gd name="T33" fmla="*/ 171 h 1320"/>
                  <a:gd name="T34" fmla="*/ 176 w 771"/>
                  <a:gd name="T35" fmla="*/ 60 h 1320"/>
                  <a:gd name="T36" fmla="*/ 166 w 771"/>
                  <a:gd name="T37" fmla="*/ 60 h 1320"/>
                  <a:gd name="T38" fmla="*/ 223 w 771"/>
                  <a:gd name="T39" fmla="*/ 255 h 1320"/>
                  <a:gd name="T40" fmla="*/ 170 w 771"/>
                  <a:gd name="T41" fmla="*/ 255 h 1320"/>
                  <a:gd name="T42" fmla="*/ 170 w 771"/>
                  <a:gd name="T43" fmla="*/ 403 h 1320"/>
                  <a:gd name="T44" fmla="*/ 131 w 771"/>
                  <a:gd name="T45" fmla="*/ 403 h 1320"/>
                  <a:gd name="T46" fmla="*/ 131 w 771"/>
                  <a:gd name="T47" fmla="*/ 255 h 1320"/>
                  <a:gd name="T48" fmla="*/ 119 w 771"/>
                  <a:gd name="T49" fmla="*/ 255 h 132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71" h="1320">
                    <a:moveTo>
                      <a:pt x="367" y="785"/>
                    </a:moveTo>
                    <a:cubicBezTo>
                      <a:pt x="367" y="1239"/>
                      <a:pt x="367" y="1239"/>
                      <a:pt x="367" y="1239"/>
                    </a:cubicBezTo>
                    <a:cubicBezTo>
                      <a:pt x="367" y="1320"/>
                      <a:pt x="245" y="1320"/>
                      <a:pt x="245" y="1239"/>
                    </a:cubicBezTo>
                    <a:cubicBezTo>
                      <a:pt x="245" y="785"/>
                      <a:pt x="245" y="785"/>
                      <a:pt x="245" y="785"/>
                    </a:cubicBezTo>
                    <a:cubicBezTo>
                      <a:pt x="83" y="785"/>
                      <a:pt x="83" y="785"/>
                      <a:pt x="83" y="785"/>
                    </a:cubicBezTo>
                    <a:cubicBezTo>
                      <a:pt x="256" y="184"/>
                      <a:pt x="256" y="184"/>
                      <a:pt x="256" y="184"/>
                    </a:cubicBezTo>
                    <a:cubicBezTo>
                      <a:pt x="229" y="184"/>
                      <a:pt x="229" y="184"/>
                      <a:pt x="229" y="184"/>
                    </a:cubicBezTo>
                    <a:cubicBezTo>
                      <a:pt x="127" y="527"/>
                      <a:pt x="127" y="527"/>
                      <a:pt x="127" y="527"/>
                    </a:cubicBezTo>
                    <a:cubicBezTo>
                      <a:pt x="103" y="602"/>
                      <a:pt x="0" y="571"/>
                      <a:pt x="23" y="491"/>
                    </a:cubicBezTo>
                    <a:cubicBezTo>
                      <a:pt x="137" y="118"/>
                      <a:pt x="137" y="118"/>
                      <a:pt x="137" y="118"/>
                    </a:cubicBezTo>
                    <a:cubicBezTo>
                      <a:pt x="149" y="75"/>
                      <a:pt x="203" y="0"/>
                      <a:pt x="296" y="0"/>
                    </a:cubicBezTo>
                    <a:cubicBezTo>
                      <a:pt x="382" y="0"/>
                      <a:pt x="382" y="0"/>
                      <a:pt x="382" y="0"/>
                    </a:cubicBezTo>
                    <a:cubicBezTo>
                      <a:pt x="382" y="0"/>
                      <a:pt x="382" y="0"/>
                      <a:pt x="382" y="0"/>
                    </a:cubicBezTo>
                    <a:cubicBezTo>
                      <a:pt x="474" y="0"/>
                      <a:pt x="474" y="0"/>
                      <a:pt x="474" y="0"/>
                    </a:cubicBezTo>
                    <a:cubicBezTo>
                      <a:pt x="567" y="0"/>
                      <a:pt x="621" y="76"/>
                      <a:pt x="635" y="118"/>
                    </a:cubicBezTo>
                    <a:cubicBezTo>
                      <a:pt x="748" y="491"/>
                      <a:pt x="748" y="491"/>
                      <a:pt x="748" y="491"/>
                    </a:cubicBezTo>
                    <a:cubicBezTo>
                      <a:pt x="771" y="571"/>
                      <a:pt x="669" y="604"/>
                      <a:pt x="644" y="526"/>
                    </a:cubicBezTo>
                    <a:cubicBezTo>
                      <a:pt x="542" y="184"/>
                      <a:pt x="542" y="184"/>
                      <a:pt x="542" y="184"/>
                    </a:cubicBezTo>
                    <a:cubicBezTo>
                      <a:pt x="513" y="184"/>
                      <a:pt x="513" y="184"/>
                      <a:pt x="513" y="184"/>
                    </a:cubicBezTo>
                    <a:cubicBezTo>
                      <a:pt x="688" y="785"/>
                      <a:pt x="688" y="785"/>
                      <a:pt x="688" y="785"/>
                    </a:cubicBezTo>
                    <a:cubicBezTo>
                      <a:pt x="525" y="785"/>
                      <a:pt x="525" y="785"/>
                      <a:pt x="525" y="785"/>
                    </a:cubicBezTo>
                    <a:cubicBezTo>
                      <a:pt x="525" y="1239"/>
                      <a:pt x="525" y="1239"/>
                      <a:pt x="525" y="1239"/>
                    </a:cubicBezTo>
                    <a:cubicBezTo>
                      <a:pt x="525" y="1320"/>
                      <a:pt x="404" y="1320"/>
                      <a:pt x="404" y="1239"/>
                    </a:cubicBezTo>
                    <a:cubicBezTo>
                      <a:pt x="404" y="785"/>
                      <a:pt x="404" y="785"/>
                      <a:pt x="404" y="785"/>
                    </a:cubicBezTo>
                    <a:lnTo>
                      <a:pt x="367" y="7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89" name="Freeform 428">
                <a:extLst>
                  <a:ext uri="{FF2B5EF4-FFF2-40B4-BE49-F238E27FC236}"/>
                </a:extLst>
              </p:cNvPr>
              <p:cNvSpPr>
                <a:spLocks/>
              </p:cNvSpPr>
              <p:nvPr/>
            </p:nvSpPr>
            <p:spPr bwMode="auto">
              <a:xfrm>
                <a:off x="1887178" y="5610936"/>
                <a:ext cx="242795" cy="533381"/>
              </a:xfrm>
              <a:custGeom>
                <a:avLst/>
                <a:gdLst>
                  <a:gd name="T0" fmla="*/ 54 w 604"/>
                  <a:gd name="T1" fmla="*/ 0 h 1325"/>
                  <a:gd name="T2" fmla="*/ 0 w 604"/>
                  <a:gd name="T3" fmla="*/ 55 h 1325"/>
                  <a:gd name="T4" fmla="*/ 0 w 604"/>
                  <a:gd name="T5" fmla="*/ 185 h 1325"/>
                  <a:gd name="T6" fmla="*/ 37 w 604"/>
                  <a:gd name="T7" fmla="*/ 185 h 1325"/>
                  <a:gd name="T8" fmla="*/ 37 w 604"/>
                  <a:gd name="T9" fmla="*/ 66 h 1325"/>
                  <a:gd name="T10" fmla="*/ 45 w 604"/>
                  <a:gd name="T11" fmla="*/ 66 h 1325"/>
                  <a:gd name="T12" fmla="*/ 45 w 604"/>
                  <a:gd name="T13" fmla="*/ 396 h 1325"/>
                  <a:gd name="T14" fmla="*/ 94 w 604"/>
                  <a:gd name="T15" fmla="*/ 396 h 1325"/>
                  <a:gd name="T16" fmla="*/ 94 w 604"/>
                  <a:gd name="T17" fmla="*/ 203 h 1325"/>
                  <a:gd name="T18" fmla="*/ 102 w 604"/>
                  <a:gd name="T19" fmla="*/ 203 h 1325"/>
                  <a:gd name="T20" fmla="*/ 102 w 604"/>
                  <a:gd name="T21" fmla="*/ 396 h 1325"/>
                  <a:gd name="T22" fmla="*/ 151 w 604"/>
                  <a:gd name="T23" fmla="*/ 396 h 1325"/>
                  <a:gd name="T24" fmla="*/ 151 w 604"/>
                  <a:gd name="T25" fmla="*/ 66 h 1325"/>
                  <a:gd name="T26" fmla="*/ 160 w 604"/>
                  <a:gd name="T27" fmla="*/ 66 h 1325"/>
                  <a:gd name="T28" fmla="*/ 160 w 604"/>
                  <a:gd name="T29" fmla="*/ 185 h 1325"/>
                  <a:gd name="T30" fmla="*/ 196 w 604"/>
                  <a:gd name="T31" fmla="*/ 185 h 1325"/>
                  <a:gd name="T32" fmla="*/ 196 w 604"/>
                  <a:gd name="T33" fmla="*/ 56 h 1325"/>
                  <a:gd name="T34" fmla="*/ 142 w 604"/>
                  <a:gd name="T35" fmla="*/ 0 h 1325"/>
                  <a:gd name="T36" fmla="*/ 54 w 604"/>
                  <a:gd name="T37" fmla="*/ 0 h 13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4" h="1325">
                    <a:moveTo>
                      <a:pt x="165" y="0"/>
                    </a:moveTo>
                    <a:cubicBezTo>
                      <a:pt x="73" y="0"/>
                      <a:pt x="0" y="76"/>
                      <a:pt x="0" y="170"/>
                    </a:cubicBezTo>
                    <a:cubicBezTo>
                      <a:pt x="0" y="571"/>
                      <a:pt x="0" y="571"/>
                      <a:pt x="0" y="571"/>
                    </a:cubicBezTo>
                    <a:cubicBezTo>
                      <a:pt x="0" y="649"/>
                      <a:pt x="113" y="649"/>
                      <a:pt x="113" y="571"/>
                    </a:cubicBezTo>
                    <a:cubicBezTo>
                      <a:pt x="113" y="204"/>
                      <a:pt x="113" y="204"/>
                      <a:pt x="113" y="204"/>
                    </a:cubicBezTo>
                    <a:cubicBezTo>
                      <a:pt x="139" y="204"/>
                      <a:pt x="139" y="204"/>
                      <a:pt x="139" y="204"/>
                    </a:cubicBezTo>
                    <a:cubicBezTo>
                      <a:pt x="139" y="1221"/>
                      <a:pt x="139" y="1221"/>
                      <a:pt x="139" y="1221"/>
                    </a:cubicBezTo>
                    <a:cubicBezTo>
                      <a:pt x="139" y="1325"/>
                      <a:pt x="289" y="1322"/>
                      <a:pt x="289" y="1221"/>
                    </a:cubicBezTo>
                    <a:cubicBezTo>
                      <a:pt x="289" y="626"/>
                      <a:pt x="289" y="626"/>
                      <a:pt x="289" y="626"/>
                    </a:cubicBezTo>
                    <a:cubicBezTo>
                      <a:pt x="315" y="626"/>
                      <a:pt x="315" y="626"/>
                      <a:pt x="315" y="626"/>
                    </a:cubicBezTo>
                    <a:cubicBezTo>
                      <a:pt x="315" y="1221"/>
                      <a:pt x="315" y="1221"/>
                      <a:pt x="315" y="1221"/>
                    </a:cubicBezTo>
                    <a:cubicBezTo>
                      <a:pt x="315" y="1322"/>
                      <a:pt x="466" y="1325"/>
                      <a:pt x="466" y="1221"/>
                    </a:cubicBezTo>
                    <a:cubicBezTo>
                      <a:pt x="466" y="204"/>
                      <a:pt x="466" y="204"/>
                      <a:pt x="466" y="204"/>
                    </a:cubicBezTo>
                    <a:cubicBezTo>
                      <a:pt x="492" y="204"/>
                      <a:pt x="492" y="204"/>
                      <a:pt x="492" y="204"/>
                    </a:cubicBezTo>
                    <a:cubicBezTo>
                      <a:pt x="492" y="571"/>
                      <a:pt x="492" y="571"/>
                      <a:pt x="492" y="571"/>
                    </a:cubicBezTo>
                    <a:cubicBezTo>
                      <a:pt x="492" y="650"/>
                      <a:pt x="604" y="650"/>
                      <a:pt x="603" y="571"/>
                    </a:cubicBezTo>
                    <a:cubicBezTo>
                      <a:pt x="603" y="172"/>
                      <a:pt x="603" y="172"/>
                      <a:pt x="603" y="172"/>
                    </a:cubicBezTo>
                    <a:cubicBezTo>
                      <a:pt x="603" y="86"/>
                      <a:pt x="537" y="1"/>
                      <a:pt x="437" y="1"/>
                    </a:cubicBez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90" name="Oval 429">
                <a:extLst>
                  <a:ext uri="{FF2B5EF4-FFF2-40B4-BE49-F238E27FC236}"/>
                </a:extLst>
              </p:cNvPr>
              <p:cNvSpPr>
                <a:spLocks noChangeArrowheads="1"/>
              </p:cNvSpPr>
              <p:nvPr/>
            </p:nvSpPr>
            <p:spPr bwMode="auto">
              <a:xfrm>
                <a:off x="1956548" y="5491855"/>
                <a:ext cx="104055" cy="1041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91" name="Line 430">
                <a:extLst>
                  <a:ext uri="{FF2B5EF4-FFF2-40B4-BE49-F238E27FC236}"/>
                </a:extLst>
              </p:cNvPr>
              <p:cNvSpPr>
                <a:spLocks noChangeShapeType="1"/>
              </p:cNvSpPr>
              <p:nvPr/>
            </p:nvSpPr>
            <p:spPr bwMode="auto">
              <a:xfrm>
                <a:off x="200733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192" name="Line 431">
                <a:extLst>
                  <a:ext uri="{FF2B5EF4-FFF2-40B4-BE49-F238E27FC236}"/>
                </a:extLst>
              </p:cNvPr>
              <p:cNvSpPr>
                <a:spLocks noChangeShapeType="1"/>
              </p:cNvSpPr>
              <p:nvPr/>
            </p:nvSpPr>
            <p:spPr bwMode="auto">
              <a:xfrm>
                <a:off x="2007337" y="554395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grpSp>
      </p:grpSp>
      <p:grpSp>
        <p:nvGrpSpPr>
          <p:cNvPr id="66631" name="Group 219"/>
          <p:cNvGrpSpPr>
            <a:grpSpLocks/>
          </p:cNvGrpSpPr>
          <p:nvPr/>
        </p:nvGrpSpPr>
        <p:grpSpPr bwMode="auto">
          <a:xfrm>
            <a:off x="3132138" y="4883150"/>
            <a:ext cx="268287" cy="266700"/>
            <a:chOff x="3219537" y="2969545"/>
            <a:chExt cx="365760" cy="365760"/>
          </a:xfrm>
        </p:grpSpPr>
        <p:sp>
          <p:nvSpPr>
            <p:cNvPr id="194" name="Oval 193">
              <a:extLst>
                <a:ext uri="{FF2B5EF4-FFF2-40B4-BE49-F238E27FC236}"/>
              </a:extLst>
            </p:cNvPr>
            <p:cNvSpPr/>
            <p:nvPr/>
          </p:nvSpPr>
          <p:spPr bwMode="ltGray">
            <a:xfrm>
              <a:off x="3219537" y="2969545"/>
              <a:ext cx="365760" cy="365760"/>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195" name="Group 194">
              <a:extLst>
                <a:ext uri="{FF2B5EF4-FFF2-40B4-BE49-F238E27FC236}"/>
              </a:extLst>
            </p:cNvPr>
            <p:cNvGrpSpPr/>
            <p:nvPr/>
          </p:nvGrpSpPr>
          <p:grpSpPr>
            <a:xfrm>
              <a:off x="3300261" y="2974700"/>
              <a:ext cx="164763" cy="360001"/>
              <a:chOff x="3300261" y="2930304"/>
              <a:chExt cx="164763" cy="461642"/>
            </a:xfrm>
            <a:solidFill>
              <a:srgbClr val="FFFFFF"/>
            </a:solidFill>
          </p:grpSpPr>
          <p:sp>
            <p:nvSpPr>
              <p:cNvPr id="196" name="Freeform 1442">
                <a:extLst>
                  <a:ext uri="{FF2B5EF4-FFF2-40B4-BE49-F238E27FC236}"/>
                </a:extLst>
              </p:cNvPr>
              <p:cNvSpPr>
                <a:spLocks/>
              </p:cNvSpPr>
              <p:nvPr/>
            </p:nvSpPr>
            <p:spPr bwMode="auto">
              <a:xfrm>
                <a:off x="3300261" y="3039377"/>
                <a:ext cx="163611" cy="352569"/>
              </a:xfrm>
              <a:custGeom>
                <a:avLst/>
                <a:gdLst>
                  <a:gd name="T0" fmla="*/ 420 w 1278"/>
                  <a:gd name="T1" fmla="*/ 2270 h 2755"/>
                  <a:gd name="T2" fmla="*/ 311 w 1278"/>
                  <a:gd name="T3" fmla="*/ 2223 h 2755"/>
                  <a:gd name="T4" fmla="*/ 213 w 1278"/>
                  <a:gd name="T5" fmla="*/ 2153 h 2755"/>
                  <a:gd name="T6" fmla="*/ 131 w 1278"/>
                  <a:gd name="T7" fmla="*/ 2063 h 2755"/>
                  <a:gd name="T8" fmla="*/ 67 w 1278"/>
                  <a:gd name="T9" fmla="*/ 1956 h 2755"/>
                  <a:gd name="T10" fmla="*/ 23 w 1278"/>
                  <a:gd name="T11" fmla="*/ 1833 h 2755"/>
                  <a:gd name="T12" fmla="*/ 1 w 1278"/>
                  <a:gd name="T13" fmla="*/ 1698 h 2755"/>
                  <a:gd name="T14" fmla="*/ 7 w 1278"/>
                  <a:gd name="T15" fmla="*/ 1551 h 2755"/>
                  <a:gd name="T16" fmla="*/ 41 w 1278"/>
                  <a:gd name="T17" fmla="*/ 1395 h 2755"/>
                  <a:gd name="T18" fmla="*/ 107 w 1278"/>
                  <a:gd name="T19" fmla="*/ 1235 h 2755"/>
                  <a:gd name="T20" fmla="*/ 170 w 1278"/>
                  <a:gd name="T21" fmla="*/ 1124 h 2755"/>
                  <a:gd name="T22" fmla="*/ 227 w 1278"/>
                  <a:gd name="T23" fmla="*/ 1042 h 2755"/>
                  <a:gd name="T24" fmla="*/ 294 w 1278"/>
                  <a:gd name="T25" fmla="*/ 959 h 2755"/>
                  <a:gd name="T26" fmla="*/ 250 w 1278"/>
                  <a:gd name="T27" fmla="*/ 883 h 2755"/>
                  <a:gd name="T28" fmla="*/ 220 w 1278"/>
                  <a:gd name="T29" fmla="*/ 815 h 2755"/>
                  <a:gd name="T30" fmla="*/ 215 w 1278"/>
                  <a:gd name="T31" fmla="*/ 779 h 2755"/>
                  <a:gd name="T32" fmla="*/ 219 w 1278"/>
                  <a:gd name="T33" fmla="*/ 743 h 2755"/>
                  <a:gd name="T34" fmla="*/ 234 w 1278"/>
                  <a:gd name="T35" fmla="*/ 703 h 2755"/>
                  <a:gd name="T36" fmla="*/ 261 w 1278"/>
                  <a:gd name="T37" fmla="*/ 659 h 2755"/>
                  <a:gd name="T38" fmla="*/ 322 w 1278"/>
                  <a:gd name="T39" fmla="*/ 592 h 2755"/>
                  <a:gd name="T40" fmla="*/ 818 w 1278"/>
                  <a:gd name="T41" fmla="*/ 68 h 2755"/>
                  <a:gd name="T42" fmla="*/ 840 w 1278"/>
                  <a:gd name="T43" fmla="*/ 42 h 2755"/>
                  <a:gd name="T44" fmla="*/ 891 w 1278"/>
                  <a:gd name="T45" fmla="*/ 15 h 2755"/>
                  <a:gd name="T46" fmla="*/ 956 w 1278"/>
                  <a:gd name="T47" fmla="*/ 1 h 2755"/>
                  <a:gd name="T48" fmla="*/ 1025 w 1278"/>
                  <a:gd name="T49" fmla="*/ 4 h 2755"/>
                  <a:gd name="T50" fmla="*/ 1091 w 1278"/>
                  <a:gd name="T51" fmla="*/ 23 h 2755"/>
                  <a:gd name="T52" fmla="*/ 1128 w 1278"/>
                  <a:gd name="T53" fmla="*/ 45 h 2755"/>
                  <a:gd name="T54" fmla="*/ 1167 w 1278"/>
                  <a:gd name="T55" fmla="*/ 80 h 2755"/>
                  <a:gd name="T56" fmla="*/ 1203 w 1278"/>
                  <a:gd name="T57" fmla="*/ 123 h 2755"/>
                  <a:gd name="T58" fmla="*/ 1230 w 1278"/>
                  <a:gd name="T59" fmla="*/ 173 h 2755"/>
                  <a:gd name="T60" fmla="*/ 1252 w 1278"/>
                  <a:gd name="T61" fmla="*/ 232 h 2755"/>
                  <a:gd name="T62" fmla="*/ 1270 w 1278"/>
                  <a:gd name="T63" fmla="*/ 317 h 2755"/>
                  <a:gd name="T64" fmla="*/ 1278 w 1278"/>
                  <a:gd name="T65" fmla="*/ 458 h 2755"/>
                  <a:gd name="T66" fmla="*/ 1262 w 1278"/>
                  <a:gd name="T67" fmla="*/ 608 h 2755"/>
                  <a:gd name="T68" fmla="*/ 1237 w 1278"/>
                  <a:gd name="T69" fmla="*/ 708 h 2755"/>
                  <a:gd name="T70" fmla="*/ 1182 w 1278"/>
                  <a:gd name="T71" fmla="*/ 879 h 2755"/>
                  <a:gd name="T72" fmla="*/ 1152 w 1278"/>
                  <a:gd name="T73" fmla="*/ 1056 h 2755"/>
                  <a:gd name="T74" fmla="*/ 1145 w 1278"/>
                  <a:gd name="T75" fmla="*/ 1238 h 2755"/>
                  <a:gd name="T76" fmla="*/ 1162 w 1278"/>
                  <a:gd name="T77" fmla="*/ 1417 h 2755"/>
                  <a:gd name="T78" fmla="*/ 1199 w 1278"/>
                  <a:gd name="T79" fmla="*/ 1594 h 2755"/>
                  <a:gd name="T80" fmla="*/ 1226 w 1278"/>
                  <a:gd name="T81" fmla="*/ 1698 h 2755"/>
                  <a:gd name="T82" fmla="*/ 1241 w 1278"/>
                  <a:gd name="T83" fmla="*/ 1829 h 2755"/>
                  <a:gd name="T84" fmla="*/ 1234 w 1278"/>
                  <a:gd name="T85" fmla="*/ 1953 h 2755"/>
                  <a:gd name="T86" fmla="*/ 1210 w 1278"/>
                  <a:gd name="T87" fmla="*/ 2075 h 2755"/>
                  <a:gd name="T88" fmla="*/ 1141 w 1278"/>
                  <a:gd name="T89" fmla="*/ 2337 h 2755"/>
                  <a:gd name="T90" fmla="*/ 501 w 1278"/>
                  <a:gd name="T91" fmla="*/ 2748 h 2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78" h="2755">
                    <a:moveTo>
                      <a:pt x="501" y="2748"/>
                    </a:moveTo>
                    <a:lnTo>
                      <a:pt x="420" y="2270"/>
                    </a:lnTo>
                    <a:lnTo>
                      <a:pt x="420" y="2270"/>
                    </a:lnTo>
                    <a:lnTo>
                      <a:pt x="383" y="2257"/>
                    </a:lnTo>
                    <a:lnTo>
                      <a:pt x="346" y="2241"/>
                    </a:lnTo>
                    <a:lnTo>
                      <a:pt x="311" y="2223"/>
                    </a:lnTo>
                    <a:lnTo>
                      <a:pt x="278" y="2201"/>
                    </a:lnTo>
                    <a:lnTo>
                      <a:pt x="245" y="2178"/>
                    </a:lnTo>
                    <a:lnTo>
                      <a:pt x="213" y="2153"/>
                    </a:lnTo>
                    <a:lnTo>
                      <a:pt x="185" y="2125"/>
                    </a:lnTo>
                    <a:lnTo>
                      <a:pt x="157" y="2096"/>
                    </a:lnTo>
                    <a:lnTo>
                      <a:pt x="131" y="2063"/>
                    </a:lnTo>
                    <a:lnTo>
                      <a:pt x="108" y="2029"/>
                    </a:lnTo>
                    <a:lnTo>
                      <a:pt x="86" y="1993"/>
                    </a:lnTo>
                    <a:lnTo>
                      <a:pt x="67" y="1956"/>
                    </a:lnTo>
                    <a:lnTo>
                      <a:pt x="49" y="1917"/>
                    </a:lnTo>
                    <a:lnTo>
                      <a:pt x="36" y="1875"/>
                    </a:lnTo>
                    <a:lnTo>
                      <a:pt x="23" y="1833"/>
                    </a:lnTo>
                    <a:lnTo>
                      <a:pt x="12" y="1789"/>
                    </a:lnTo>
                    <a:lnTo>
                      <a:pt x="6" y="1744"/>
                    </a:lnTo>
                    <a:lnTo>
                      <a:pt x="1" y="1698"/>
                    </a:lnTo>
                    <a:lnTo>
                      <a:pt x="0" y="1650"/>
                    </a:lnTo>
                    <a:lnTo>
                      <a:pt x="1" y="1600"/>
                    </a:lnTo>
                    <a:lnTo>
                      <a:pt x="7" y="1551"/>
                    </a:lnTo>
                    <a:lnTo>
                      <a:pt x="15" y="1501"/>
                    </a:lnTo>
                    <a:lnTo>
                      <a:pt x="26" y="1449"/>
                    </a:lnTo>
                    <a:lnTo>
                      <a:pt x="41" y="1395"/>
                    </a:lnTo>
                    <a:lnTo>
                      <a:pt x="59" y="1343"/>
                    </a:lnTo>
                    <a:lnTo>
                      <a:pt x="81" y="1288"/>
                    </a:lnTo>
                    <a:lnTo>
                      <a:pt x="107" y="1235"/>
                    </a:lnTo>
                    <a:lnTo>
                      <a:pt x="136" y="1180"/>
                    </a:lnTo>
                    <a:lnTo>
                      <a:pt x="152" y="1153"/>
                    </a:lnTo>
                    <a:lnTo>
                      <a:pt x="170" y="1124"/>
                    </a:lnTo>
                    <a:lnTo>
                      <a:pt x="187" y="1097"/>
                    </a:lnTo>
                    <a:lnTo>
                      <a:pt x="207" y="1070"/>
                    </a:lnTo>
                    <a:lnTo>
                      <a:pt x="227" y="1042"/>
                    </a:lnTo>
                    <a:lnTo>
                      <a:pt x="249" y="1013"/>
                    </a:lnTo>
                    <a:lnTo>
                      <a:pt x="271" y="986"/>
                    </a:lnTo>
                    <a:lnTo>
                      <a:pt x="294" y="959"/>
                    </a:lnTo>
                    <a:lnTo>
                      <a:pt x="294" y="959"/>
                    </a:lnTo>
                    <a:lnTo>
                      <a:pt x="264" y="907"/>
                    </a:lnTo>
                    <a:lnTo>
                      <a:pt x="250" y="883"/>
                    </a:lnTo>
                    <a:lnTo>
                      <a:pt x="238" y="860"/>
                    </a:lnTo>
                    <a:lnTo>
                      <a:pt x="227" y="837"/>
                    </a:lnTo>
                    <a:lnTo>
                      <a:pt x="220" y="815"/>
                    </a:lnTo>
                    <a:lnTo>
                      <a:pt x="218" y="803"/>
                    </a:lnTo>
                    <a:lnTo>
                      <a:pt x="216" y="792"/>
                    </a:lnTo>
                    <a:lnTo>
                      <a:pt x="215" y="779"/>
                    </a:lnTo>
                    <a:lnTo>
                      <a:pt x="215" y="769"/>
                    </a:lnTo>
                    <a:lnTo>
                      <a:pt x="216" y="756"/>
                    </a:lnTo>
                    <a:lnTo>
                      <a:pt x="219" y="743"/>
                    </a:lnTo>
                    <a:lnTo>
                      <a:pt x="223" y="730"/>
                    </a:lnTo>
                    <a:lnTo>
                      <a:pt x="227" y="717"/>
                    </a:lnTo>
                    <a:lnTo>
                      <a:pt x="234" y="703"/>
                    </a:lnTo>
                    <a:lnTo>
                      <a:pt x="242" y="689"/>
                    </a:lnTo>
                    <a:lnTo>
                      <a:pt x="250" y="674"/>
                    </a:lnTo>
                    <a:lnTo>
                      <a:pt x="261" y="659"/>
                    </a:lnTo>
                    <a:lnTo>
                      <a:pt x="274" y="644"/>
                    </a:lnTo>
                    <a:lnTo>
                      <a:pt x="289" y="628"/>
                    </a:lnTo>
                    <a:lnTo>
                      <a:pt x="322" y="592"/>
                    </a:lnTo>
                    <a:lnTo>
                      <a:pt x="363" y="554"/>
                    </a:lnTo>
                    <a:lnTo>
                      <a:pt x="412" y="513"/>
                    </a:lnTo>
                    <a:lnTo>
                      <a:pt x="818" y="68"/>
                    </a:lnTo>
                    <a:lnTo>
                      <a:pt x="818" y="68"/>
                    </a:lnTo>
                    <a:lnTo>
                      <a:pt x="828" y="54"/>
                    </a:lnTo>
                    <a:lnTo>
                      <a:pt x="840" y="42"/>
                    </a:lnTo>
                    <a:lnTo>
                      <a:pt x="855" y="31"/>
                    </a:lnTo>
                    <a:lnTo>
                      <a:pt x="872" y="21"/>
                    </a:lnTo>
                    <a:lnTo>
                      <a:pt x="891" y="15"/>
                    </a:lnTo>
                    <a:lnTo>
                      <a:pt x="911" y="8"/>
                    </a:lnTo>
                    <a:lnTo>
                      <a:pt x="933" y="4"/>
                    </a:lnTo>
                    <a:lnTo>
                      <a:pt x="956" y="1"/>
                    </a:lnTo>
                    <a:lnTo>
                      <a:pt x="978" y="0"/>
                    </a:lnTo>
                    <a:lnTo>
                      <a:pt x="1002" y="1"/>
                    </a:lnTo>
                    <a:lnTo>
                      <a:pt x="1025" y="4"/>
                    </a:lnTo>
                    <a:lnTo>
                      <a:pt x="1048" y="8"/>
                    </a:lnTo>
                    <a:lnTo>
                      <a:pt x="1070" y="15"/>
                    </a:lnTo>
                    <a:lnTo>
                      <a:pt x="1091" y="23"/>
                    </a:lnTo>
                    <a:lnTo>
                      <a:pt x="1110" y="32"/>
                    </a:lnTo>
                    <a:lnTo>
                      <a:pt x="1128" y="45"/>
                    </a:lnTo>
                    <a:lnTo>
                      <a:pt x="1128" y="45"/>
                    </a:lnTo>
                    <a:lnTo>
                      <a:pt x="1141" y="56"/>
                    </a:lnTo>
                    <a:lnTo>
                      <a:pt x="1155" y="67"/>
                    </a:lnTo>
                    <a:lnTo>
                      <a:pt x="1167" y="80"/>
                    </a:lnTo>
                    <a:lnTo>
                      <a:pt x="1180" y="93"/>
                    </a:lnTo>
                    <a:lnTo>
                      <a:pt x="1192" y="108"/>
                    </a:lnTo>
                    <a:lnTo>
                      <a:pt x="1203" y="123"/>
                    </a:lnTo>
                    <a:lnTo>
                      <a:pt x="1212" y="139"/>
                    </a:lnTo>
                    <a:lnTo>
                      <a:pt x="1222" y="156"/>
                    </a:lnTo>
                    <a:lnTo>
                      <a:pt x="1230" y="173"/>
                    </a:lnTo>
                    <a:lnTo>
                      <a:pt x="1238" y="192"/>
                    </a:lnTo>
                    <a:lnTo>
                      <a:pt x="1245" y="212"/>
                    </a:lnTo>
                    <a:lnTo>
                      <a:pt x="1252" y="232"/>
                    </a:lnTo>
                    <a:lnTo>
                      <a:pt x="1257" y="253"/>
                    </a:lnTo>
                    <a:lnTo>
                      <a:pt x="1262" y="273"/>
                    </a:lnTo>
                    <a:lnTo>
                      <a:pt x="1270" y="317"/>
                    </a:lnTo>
                    <a:lnTo>
                      <a:pt x="1275" y="362"/>
                    </a:lnTo>
                    <a:lnTo>
                      <a:pt x="1278" y="410"/>
                    </a:lnTo>
                    <a:lnTo>
                      <a:pt x="1278" y="458"/>
                    </a:lnTo>
                    <a:lnTo>
                      <a:pt x="1275" y="507"/>
                    </a:lnTo>
                    <a:lnTo>
                      <a:pt x="1270" y="558"/>
                    </a:lnTo>
                    <a:lnTo>
                      <a:pt x="1262" y="608"/>
                    </a:lnTo>
                    <a:lnTo>
                      <a:pt x="1251" y="658"/>
                    </a:lnTo>
                    <a:lnTo>
                      <a:pt x="1237" y="708"/>
                    </a:lnTo>
                    <a:lnTo>
                      <a:pt x="1237" y="708"/>
                    </a:lnTo>
                    <a:lnTo>
                      <a:pt x="1216" y="764"/>
                    </a:lnTo>
                    <a:lnTo>
                      <a:pt x="1197" y="821"/>
                    </a:lnTo>
                    <a:lnTo>
                      <a:pt x="1182" y="879"/>
                    </a:lnTo>
                    <a:lnTo>
                      <a:pt x="1170" y="937"/>
                    </a:lnTo>
                    <a:lnTo>
                      <a:pt x="1159" y="997"/>
                    </a:lnTo>
                    <a:lnTo>
                      <a:pt x="1152" y="1056"/>
                    </a:lnTo>
                    <a:lnTo>
                      <a:pt x="1147" y="1116"/>
                    </a:lnTo>
                    <a:lnTo>
                      <a:pt x="1145" y="1176"/>
                    </a:lnTo>
                    <a:lnTo>
                      <a:pt x="1145" y="1238"/>
                    </a:lnTo>
                    <a:lnTo>
                      <a:pt x="1148" y="1298"/>
                    </a:lnTo>
                    <a:lnTo>
                      <a:pt x="1154" y="1358"/>
                    </a:lnTo>
                    <a:lnTo>
                      <a:pt x="1162" y="1417"/>
                    </a:lnTo>
                    <a:lnTo>
                      <a:pt x="1171" y="1477"/>
                    </a:lnTo>
                    <a:lnTo>
                      <a:pt x="1184" y="1536"/>
                    </a:lnTo>
                    <a:lnTo>
                      <a:pt x="1199" y="1594"/>
                    </a:lnTo>
                    <a:lnTo>
                      <a:pt x="1215" y="1651"/>
                    </a:lnTo>
                    <a:lnTo>
                      <a:pt x="1215" y="1651"/>
                    </a:lnTo>
                    <a:lnTo>
                      <a:pt x="1226" y="1698"/>
                    </a:lnTo>
                    <a:lnTo>
                      <a:pt x="1234" y="1743"/>
                    </a:lnTo>
                    <a:lnTo>
                      <a:pt x="1240" y="1787"/>
                    </a:lnTo>
                    <a:lnTo>
                      <a:pt x="1241" y="1829"/>
                    </a:lnTo>
                    <a:lnTo>
                      <a:pt x="1241" y="1871"/>
                    </a:lnTo>
                    <a:lnTo>
                      <a:pt x="1238" y="1912"/>
                    </a:lnTo>
                    <a:lnTo>
                      <a:pt x="1234" y="1953"/>
                    </a:lnTo>
                    <a:lnTo>
                      <a:pt x="1227" y="1993"/>
                    </a:lnTo>
                    <a:lnTo>
                      <a:pt x="1219" y="2034"/>
                    </a:lnTo>
                    <a:lnTo>
                      <a:pt x="1210" y="2075"/>
                    </a:lnTo>
                    <a:lnTo>
                      <a:pt x="1189" y="2157"/>
                    </a:lnTo>
                    <a:lnTo>
                      <a:pt x="1166" y="2245"/>
                    </a:lnTo>
                    <a:lnTo>
                      <a:pt x="1141" y="2337"/>
                    </a:lnTo>
                    <a:lnTo>
                      <a:pt x="1060" y="2755"/>
                    </a:lnTo>
                    <a:lnTo>
                      <a:pt x="501" y="2748"/>
                    </a:lnTo>
                    <a:lnTo>
                      <a:pt x="501" y="27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sp>
            <p:nvSpPr>
              <p:cNvPr id="197" name="Freeform 1444">
                <a:extLst>
                  <a:ext uri="{FF2B5EF4-FFF2-40B4-BE49-F238E27FC236}"/>
                </a:extLst>
              </p:cNvPr>
              <p:cNvSpPr>
                <a:spLocks/>
              </p:cNvSpPr>
              <p:nvPr/>
            </p:nvSpPr>
            <p:spPr bwMode="auto">
              <a:xfrm>
                <a:off x="3380530" y="2930304"/>
                <a:ext cx="84494" cy="104849"/>
              </a:xfrm>
              <a:custGeom>
                <a:avLst/>
                <a:gdLst>
                  <a:gd name="T0" fmla="*/ 660 w 660"/>
                  <a:gd name="T1" fmla="*/ 409 h 817"/>
                  <a:gd name="T2" fmla="*/ 657 w 660"/>
                  <a:gd name="T3" fmla="*/ 450 h 817"/>
                  <a:gd name="T4" fmla="*/ 653 w 660"/>
                  <a:gd name="T5" fmla="*/ 491 h 817"/>
                  <a:gd name="T6" fmla="*/ 645 w 660"/>
                  <a:gd name="T7" fmla="*/ 529 h 817"/>
                  <a:gd name="T8" fmla="*/ 620 w 660"/>
                  <a:gd name="T9" fmla="*/ 603 h 817"/>
                  <a:gd name="T10" fmla="*/ 585 w 660"/>
                  <a:gd name="T11" fmla="*/ 668 h 817"/>
                  <a:gd name="T12" fmla="*/ 563 w 660"/>
                  <a:gd name="T13" fmla="*/ 696 h 817"/>
                  <a:gd name="T14" fmla="*/ 539 w 660"/>
                  <a:gd name="T15" fmla="*/ 724 h 817"/>
                  <a:gd name="T16" fmla="*/ 515 w 660"/>
                  <a:gd name="T17" fmla="*/ 747 h 817"/>
                  <a:gd name="T18" fmla="*/ 487 w 660"/>
                  <a:gd name="T19" fmla="*/ 767 h 817"/>
                  <a:gd name="T20" fmla="*/ 459 w 660"/>
                  <a:gd name="T21" fmla="*/ 784 h 817"/>
                  <a:gd name="T22" fmla="*/ 429 w 660"/>
                  <a:gd name="T23" fmla="*/ 798 h 817"/>
                  <a:gd name="T24" fmla="*/ 396 w 660"/>
                  <a:gd name="T25" fmla="*/ 809 h 817"/>
                  <a:gd name="T26" fmla="*/ 364 w 660"/>
                  <a:gd name="T27" fmla="*/ 814 h 817"/>
                  <a:gd name="T28" fmla="*/ 330 w 660"/>
                  <a:gd name="T29" fmla="*/ 817 h 817"/>
                  <a:gd name="T30" fmla="*/ 314 w 660"/>
                  <a:gd name="T31" fmla="*/ 815 h 817"/>
                  <a:gd name="T32" fmla="*/ 279 w 660"/>
                  <a:gd name="T33" fmla="*/ 811 h 817"/>
                  <a:gd name="T34" fmla="*/ 248 w 660"/>
                  <a:gd name="T35" fmla="*/ 803 h 817"/>
                  <a:gd name="T36" fmla="*/ 217 w 660"/>
                  <a:gd name="T37" fmla="*/ 792 h 817"/>
                  <a:gd name="T38" fmla="*/ 188 w 660"/>
                  <a:gd name="T39" fmla="*/ 776 h 817"/>
                  <a:gd name="T40" fmla="*/ 159 w 660"/>
                  <a:gd name="T41" fmla="*/ 758 h 817"/>
                  <a:gd name="T42" fmla="*/ 133 w 660"/>
                  <a:gd name="T43" fmla="*/ 736 h 817"/>
                  <a:gd name="T44" fmla="*/ 108 w 660"/>
                  <a:gd name="T45" fmla="*/ 710 h 817"/>
                  <a:gd name="T46" fmla="*/ 87 w 660"/>
                  <a:gd name="T47" fmla="*/ 683 h 817"/>
                  <a:gd name="T48" fmla="*/ 56 w 660"/>
                  <a:gd name="T49" fmla="*/ 636 h 817"/>
                  <a:gd name="T50" fmla="*/ 26 w 660"/>
                  <a:gd name="T51" fmla="*/ 568 h 817"/>
                  <a:gd name="T52" fmla="*/ 11 w 660"/>
                  <a:gd name="T53" fmla="*/ 510 h 817"/>
                  <a:gd name="T54" fmla="*/ 4 w 660"/>
                  <a:gd name="T55" fmla="*/ 471 h 817"/>
                  <a:gd name="T56" fmla="*/ 2 w 660"/>
                  <a:gd name="T57" fmla="*/ 429 h 817"/>
                  <a:gd name="T58" fmla="*/ 0 w 660"/>
                  <a:gd name="T59" fmla="*/ 409 h 817"/>
                  <a:gd name="T60" fmla="*/ 3 w 660"/>
                  <a:gd name="T61" fmla="*/ 367 h 817"/>
                  <a:gd name="T62" fmla="*/ 7 w 660"/>
                  <a:gd name="T63" fmla="*/ 327 h 817"/>
                  <a:gd name="T64" fmla="*/ 15 w 660"/>
                  <a:gd name="T65" fmla="*/ 287 h 817"/>
                  <a:gd name="T66" fmla="*/ 40 w 660"/>
                  <a:gd name="T67" fmla="*/ 213 h 817"/>
                  <a:gd name="T68" fmla="*/ 76 w 660"/>
                  <a:gd name="T69" fmla="*/ 149 h 817"/>
                  <a:gd name="T70" fmla="*/ 97 w 660"/>
                  <a:gd name="T71" fmla="*/ 120 h 817"/>
                  <a:gd name="T72" fmla="*/ 121 w 660"/>
                  <a:gd name="T73" fmla="*/ 93 h 817"/>
                  <a:gd name="T74" fmla="*/ 145 w 660"/>
                  <a:gd name="T75" fmla="*/ 70 h 817"/>
                  <a:gd name="T76" fmla="*/ 173 w 660"/>
                  <a:gd name="T77" fmla="*/ 49 h 817"/>
                  <a:gd name="T78" fmla="*/ 201 w 660"/>
                  <a:gd name="T79" fmla="*/ 33 h 817"/>
                  <a:gd name="T80" fmla="*/ 232 w 660"/>
                  <a:gd name="T81" fmla="*/ 19 h 817"/>
                  <a:gd name="T82" fmla="*/ 264 w 660"/>
                  <a:gd name="T83" fmla="*/ 8 h 817"/>
                  <a:gd name="T84" fmla="*/ 296 w 660"/>
                  <a:gd name="T85" fmla="*/ 3 h 817"/>
                  <a:gd name="T86" fmla="*/ 330 w 660"/>
                  <a:gd name="T87" fmla="*/ 0 h 817"/>
                  <a:gd name="T88" fmla="*/ 347 w 660"/>
                  <a:gd name="T89" fmla="*/ 1 h 817"/>
                  <a:gd name="T90" fmla="*/ 381 w 660"/>
                  <a:gd name="T91" fmla="*/ 5 h 817"/>
                  <a:gd name="T92" fmla="*/ 412 w 660"/>
                  <a:gd name="T93" fmla="*/ 14 h 817"/>
                  <a:gd name="T94" fmla="*/ 444 w 660"/>
                  <a:gd name="T95" fmla="*/ 24 h 817"/>
                  <a:gd name="T96" fmla="*/ 472 w 660"/>
                  <a:gd name="T97" fmla="*/ 41 h 817"/>
                  <a:gd name="T98" fmla="*/ 501 w 660"/>
                  <a:gd name="T99" fmla="*/ 60 h 817"/>
                  <a:gd name="T100" fmla="*/ 527 w 660"/>
                  <a:gd name="T101" fmla="*/ 82 h 817"/>
                  <a:gd name="T102" fmla="*/ 552 w 660"/>
                  <a:gd name="T103" fmla="*/ 107 h 817"/>
                  <a:gd name="T104" fmla="*/ 574 w 660"/>
                  <a:gd name="T105" fmla="*/ 134 h 817"/>
                  <a:gd name="T106" fmla="*/ 604 w 660"/>
                  <a:gd name="T107" fmla="*/ 180 h 817"/>
                  <a:gd name="T108" fmla="*/ 634 w 660"/>
                  <a:gd name="T109" fmla="*/ 250 h 817"/>
                  <a:gd name="T110" fmla="*/ 649 w 660"/>
                  <a:gd name="T111" fmla="*/ 306 h 817"/>
                  <a:gd name="T112" fmla="*/ 656 w 660"/>
                  <a:gd name="T113" fmla="*/ 346 h 817"/>
                  <a:gd name="T114" fmla="*/ 658 w 660"/>
                  <a:gd name="T115" fmla="*/ 387 h 817"/>
                  <a:gd name="T116" fmla="*/ 660 w 660"/>
                  <a:gd name="T117" fmla="*/ 409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0" h="817">
                    <a:moveTo>
                      <a:pt x="660" y="409"/>
                    </a:moveTo>
                    <a:lnTo>
                      <a:pt x="660" y="409"/>
                    </a:lnTo>
                    <a:lnTo>
                      <a:pt x="658" y="429"/>
                    </a:lnTo>
                    <a:lnTo>
                      <a:pt x="657" y="450"/>
                    </a:lnTo>
                    <a:lnTo>
                      <a:pt x="656" y="471"/>
                    </a:lnTo>
                    <a:lnTo>
                      <a:pt x="653" y="491"/>
                    </a:lnTo>
                    <a:lnTo>
                      <a:pt x="649" y="510"/>
                    </a:lnTo>
                    <a:lnTo>
                      <a:pt x="645" y="529"/>
                    </a:lnTo>
                    <a:lnTo>
                      <a:pt x="634" y="568"/>
                    </a:lnTo>
                    <a:lnTo>
                      <a:pt x="620" y="603"/>
                    </a:lnTo>
                    <a:lnTo>
                      <a:pt x="604" y="636"/>
                    </a:lnTo>
                    <a:lnTo>
                      <a:pt x="585" y="668"/>
                    </a:lnTo>
                    <a:lnTo>
                      <a:pt x="574" y="683"/>
                    </a:lnTo>
                    <a:lnTo>
                      <a:pt x="563" y="696"/>
                    </a:lnTo>
                    <a:lnTo>
                      <a:pt x="552" y="710"/>
                    </a:lnTo>
                    <a:lnTo>
                      <a:pt x="539" y="724"/>
                    </a:lnTo>
                    <a:lnTo>
                      <a:pt x="527" y="736"/>
                    </a:lnTo>
                    <a:lnTo>
                      <a:pt x="515" y="747"/>
                    </a:lnTo>
                    <a:lnTo>
                      <a:pt x="501" y="758"/>
                    </a:lnTo>
                    <a:lnTo>
                      <a:pt x="487" y="767"/>
                    </a:lnTo>
                    <a:lnTo>
                      <a:pt x="472" y="776"/>
                    </a:lnTo>
                    <a:lnTo>
                      <a:pt x="459" y="784"/>
                    </a:lnTo>
                    <a:lnTo>
                      <a:pt x="444" y="792"/>
                    </a:lnTo>
                    <a:lnTo>
                      <a:pt x="429" y="798"/>
                    </a:lnTo>
                    <a:lnTo>
                      <a:pt x="412" y="803"/>
                    </a:lnTo>
                    <a:lnTo>
                      <a:pt x="396" y="809"/>
                    </a:lnTo>
                    <a:lnTo>
                      <a:pt x="381" y="811"/>
                    </a:lnTo>
                    <a:lnTo>
                      <a:pt x="364" y="814"/>
                    </a:lnTo>
                    <a:lnTo>
                      <a:pt x="347" y="815"/>
                    </a:lnTo>
                    <a:lnTo>
                      <a:pt x="330" y="817"/>
                    </a:lnTo>
                    <a:lnTo>
                      <a:pt x="330" y="817"/>
                    </a:lnTo>
                    <a:lnTo>
                      <a:pt x="314" y="815"/>
                    </a:lnTo>
                    <a:lnTo>
                      <a:pt x="296" y="814"/>
                    </a:lnTo>
                    <a:lnTo>
                      <a:pt x="279" y="811"/>
                    </a:lnTo>
                    <a:lnTo>
                      <a:pt x="264" y="809"/>
                    </a:lnTo>
                    <a:lnTo>
                      <a:pt x="248" y="803"/>
                    </a:lnTo>
                    <a:lnTo>
                      <a:pt x="232" y="798"/>
                    </a:lnTo>
                    <a:lnTo>
                      <a:pt x="217" y="792"/>
                    </a:lnTo>
                    <a:lnTo>
                      <a:pt x="201" y="784"/>
                    </a:lnTo>
                    <a:lnTo>
                      <a:pt x="188" y="776"/>
                    </a:lnTo>
                    <a:lnTo>
                      <a:pt x="173" y="767"/>
                    </a:lnTo>
                    <a:lnTo>
                      <a:pt x="159" y="758"/>
                    </a:lnTo>
                    <a:lnTo>
                      <a:pt x="145" y="747"/>
                    </a:lnTo>
                    <a:lnTo>
                      <a:pt x="133" y="736"/>
                    </a:lnTo>
                    <a:lnTo>
                      <a:pt x="121" y="724"/>
                    </a:lnTo>
                    <a:lnTo>
                      <a:pt x="108" y="710"/>
                    </a:lnTo>
                    <a:lnTo>
                      <a:pt x="97" y="696"/>
                    </a:lnTo>
                    <a:lnTo>
                      <a:pt x="87" y="683"/>
                    </a:lnTo>
                    <a:lnTo>
                      <a:pt x="76" y="668"/>
                    </a:lnTo>
                    <a:lnTo>
                      <a:pt x="56" y="636"/>
                    </a:lnTo>
                    <a:lnTo>
                      <a:pt x="40" y="603"/>
                    </a:lnTo>
                    <a:lnTo>
                      <a:pt x="26" y="568"/>
                    </a:lnTo>
                    <a:lnTo>
                      <a:pt x="15" y="529"/>
                    </a:lnTo>
                    <a:lnTo>
                      <a:pt x="11" y="510"/>
                    </a:lnTo>
                    <a:lnTo>
                      <a:pt x="7" y="491"/>
                    </a:lnTo>
                    <a:lnTo>
                      <a:pt x="4" y="471"/>
                    </a:lnTo>
                    <a:lnTo>
                      <a:pt x="3" y="450"/>
                    </a:lnTo>
                    <a:lnTo>
                      <a:pt x="2" y="429"/>
                    </a:lnTo>
                    <a:lnTo>
                      <a:pt x="0" y="409"/>
                    </a:lnTo>
                    <a:lnTo>
                      <a:pt x="0" y="409"/>
                    </a:lnTo>
                    <a:lnTo>
                      <a:pt x="2" y="387"/>
                    </a:lnTo>
                    <a:lnTo>
                      <a:pt x="3" y="367"/>
                    </a:lnTo>
                    <a:lnTo>
                      <a:pt x="4" y="346"/>
                    </a:lnTo>
                    <a:lnTo>
                      <a:pt x="7" y="327"/>
                    </a:lnTo>
                    <a:lnTo>
                      <a:pt x="11" y="306"/>
                    </a:lnTo>
                    <a:lnTo>
                      <a:pt x="15" y="287"/>
                    </a:lnTo>
                    <a:lnTo>
                      <a:pt x="26" y="250"/>
                    </a:lnTo>
                    <a:lnTo>
                      <a:pt x="40" y="213"/>
                    </a:lnTo>
                    <a:lnTo>
                      <a:pt x="56" y="180"/>
                    </a:lnTo>
                    <a:lnTo>
                      <a:pt x="76" y="149"/>
                    </a:lnTo>
                    <a:lnTo>
                      <a:pt x="87" y="134"/>
                    </a:lnTo>
                    <a:lnTo>
                      <a:pt x="97" y="120"/>
                    </a:lnTo>
                    <a:lnTo>
                      <a:pt x="108" y="107"/>
                    </a:lnTo>
                    <a:lnTo>
                      <a:pt x="121" y="93"/>
                    </a:lnTo>
                    <a:lnTo>
                      <a:pt x="133" y="82"/>
                    </a:lnTo>
                    <a:lnTo>
                      <a:pt x="145" y="70"/>
                    </a:lnTo>
                    <a:lnTo>
                      <a:pt x="159" y="60"/>
                    </a:lnTo>
                    <a:lnTo>
                      <a:pt x="173" y="49"/>
                    </a:lnTo>
                    <a:lnTo>
                      <a:pt x="188" y="41"/>
                    </a:lnTo>
                    <a:lnTo>
                      <a:pt x="201" y="33"/>
                    </a:lnTo>
                    <a:lnTo>
                      <a:pt x="217" y="24"/>
                    </a:lnTo>
                    <a:lnTo>
                      <a:pt x="232" y="19"/>
                    </a:lnTo>
                    <a:lnTo>
                      <a:pt x="248" y="14"/>
                    </a:lnTo>
                    <a:lnTo>
                      <a:pt x="264" y="8"/>
                    </a:lnTo>
                    <a:lnTo>
                      <a:pt x="279" y="5"/>
                    </a:lnTo>
                    <a:lnTo>
                      <a:pt x="296" y="3"/>
                    </a:lnTo>
                    <a:lnTo>
                      <a:pt x="314" y="1"/>
                    </a:lnTo>
                    <a:lnTo>
                      <a:pt x="330" y="0"/>
                    </a:lnTo>
                    <a:lnTo>
                      <a:pt x="330" y="0"/>
                    </a:lnTo>
                    <a:lnTo>
                      <a:pt x="347" y="1"/>
                    </a:lnTo>
                    <a:lnTo>
                      <a:pt x="364" y="3"/>
                    </a:lnTo>
                    <a:lnTo>
                      <a:pt x="381" y="5"/>
                    </a:lnTo>
                    <a:lnTo>
                      <a:pt x="396" y="8"/>
                    </a:lnTo>
                    <a:lnTo>
                      <a:pt x="412" y="14"/>
                    </a:lnTo>
                    <a:lnTo>
                      <a:pt x="429" y="19"/>
                    </a:lnTo>
                    <a:lnTo>
                      <a:pt x="444" y="24"/>
                    </a:lnTo>
                    <a:lnTo>
                      <a:pt x="459" y="33"/>
                    </a:lnTo>
                    <a:lnTo>
                      <a:pt x="472" y="41"/>
                    </a:lnTo>
                    <a:lnTo>
                      <a:pt x="487" y="49"/>
                    </a:lnTo>
                    <a:lnTo>
                      <a:pt x="501" y="60"/>
                    </a:lnTo>
                    <a:lnTo>
                      <a:pt x="515" y="70"/>
                    </a:lnTo>
                    <a:lnTo>
                      <a:pt x="527" y="82"/>
                    </a:lnTo>
                    <a:lnTo>
                      <a:pt x="539" y="93"/>
                    </a:lnTo>
                    <a:lnTo>
                      <a:pt x="552" y="107"/>
                    </a:lnTo>
                    <a:lnTo>
                      <a:pt x="563" y="120"/>
                    </a:lnTo>
                    <a:lnTo>
                      <a:pt x="574" y="134"/>
                    </a:lnTo>
                    <a:lnTo>
                      <a:pt x="585" y="149"/>
                    </a:lnTo>
                    <a:lnTo>
                      <a:pt x="604" y="180"/>
                    </a:lnTo>
                    <a:lnTo>
                      <a:pt x="620" y="213"/>
                    </a:lnTo>
                    <a:lnTo>
                      <a:pt x="634" y="250"/>
                    </a:lnTo>
                    <a:lnTo>
                      <a:pt x="645" y="287"/>
                    </a:lnTo>
                    <a:lnTo>
                      <a:pt x="649" y="306"/>
                    </a:lnTo>
                    <a:lnTo>
                      <a:pt x="653" y="327"/>
                    </a:lnTo>
                    <a:lnTo>
                      <a:pt x="656" y="346"/>
                    </a:lnTo>
                    <a:lnTo>
                      <a:pt x="657" y="367"/>
                    </a:lnTo>
                    <a:lnTo>
                      <a:pt x="658" y="387"/>
                    </a:lnTo>
                    <a:lnTo>
                      <a:pt x="660" y="409"/>
                    </a:lnTo>
                    <a:lnTo>
                      <a:pt x="660" y="4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grpSp>
        <p:nvGrpSpPr>
          <p:cNvPr id="66632" name="Group 224"/>
          <p:cNvGrpSpPr>
            <a:grpSpLocks/>
          </p:cNvGrpSpPr>
          <p:nvPr/>
        </p:nvGrpSpPr>
        <p:grpSpPr bwMode="auto">
          <a:xfrm>
            <a:off x="3138488" y="5568950"/>
            <a:ext cx="268287" cy="268288"/>
            <a:chOff x="3205770" y="5184600"/>
            <a:chExt cx="267801" cy="267801"/>
          </a:xfrm>
        </p:grpSpPr>
        <p:sp>
          <p:nvSpPr>
            <p:cNvPr id="199" name="Oval 198">
              <a:extLst>
                <a:ext uri="{FF2B5EF4-FFF2-40B4-BE49-F238E27FC236}"/>
              </a:extLst>
            </p:cNvPr>
            <p:cNvSpPr/>
            <p:nvPr/>
          </p:nvSpPr>
          <p:spPr bwMode="ltGray">
            <a:xfrm>
              <a:off x="3205770" y="5184600"/>
              <a:ext cx="267801" cy="267801"/>
            </a:xfrm>
            <a:prstGeom prst="ellipse">
              <a:avLst/>
            </a:prstGeom>
            <a:solidFill>
              <a:srgbClr val="96005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66668" name="Group 226"/>
            <p:cNvGrpSpPr>
              <a:grpSpLocks/>
            </p:cNvGrpSpPr>
            <p:nvPr/>
          </p:nvGrpSpPr>
          <p:grpSpPr bwMode="auto">
            <a:xfrm>
              <a:off x="3244019" y="5226480"/>
              <a:ext cx="191998" cy="170665"/>
              <a:chOff x="3259310" y="3529577"/>
              <a:chExt cx="385024" cy="364141"/>
            </a:xfrm>
          </p:grpSpPr>
          <p:sp>
            <p:nvSpPr>
              <p:cNvPr id="201" name="Freeform 1596">
                <a:extLst>
                  <a:ext uri="{FF2B5EF4-FFF2-40B4-BE49-F238E27FC236}"/>
                </a:extLst>
              </p:cNvPr>
              <p:cNvSpPr>
                <a:spLocks noEditPoints="1"/>
              </p:cNvSpPr>
              <p:nvPr/>
            </p:nvSpPr>
            <p:spPr bwMode="auto">
              <a:xfrm>
                <a:off x="3258874" y="3528127"/>
                <a:ext cx="184309" cy="365153"/>
              </a:xfrm>
              <a:custGeom>
                <a:avLst/>
                <a:gdLst>
                  <a:gd name="T0" fmla="*/ 78 w 284"/>
                  <a:gd name="T1" fmla="*/ 118 h 558"/>
                  <a:gd name="T2" fmla="*/ 68 w 284"/>
                  <a:gd name="T3" fmla="*/ 130 h 558"/>
                  <a:gd name="T4" fmla="*/ 2 w 284"/>
                  <a:gd name="T5" fmla="*/ 296 h 558"/>
                  <a:gd name="T6" fmla="*/ 6 w 284"/>
                  <a:gd name="T7" fmla="*/ 318 h 558"/>
                  <a:gd name="T8" fmla="*/ 12 w 284"/>
                  <a:gd name="T9" fmla="*/ 322 h 558"/>
                  <a:gd name="T10" fmla="*/ 34 w 284"/>
                  <a:gd name="T11" fmla="*/ 316 h 558"/>
                  <a:gd name="T12" fmla="*/ 84 w 284"/>
                  <a:gd name="T13" fmla="*/ 188 h 558"/>
                  <a:gd name="T14" fmla="*/ 90 w 284"/>
                  <a:gd name="T15" fmla="*/ 182 h 558"/>
                  <a:gd name="T16" fmla="*/ 94 w 284"/>
                  <a:gd name="T17" fmla="*/ 188 h 558"/>
                  <a:gd name="T18" fmla="*/ 82 w 284"/>
                  <a:gd name="T19" fmla="*/ 362 h 558"/>
                  <a:gd name="T20" fmla="*/ 84 w 284"/>
                  <a:gd name="T21" fmla="*/ 542 h 558"/>
                  <a:gd name="T22" fmla="*/ 108 w 284"/>
                  <a:gd name="T23" fmla="*/ 558 h 558"/>
                  <a:gd name="T24" fmla="*/ 118 w 284"/>
                  <a:gd name="T25" fmla="*/ 556 h 558"/>
                  <a:gd name="T26" fmla="*/ 134 w 284"/>
                  <a:gd name="T27" fmla="*/ 532 h 558"/>
                  <a:gd name="T28" fmla="*/ 150 w 284"/>
                  <a:gd name="T29" fmla="*/ 532 h 558"/>
                  <a:gd name="T30" fmla="*/ 156 w 284"/>
                  <a:gd name="T31" fmla="*/ 550 h 558"/>
                  <a:gd name="T32" fmla="*/ 176 w 284"/>
                  <a:gd name="T33" fmla="*/ 558 h 558"/>
                  <a:gd name="T34" fmla="*/ 194 w 284"/>
                  <a:gd name="T35" fmla="*/ 550 h 558"/>
                  <a:gd name="T36" fmla="*/ 202 w 284"/>
                  <a:gd name="T37" fmla="*/ 362 h 558"/>
                  <a:gd name="T38" fmla="*/ 188 w 284"/>
                  <a:gd name="T39" fmla="*/ 188 h 558"/>
                  <a:gd name="T40" fmla="*/ 190 w 284"/>
                  <a:gd name="T41" fmla="*/ 184 h 558"/>
                  <a:gd name="T42" fmla="*/ 196 w 284"/>
                  <a:gd name="T43" fmla="*/ 184 h 558"/>
                  <a:gd name="T44" fmla="*/ 246 w 284"/>
                  <a:gd name="T45" fmla="*/ 310 h 558"/>
                  <a:gd name="T46" fmla="*/ 264 w 284"/>
                  <a:gd name="T47" fmla="*/ 322 h 558"/>
                  <a:gd name="T48" fmla="*/ 270 w 284"/>
                  <a:gd name="T49" fmla="*/ 322 h 558"/>
                  <a:gd name="T50" fmla="*/ 284 w 284"/>
                  <a:gd name="T51" fmla="*/ 304 h 558"/>
                  <a:gd name="T52" fmla="*/ 218 w 284"/>
                  <a:gd name="T53" fmla="*/ 132 h 558"/>
                  <a:gd name="T54" fmla="*/ 210 w 284"/>
                  <a:gd name="T55" fmla="*/ 120 h 558"/>
                  <a:gd name="T56" fmla="*/ 198 w 284"/>
                  <a:gd name="T57" fmla="*/ 116 h 558"/>
                  <a:gd name="T58" fmla="*/ 102 w 284"/>
                  <a:gd name="T59" fmla="*/ 116 h 558"/>
                  <a:gd name="T60" fmla="*/ 142 w 284"/>
                  <a:gd name="T61" fmla="*/ 0 h 558"/>
                  <a:gd name="T62" fmla="*/ 162 w 284"/>
                  <a:gd name="T63" fmla="*/ 4 h 558"/>
                  <a:gd name="T64" fmla="*/ 186 w 284"/>
                  <a:gd name="T65" fmla="*/ 24 h 558"/>
                  <a:gd name="T66" fmla="*/ 194 w 284"/>
                  <a:gd name="T67" fmla="*/ 52 h 558"/>
                  <a:gd name="T68" fmla="*/ 190 w 284"/>
                  <a:gd name="T69" fmla="*/ 72 h 558"/>
                  <a:gd name="T70" fmla="*/ 170 w 284"/>
                  <a:gd name="T71" fmla="*/ 96 h 558"/>
                  <a:gd name="T72" fmla="*/ 142 w 284"/>
                  <a:gd name="T73" fmla="*/ 104 h 558"/>
                  <a:gd name="T74" fmla="*/ 122 w 284"/>
                  <a:gd name="T75" fmla="*/ 100 h 558"/>
                  <a:gd name="T76" fmla="*/ 98 w 284"/>
                  <a:gd name="T77" fmla="*/ 82 h 558"/>
                  <a:gd name="T78" fmla="*/ 90 w 284"/>
                  <a:gd name="T79" fmla="*/ 52 h 558"/>
                  <a:gd name="T80" fmla="*/ 94 w 284"/>
                  <a:gd name="T81" fmla="*/ 32 h 558"/>
                  <a:gd name="T82" fmla="*/ 112 w 284"/>
                  <a:gd name="T83" fmla="*/ 10 h 558"/>
                  <a:gd name="T84" fmla="*/ 142 w 284"/>
                  <a:gd name="T85"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4" h="558">
                    <a:moveTo>
                      <a:pt x="82" y="116"/>
                    </a:moveTo>
                    <a:lnTo>
                      <a:pt x="82" y="116"/>
                    </a:lnTo>
                    <a:lnTo>
                      <a:pt x="78" y="118"/>
                    </a:lnTo>
                    <a:lnTo>
                      <a:pt x="74" y="120"/>
                    </a:lnTo>
                    <a:lnTo>
                      <a:pt x="70" y="124"/>
                    </a:lnTo>
                    <a:lnTo>
                      <a:pt x="68" y="130"/>
                    </a:lnTo>
                    <a:lnTo>
                      <a:pt x="68" y="130"/>
                    </a:lnTo>
                    <a:lnTo>
                      <a:pt x="2" y="296"/>
                    </a:lnTo>
                    <a:lnTo>
                      <a:pt x="2" y="296"/>
                    </a:lnTo>
                    <a:lnTo>
                      <a:pt x="0" y="304"/>
                    </a:lnTo>
                    <a:lnTo>
                      <a:pt x="2" y="312"/>
                    </a:lnTo>
                    <a:lnTo>
                      <a:pt x="6" y="318"/>
                    </a:lnTo>
                    <a:lnTo>
                      <a:pt x="12" y="322"/>
                    </a:lnTo>
                    <a:lnTo>
                      <a:pt x="12" y="322"/>
                    </a:lnTo>
                    <a:lnTo>
                      <a:pt x="12" y="322"/>
                    </a:lnTo>
                    <a:lnTo>
                      <a:pt x="20" y="322"/>
                    </a:lnTo>
                    <a:lnTo>
                      <a:pt x="28" y="320"/>
                    </a:lnTo>
                    <a:lnTo>
                      <a:pt x="34" y="316"/>
                    </a:lnTo>
                    <a:lnTo>
                      <a:pt x="38" y="310"/>
                    </a:lnTo>
                    <a:lnTo>
                      <a:pt x="84" y="188"/>
                    </a:lnTo>
                    <a:lnTo>
                      <a:pt x="84" y="188"/>
                    </a:lnTo>
                    <a:lnTo>
                      <a:pt x="86" y="184"/>
                    </a:lnTo>
                    <a:lnTo>
                      <a:pt x="90" y="182"/>
                    </a:lnTo>
                    <a:lnTo>
                      <a:pt x="90" y="182"/>
                    </a:lnTo>
                    <a:lnTo>
                      <a:pt x="94" y="184"/>
                    </a:lnTo>
                    <a:lnTo>
                      <a:pt x="94" y="186"/>
                    </a:lnTo>
                    <a:lnTo>
                      <a:pt x="94" y="188"/>
                    </a:lnTo>
                    <a:lnTo>
                      <a:pt x="36" y="360"/>
                    </a:lnTo>
                    <a:lnTo>
                      <a:pt x="80" y="362"/>
                    </a:lnTo>
                    <a:lnTo>
                      <a:pt x="82" y="362"/>
                    </a:lnTo>
                    <a:lnTo>
                      <a:pt x="82" y="532"/>
                    </a:lnTo>
                    <a:lnTo>
                      <a:pt x="82" y="532"/>
                    </a:lnTo>
                    <a:lnTo>
                      <a:pt x="84" y="542"/>
                    </a:lnTo>
                    <a:lnTo>
                      <a:pt x="90" y="550"/>
                    </a:lnTo>
                    <a:lnTo>
                      <a:pt x="98" y="556"/>
                    </a:lnTo>
                    <a:lnTo>
                      <a:pt x="108" y="558"/>
                    </a:lnTo>
                    <a:lnTo>
                      <a:pt x="108" y="558"/>
                    </a:lnTo>
                    <a:lnTo>
                      <a:pt x="108" y="558"/>
                    </a:lnTo>
                    <a:lnTo>
                      <a:pt x="118" y="556"/>
                    </a:lnTo>
                    <a:lnTo>
                      <a:pt x="126" y="550"/>
                    </a:lnTo>
                    <a:lnTo>
                      <a:pt x="132" y="542"/>
                    </a:lnTo>
                    <a:lnTo>
                      <a:pt x="134" y="532"/>
                    </a:lnTo>
                    <a:lnTo>
                      <a:pt x="134" y="362"/>
                    </a:lnTo>
                    <a:lnTo>
                      <a:pt x="150" y="362"/>
                    </a:lnTo>
                    <a:lnTo>
                      <a:pt x="150" y="532"/>
                    </a:lnTo>
                    <a:lnTo>
                      <a:pt x="150" y="532"/>
                    </a:lnTo>
                    <a:lnTo>
                      <a:pt x="152" y="542"/>
                    </a:lnTo>
                    <a:lnTo>
                      <a:pt x="156" y="550"/>
                    </a:lnTo>
                    <a:lnTo>
                      <a:pt x="166" y="556"/>
                    </a:lnTo>
                    <a:lnTo>
                      <a:pt x="176" y="558"/>
                    </a:lnTo>
                    <a:lnTo>
                      <a:pt x="176" y="558"/>
                    </a:lnTo>
                    <a:lnTo>
                      <a:pt x="176" y="558"/>
                    </a:lnTo>
                    <a:lnTo>
                      <a:pt x="186" y="556"/>
                    </a:lnTo>
                    <a:lnTo>
                      <a:pt x="194" y="550"/>
                    </a:lnTo>
                    <a:lnTo>
                      <a:pt x="200" y="542"/>
                    </a:lnTo>
                    <a:lnTo>
                      <a:pt x="202" y="532"/>
                    </a:lnTo>
                    <a:lnTo>
                      <a:pt x="202" y="362"/>
                    </a:lnTo>
                    <a:lnTo>
                      <a:pt x="202" y="362"/>
                    </a:lnTo>
                    <a:lnTo>
                      <a:pt x="248" y="360"/>
                    </a:lnTo>
                    <a:lnTo>
                      <a:pt x="188" y="188"/>
                    </a:lnTo>
                    <a:lnTo>
                      <a:pt x="188" y="188"/>
                    </a:lnTo>
                    <a:lnTo>
                      <a:pt x="188" y="186"/>
                    </a:lnTo>
                    <a:lnTo>
                      <a:pt x="190" y="184"/>
                    </a:lnTo>
                    <a:lnTo>
                      <a:pt x="194" y="182"/>
                    </a:lnTo>
                    <a:lnTo>
                      <a:pt x="194" y="182"/>
                    </a:lnTo>
                    <a:lnTo>
                      <a:pt x="196" y="184"/>
                    </a:lnTo>
                    <a:lnTo>
                      <a:pt x="198" y="188"/>
                    </a:lnTo>
                    <a:lnTo>
                      <a:pt x="246" y="310"/>
                    </a:lnTo>
                    <a:lnTo>
                      <a:pt x="246" y="310"/>
                    </a:lnTo>
                    <a:lnTo>
                      <a:pt x="250" y="316"/>
                    </a:lnTo>
                    <a:lnTo>
                      <a:pt x="256" y="320"/>
                    </a:lnTo>
                    <a:lnTo>
                      <a:pt x="264" y="322"/>
                    </a:lnTo>
                    <a:lnTo>
                      <a:pt x="270" y="322"/>
                    </a:lnTo>
                    <a:lnTo>
                      <a:pt x="270" y="322"/>
                    </a:lnTo>
                    <a:lnTo>
                      <a:pt x="270" y="322"/>
                    </a:lnTo>
                    <a:lnTo>
                      <a:pt x="278" y="318"/>
                    </a:lnTo>
                    <a:lnTo>
                      <a:pt x="282" y="312"/>
                    </a:lnTo>
                    <a:lnTo>
                      <a:pt x="284" y="304"/>
                    </a:lnTo>
                    <a:lnTo>
                      <a:pt x="282" y="296"/>
                    </a:lnTo>
                    <a:lnTo>
                      <a:pt x="282" y="296"/>
                    </a:lnTo>
                    <a:lnTo>
                      <a:pt x="218" y="132"/>
                    </a:lnTo>
                    <a:lnTo>
                      <a:pt x="218" y="132"/>
                    </a:lnTo>
                    <a:lnTo>
                      <a:pt x="216" y="126"/>
                    </a:lnTo>
                    <a:lnTo>
                      <a:pt x="210" y="120"/>
                    </a:lnTo>
                    <a:lnTo>
                      <a:pt x="204" y="118"/>
                    </a:lnTo>
                    <a:lnTo>
                      <a:pt x="198" y="116"/>
                    </a:lnTo>
                    <a:lnTo>
                      <a:pt x="198" y="116"/>
                    </a:lnTo>
                    <a:lnTo>
                      <a:pt x="198" y="116"/>
                    </a:lnTo>
                    <a:lnTo>
                      <a:pt x="138" y="116"/>
                    </a:lnTo>
                    <a:lnTo>
                      <a:pt x="102" y="116"/>
                    </a:lnTo>
                    <a:lnTo>
                      <a:pt x="82" y="116"/>
                    </a:lnTo>
                    <a:lnTo>
                      <a:pt x="82" y="116"/>
                    </a:lnTo>
                    <a:close/>
                    <a:moveTo>
                      <a:pt x="142" y="0"/>
                    </a:moveTo>
                    <a:lnTo>
                      <a:pt x="142" y="0"/>
                    </a:lnTo>
                    <a:lnTo>
                      <a:pt x="152" y="2"/>
                    </a:lnTo>
                    <a:lnTo>
                      <a:pt x="162" y="4"/>
                    </a:lnTo>
                    <a:lnTo>
                      <a:pt x="170" y="10"/>
                    </a:lnTo>
                    <a:lnTo>
                      <a:pt x="178" y="16"/>
                    </a:lnTo>
                    <a:lnTo>
                      <a:pt x="186" y="24"/>
                    </a:lnTo>
                    <a:lnTo>
                      <a:pt x="190" y="32"/>
                    </a:lnTo>
                    <a:lnTo>
                      <a:pt x="192" y="42"/>
                    </a:lnTo>
                    <a:lnTo>
                      <a:pt x="194" y="52"/>
                    </a:lnTo>
                    <a:lnTo>
                      <a:pt x="194" y="52"/>
                    </a:lnTo>
                    <a:lnTo>
                      <a:pt x="192" y="62"/>
                    </a:lnTo>
                    <a:lnTo>
                      <a:pt x="190" y="72"/>
                    </a:lnTo>
                    <a:lnTo>
                      <a:pt x="186" y="82"/>
                    </a:lnTo>
                    <a:lnTo>
                      <a:pt x="178" y="90"/>
                    </a:lnTo>
                    <a:lnTo>
                      <a:pt x="170" y="96"/>
                    </a:lnTo>
                    <a:lnTo>
                      <a:pt x="162" y="100"/>
                    </a:lnTo>
                    <a:lnTo>
                      <a:pt x="152" y="104"/>
                    </a:lnTo>
                    <a:lnTo>
                      <a:pt x="142" y="104"/>
                    </a:lnTo>
                    <a:lnTo>
                      <a:pt x="142" y="104"/>
                    </a:lnTo>
                    <a:lnTo>
                      <a:pt x="132" y="104"/>
                    </a:lnTo>
                    <a:lnTo>
                      <a:pt x="122" y="100"/>
                    </a:lnTo>
                    <a:lnTo>
                      <a:pt x="112" y="96"/>
                    </a:lnTo>
                    <a:lnTo>
                      <a:pt x="104" y="90"/>
                    </a:lnTo>
                    <a:lnTo>
                      <a:pt x="98" y="82"/>
                    </a:lnTo>
                    <a:lnTo>
                      <a:pt x="94" y="72"/>
                    </a:lnTo>
                    <a:lnTo>
                      <a:pt x="90" y="62"/>
                    </a:lnTo>
                    <a:lnTo>
                      <a:pt x="90" y="52"/>
                    </a:lnTo>
                    <a:lnTo>
                      <a:pt x="90" y="52"/>
                    </a:lnTo>
                    <a:lnTo>
                      <a:pt x="90" y="42"/>
                    </a:lnTo>
                    <a:lnTo>
                      <a:pt x="94" y="32"/>
                    </a:lnTo>
                    <a:lnTo>
                      <a:pt x="98" y="24"/>
                    </a:lnTo>
                    <a:lnTo>
                      <a:pt x="104" y="16"/>
                    </a:lnTo>
                    <a:lnTo>
                      <a:pt x="112" y="10"/>
                    </a:lnTo>
                    <a:lnTo>
                      <a:pt x="122" y="4"/>
                    </a:lnTo>
                    <a:lnTo>
                      <a:pt x="132" y="2"/>
                    </a:lnTo>
                    <a:lnTo>
                      <a:pt x="142" y="0"/>
                    </a:lnTo>
                    <a:lnTo>
                      <a:pt x="142" y="0"/>
                    </a:lnTo>
                    <a:close/>
                  </a:path>
                </a:pathLst>
              </a:custGeom>
              <a:solidFill>
                <a:srgbClr val="FFFFFF"/>
              </a:solidFill>
              <a:ln>
                <a:noFill/>
              </a:ln>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sp>
            <p:nvSpPr>
              <p:cNvPr id="202" name="Freeform 1597">
                <a:extLst>
                  <a:ext uri="{FF2B5EF4-FFF2-40B4-BE49-F238E27FC236}"/>
                </a:extLst>
              </p:cNvPr>
              <p:cNvSpPr>
                <a:spLocks noEditPoints="1"/>
              </p:cNvSpPr>
              <p:nvPr/>
            </p:nvSpPr>
            <p:spPr bwMode="auto">
              <a:xfrm>
                <a:off x="3452715" y="3643082"/>
                <a:ext cx="190664" cy="250197"/>
              </a:xfrm>
              <a:custGeom>
                <a:avLst/>
                <a:gdLst>
                  <a:gd name="T0" fmla="*/ 160 w 292"/>
                  <a:gd name="T1" fmla="*/ 0 h 382"/>
                  <a:gd name="T2" fmla="*/ 202 w 292"/>
                  <a:gd name="T3" fmla="*/ 12 h 382"/>
                  <a:gd name="T4" fmla="*/ 238 w 292"/>
                  <a:gd name="T5" fmla="*/ 34 h 382"/>
                  <a:gd name="T6" fmla="*/ 266 w 292"/>
                  <a:gd name="T7" fmla="*/ 64 h 382"/>
                  <a:gd name="T8" fmla="*/ 286 w 292"/>
                  <a:gd name="T9" fmla="*/ 102 h 382"/>
                  <a:gd name="T10" fmla="*/ 292 w 292"/>
                  <a:gd name="T11" fmla="*/ 146 h 382"/>
                  <a:gd name="T12" fmla="*/ 288 w 292"/>
                  <a:gd name="T13" fmla="*/ 176 h 382"/>
                  <a:gd name="T14" fmla="*/ 274 w 292"/>
                  <a:gd name="T15" fmla="*/ 216 h 382"/>
                  <a:gd name="T16" fmla="*/ 248 w 292"/>
                  <a:gd name="T17" fmla="*/ 250 h 382"/>
                  <a:gd name="T18" fmla="*/ 216 w 292"/>
                  <a:gd name="T19" fmla="*/ 274 h 382"/>
                  <a:gd name="T20" fmla="*/ 174 w 292"/>
                  <a:gd name="T21" fmla="*/ 290 h 382"/>
                  <a:gd name="T22" fmla="*/ 146 w 292"/>
                  <a:gd name="T23" fmla="*/ 292 h 382"/>
                  <a:gd name="T24" fmla="*/ 102 w 292"/>
                  <a:gd name="T25" fmla="*/ 286 h 382"/>
                  <a:gd name="T26" fmla="*/ 64 w 292"/>
                  <a:gd name="T27" fmla="*/ 268 h 382"/>
                  <a:gd name="T28" fmla="*/ 32 w 292"/>
                  <a:gd name="T29" fmla="*/ 238 h 382"/>
                  <a:gd name="T30" fmla="*/ 10 w 292"/>
                  <a:gd name="T31" fmla="*/ 202 h 382"/>
                  <a:gd name="T32" fmla="*/ 0 w 292"/>
                  <a:gd name="T33" fmla="*/ 160 h 382"/>
                  <a:gd name="T34" fmla="*/ 146 w 292"/>
                  <a:gd name="T35" fmla="*/ 0 h 382"/>
                  <a:gd name="T36" fmla="*/ 206 w 292"/>
                  <a:gd name="T37" fmla="*/ 296 h 382"/>
                  <a:gd name="T38" fmla="*/ 230 w 292"/>
                  <a:gd name="T39" fmla="*/ 302 h 382"/>
                  <a:gd name="T40" fmla="*/ 246 w 292"/>
                  <a:gd name="T41" fmla="*/ 322 h 382"/>
                  <a:gd name="T42" fmla="*/ 248 w 292"/>
                  <a:gd name="T43" fmla="*/ 338 h 382"/>
                  <a:gd name="T44" fmla="*/ 242 w 292"/>
                  <a:gd name="T45" fmla="*/ 362 h 382"/>
                  <a:gd name="T46" fmla="*/ 222 w 292"/>
                  <a:gd name="T47" fmla="*/ 378 h 382"/>
                  <a:gd name="T48" fmla="*/ 206 w 292"/>
                  <a:gd name="T49" fmla="*/ 382 h 382"/>
                  <a:gd name="T50" fmla="*/ 182 w 292"/>
                  <a:gd name="T51" fmla="*/ 374 h 382"/>
                  <a:gd name="T52" fmla="*/ 166 w 292"/>
                  <a:gd name="T53" fmla="*/ 356 h 382"/>
                  <a:gd name="T54" fmla="*/ 162 w 292"/>
                  <a:gd name="T55" fmla="*/ 338 h 382"/>
                  <a:gd name="T56" fmla="*/ 170 w 292"/>
                  <a:gd name="T57" fmla="*/ 314 h 382"/>
                  <a:gd name="T58" fmla="*/ 190 w 292"/>
                  <a:gd name="T59" fmla="*/ 298 h 382"/>
                  <a:gd name="T60" fmla="*/ 206 w 292"/>
                  <a:gd name="T61" fmla="*/ 296 h 382"/>
                  <a:gd name="T62" fmla="*/ 70 w 292"/>
                  <a:gd name="T63" fmla="*/ 296 h 382"/>
                  <a:gd name="T64" fmla="*/ 92 w 292"/>
                  <a:gd name="T65" fmla="*/ 308 h 382"/>
                  <a:gd name="T66" fmla="*/ 104 w 292"/>
                  <a:gd name="T67" fmla="*/ 330 h 382"/>
                  <a:gd name="T68" fmla="*/ 104 w 292"/>
                  <a:gd name="T69" fmla="*/ 346 h 382"/>
                  <a:gd name="T70" fmla="*/ 92 w 292"/>
                  <a:gd name="T71" fmla="*/ 368 h 382"/>
                  <a:gd name="T72" fmla="*/ 70 w 292"/>
                  <a:gd name="T73" fmla="*/ 380 h 382"/>
                  <a:gd name="T74" fmla="*/ 52 w 292"/>
                  <a:gd name="T75" fmla="*/ 380 h 382"/>
                  <a:gd name="T76" fmla="*/ 30 w 292"/>
                  <a:gd name="T77" fmla="*/ 368 h 382"/>
                  <a:gd name="T78" fmla="*/ 20 w 292"/>
                  <a:gd name="T79" fmla="*/ 346 h 382"/>
                  <a:gd name="T80" fmla="*/ 20 w 292"/>
                  <a:gd name="T81" fmla="*/ 330 h 382"/>
                  <a:gd name="T82" fmla="*/ 30 w 292"/>
                  <a:gd name="T83" fmla="*/ 308 h 382"/>
                  <a:gd name="T84" fmla="*/ 52 w 292"/>
                  <a:gd name="T85" fmla="*/ 29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382">
                    <a:moveTo>
                      <a:pt x="146" y="0"/>
                    </a:moveTo>
                    <a:lnTo>
                      <a:pt x="146" y="0"/>
                    </a:lnTo>
                    <a:lnTo>
                      <a:pt x="160" y="0"/>
                    </a:lnTo>
                    <a:lnTo>
                      <a:pt x="174" y="2"/>
                    </a:lnTo>
                    <a:lnTo>
                      <a:pt x="188" y="6"/>
                    </a:lnTo>
                    <a:lnTo>
                      <a:pt x="202" y="12"/>
                    </a:lnTo>
                    <a:lnTo>
                      <a:pt x="216" y="18"/>
                    </a:lnTo>
                    <a:lnTo>
                      <a:pt x="228" y="24"/>
                    </a:lnTo>
                    <a:lnTo>
                      <a:pt x="238" y="34"/>
                    </a:lnTo>
                    <a:lnTo>
                      <a:pt x="248" y="42"/>
                    </a:lnTo>
                    <a:lnTo>
                      <a:pt x="258" y="52"/>
                    </a:lnTo>
                    <a:lnTo>
                      <a:pt x="266" y="64"/>
                    </a:lnTo>
                    <a:lnTo>
                      <a:pt x="274" y="76"/>
                    </a:lnTo>
                    <a:lnTo>
                      <a:pt x="280" y="88"/>
                    </a:lnTo>
                    <a:lnTo>
                      <a:pt x="286" y="102"/>
                    </a:lnTo>
                    <a:lnTo>
                      <a:pt x="288" y="116"/>
                    </a:lnTo>
                    <a:lnTo>
                      <a:pt x="292" y="130"/>
                    </a:lnTo>
                    <a:lnTo>
                      <a:pt x="292" y="146"/>
                    </a:lnTo>
                    <a:lnTo>
                      <a:pt x="292" y="146"/>
                    </a:lnTo>
                    <a:lnTo>
                      <a:pt x="292" y="160"/>
                    </a:lnTo>
                    <a:lnTo>
                      <a:pt x="288" y="176"/>
                    </a:lnTo>
                    <a:lnTo>
                      <a:pt x="286" y="190"/>
                    </a:lnTo>
                    <a:lnTo>
                      <a:pt x="280" y="202"/>
                    </a:lnTo>
                    <a:lnTo>
                      <a:pt x="274" y="216"/>
                    </a:lnTo>
                    <a:lnTo>
                      <a:pt x="266" y="228"/>
                    </a:lnTo>
                    <a:lnTo>
                      <a:pt x="258" y="238"/>
                    </a:lnTo>
                    <a:lnTo>
                      <a:pt x="248" y="250"/>
                    </a:lnTo>
                    <a:lnTo>
                      <a:pt x="238" y="258"/>
                    </a:lnTo>
                    <a:lnTo>
                      <a:pt x="228" y="268"/>
                    </a:lnTo>
                    <a:lnTo>
                      <a:pt x="216" y="274"/>
                    </a:lnTo>
                    <a:lnTo>
                      <a:pt x="202" y="280"/>
                    </a:lnTo>
                    <a:lnTo>
                      <a:pt x="188" y="286"/>
                    </a:lnTo>
                    <a:lnTo>
                      <a:pt x="174" y="290"/>
                    </a:lnTo>
                    <a:lnTo>
                      <a:pt x="160" y="292"/>
                    </a:lnTo>
                    <a:lnTo>
                      <a:pt x="146" y="292"/>
                    </a:lnTo>
                    <a:lnTo>
                      <a:pt x="146" y="292"/>
                    </a:lnTo>
                    <a:lnTo>
                      <a:pt x="130" y="292"/>
                    </a:lnTo>
                    <a:lnTo>
                      <a:pt x="116" y="290"/>
                    </a:lnTo>
                    <a:lnTo>
                      <a:pt x="102" y="286"/>
                    </a:lnTo>
                    <a:lnTo>
                      <a:pt x="88" y="280"/>
                    </a:lnTo>
                    <a:lnTo>
                      <a:pt x="76" y="274"/>
                    </a:lnTo>
                    <a:lnTo>
                      <a:pt x="64" y="268"/>
                    </a:lnTo>
                    <a:lnTo>
                      <a:pt x="52" y="258"/>
                    </a:lnTo>
                    <a:lnTo>
                      <a:pt x="42" y="250"/>
                    </a:lnTo>
                    <a:lnTo>
                      <a:pt x="32" y="238"/>
                    </a:lnTo>
                    <a:lnTo>
                      <a:pt x="24" y="228"/>
                    </a:lnTo>
                    <a:lnTo>
                      <a:pt x="16" y="216"/>
                    </a:lnTo>
                    <a:lnTo>
                      <a:pt x="10" y="202"/>
                    </a:lnTo>
                    <a:lnTo>
                      <a:pt x="6" y="190"/>
                    </a:lnTo>
                    <a:lnTo>
                      <a:pt x="2" y="176"/>
                    </a:lnTo>
                    <a:lnTo>
                      <a:pt x="0" y="160"/>
                    </a:lnTo>
                    <a:lnTo>
                      <a:pt x="0" y="146"/>
                    </a:lnTo>
                    <a:lnTo>
                      <a:pt x="146" y="146"/>
                    </a:lnTo>
                    <a:lnTo>
                      <a:pt x="146" y="0"/>
                    </a:lnTo>
                    <a:lnTo>
                      <a:pt x="146" y="0"/>
                    </a:lnTo>
                    <a:close/>
                    <a:moveTo>
                      <a:pt x="206" y="296"/>
                    </a:moveTo>
                    <a:lnTo>
                      <a:pt x="206" y="296"/>
                    </a:lnTo>
                    <a:lnTo>
                      <a:pt x="214" y="296"/>
                    </a:lnTo>
                    <a:lnTo>
                      <a:pt x="222" y="298"/>
                    </a:lnTo>
                    <a:lnTo>
                      <a:pt x="230" y="302"/>
                    </a:lnTo>
                    <a:lnTo>
                      <a:pt x="236" y="308"/>
                    </a:lnTo>
                    <a:lnTo>
                      <a:pt x="242" y="314"/>
                    </a:lnTo>
                    <a:lnTo>
                      <a:pt x="246" y="322"/>
                    </a:lnTo>
                    <a:lnTo>
                      <a:pt x="248" y="330"/>
                    </a:lnTo>
                    <a:lnTo>
                      <a:pt x="248" y="338"/>
                    </a:lnTo>
                    <a:lnTo>
                      <a:pt x="248" y="338"/>
                    </a:lnTo>
                    <a:lnTo>
                      <a:pt x="248" y="346"/>
                    </a:lnTo>
                    <a:lnTo>
                      <a:pt x="246" y="356"/>
                    </a:lnTo>
                    <a:lnTo>
                      <a:pt x="242" y="362"/>
                    </a:lnTo>
                    <a:lnTo>
                      <a:pt x="236" y="368"/>
                    </a:lnTo>
                    <a:lnTo>
                      <a:pt x="230" y="374"/>
                    </a:lnTo>
                    <a:lnTo>
                      <a:pt x="222" y="378"/>
                    </a:lnTo>
                    <a:lnTo>
                      <a:pt x="214" y="380"/>
                    </a:lnTo>
                    <a:lnTo>
                      <a:pt x="206" y="382"/>
                    </a:lnTo>
                    <a:lnTo>
                      <a:pt x="206" y="382"/>
                    </a:lnTo>
                    <a:lnTo>
                      <a:pt x="198" y="380"/>
                    </a:lnTo>
                    <a:lnTo>
                      <a:pt x="190" y="378"/>
                    </a:lnTo>
                    <a:lnTo>
                      <a:pt x="182" y="374"/>
                    </a:lnTo>
                    <a:lnTo>
                      <a:pt x="176" y="368"/>
                    </a:lnTo>
                    <a:lnTo>
                      <a:pt x="170" y="362"/>
                    </a:lnTo>
                    <a:lnTo>
                      <a:pt x="166" y="356"/>
                    </a:lnTo>
                    <a:lnTo>
                      <a:pt x="164" y="346"/>
                    </a:lnTo>
                    <a:lnTo>
                      <a:pt x="162" y="338"/>
                    </a:lnTo>
                    <a:lnTo>
                      <a:pt x="162" y="338"/>
                    </a:lnTo>
                    <a:lnTo>
                      <a:pt x="164" y="330"/>
                    </a:lnTo>
                    <a:lnTo>
                      <a:pt x="166" y="322"/>
                    </a:lnTo>
                    <a:lnTo>
                      <a:pt x="170" y="314"/>
                    </a:lnTo>
                    <a:lnTo>
                      <a:pt x="176" y="308"/>
                    </a:lnTo>
                    <a:lnTo>
                      <a:pt x="182" y="302"/>
                    </a:lnTo>
                    <a:lnTo>
                      <a:pt x="190" y="298"/>
                    </a:lnTo>
                    <a:lnTo>
                      <a:pt x="198" y="296"/>
                    </a:lnTo>
                    <a:lnTo>
                      <a:pt x="206" y="296"/>
                    </a:lnTo>
                    <a:lnTo>
                      <a:pt x="206" y="296"/>
                    </a:lnTo>
                    <a:close/>
                    <a:moveTo>
                      <a:pt x="62" y="296"/>
                    </a:moveTo>
                    <a:lnTo>
                      <a:pt x="62" y="296"/>
                    </a:lnTo>
                    <a:lnTo>
                      <a:pt x="70" y="296"/>
                    </a:lnTo>
                    <a:lnTo>
                      <a:pt x="78" y="298"/>
                    </a:lnTo>
                    <a:lnTo>
                      <a:pt x="86" y="302"/>
                    </a:lnTo>
                    <a:lnTo>
                      <a:pt x="92" y="308"/>
                    </a:lnTo>
                    <a:lnTo>
                      <a:pt x="96" y="314"/>
                    </a:lnTo>
                    <a:lnTo>
                      <a:pt x="100" y="322"/>
                    </a:lnTo>
                    <a:lnTo>
                      <a:pt x="104" y="330"/>
                    </a:lnTo>
                    <a:lnTo>
                      <a:pt x="104" y="338"/>
                    </a:lnTo>
                    <a:lnTo>
                      <a:pt x="104" y="338"/>
                    </a:lnTo>
                    <a:lnTo>
                      <a:pt x="104" y="346"/>
                    </a:lnTo>
                    <a:lnTo>
                      <a:pt x="100" y="356"/>
                    </a:lnTo>
                    <a:lnTo>
                      <a:pt x="96" y="362"/>
                    </a:lnTo>
                    <a:lnTo>
                      <a:pt x="92" y="368"/>
                    </a:lnTo>
                    <a:lnTo>
                      <a:pt x="86" y="374"/>
                    </a:lnTo>
                    <a:lnTo>
                      <a:pt x="78" y="378"/>
                    </a:lnTo>
                    <a:lnTo>
                      <a:pt x="70" y="380"/>
                    </a:lnTo>
                    <a:lnTo>
                      <a:pt x="62" y="382"/>
                    </a:lnTo>
                    <a:lnTo>
                      <a:pt x="62" y="382"/>
                    </a:lnTo>
                    <a:lnTo>
                      <a:pt x="52" y="380"/>
                    </a:lnTo>
                    <a:lnTo>
                      <a:pt x="44" y="378"/>
                    </a:lnTo>
                    <a:lnTo>
                      <a:pt x="38" y="374"/>
                    </a:lnTo>
                    <a:lnTo>
                      <a:pt x="30" y="368"/>
                    </a:lnTo>
                    <a:lnTo>
                      <a:pt x="26" y="362"/>
                    </a:lnTo>
                    <a:lnTo>
                      <a:pt x="22" y="356"/>
                    </a:lnTo>
                    <a:lnTo>
                      <a:pt x="20" y="346"/>
                    </a:lnTo>
                    <a:lnTo>
                      <a:pt x="18" y="338"/>
                    </a:lnTo>
                    <a:lnTo>
                      <a:pt x="18" y="338"/>
                    </a:lnTo>
                    <a:lnTo>
                      <a:pt x="20" y="330"/>
                    </a:lnTo>
                    <a:lnTo>
                      <a:pt x="22" y="322"/>
                    </a:lnTo>
                    <a:lnTo>
                      <a:pt x="26" y="314"/>
                    </a:lnTo>
                    <a:lnTo>
                      <a:pt x="30" y="308"/>
                    </a:lnTo>
                    <a:lnTo>
                      <a:pt x="38" y="302"/>
                    </a:lnTo>
                    <a:lnTo>
                      <a:pt x="44" y="298"/>
                    </a:lnTo>
                    <a:lnTo>
                      <a:pt x="52" y="296"/>
                    </a:lnTo>
                    <a:lnTo>
                      <a:pt x="62" y="296"/>
                    </a:lnTo>
                    <a:lnTo>
                      <a:pt x="62" y="296"/>
                    </a:lnTo>
                    <a:close/>
                  </a:path>
                </a:pathLst>
              </a:custGeom>
              <a:solidFill>
                <a:srgbClr val="FFFFFF"/>
              </a:solidFill>
              <a:ln>
                <a:noFill/>
              </a:ln>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grpSp>
        <p:nvGrpSpPr>
          <p:cNvPr id="66633" name="Group 229"/>
          <p:cNvGrpSpPr>
            <a:grpSpLocks/>
          </p:cNvGrpSpPr>
          <p:nvPr/>
        </p:nvGrpSpPr>
        <p:grpSpPr bwMode="auto">
          <a:xfrm>
            <a:off x="4573588" y="4192588"/>
            <a:ext cx="252412" cy="252412"/>
            <a:chOff x="4646522" y="1681560"/>
            <a:chExt cx="365760" cy="365760"/>
          </a:xfrm>
        </p:grpSpPr>
        <p:sp>
          <p:nvSpPr>
            <p:cNvPr id="204" name="Oval 203">
              <a:extLst>
                <a:ext uri="{FF2B5EF4-FFF2-40B4-BE49-F238E27FC236}"/>
              </a:extLst>
            </p:cNvPr>
            <p:cNvSpPr/>
            <p:nvPr/>
          </p:nvSpPr>
          <p:spPr bwMode="ltGray">
            <a:xfrm>
              <a:off x="4646522" y="1681560"/>
              <a:ext cx="365760" cy="365760"/>
            </a:xfrm>
            <a:prstGeom prst="ellipse">
              <a:avLst/>
            </a:prstGeom>
            <a:solidFill>
              <a:srgbClr val="F0B323"/>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205" name="Group 204">
              <a:extLst>
                <a:ext uri="{FF2B5EF4-FFF2-40B4-BE49-F238E27FC236}"/>
              </a:extLst>
            </p:cNvPr>
            <p:cNvGrpSpPr/>
            <p:nvPr/>
          </p:nvGrpSpPr>
          <p:grpSpPr>
            <a:xfrm>
              <a:off x="4664359" y="1776712"/>
              <a:ext cx="324000" cy="180000"/>
              <a:chOff x="9528990" y="3393723"/>
              <a:chExt cx="1699610" cy="938783"/>
            </a:xfrm>
            <a:solidFill>
              <a:srgbClr val="FFFFFF"/>
            </a:solidFill>
          </p:grpSpPr>
          <p:sp>
            <p:nvSpPr>
              <p:cNvPr id="206" name="Freeform 1317">
                <a:extLst>
                  <a:ext uri="{FF2B5EF4-FFF2-40B4-BE49-F238E27FC236}"/>
                </a:extLst>
              </p:cNvPr>
              <p:cNvSpPr>
                <a:spLocks noEditPoints="1"/>
              </p:cNvSpPr>
              <p:nvPr/>
            </p:nvSpPr>
            <p:spPr bwMode="auto">
              <a:xfrm>
                <a:off x="9528990" y="3393723"/>
                <a:ext cx="1699610" cy="938783"/>
              </a:xfrm>
              <a:custGeom>
                <a:avLst/>
                <a:gdLst/>
                <a:ahLst/>
                <a:cxnLst>
                  <a:cxn ang="0">
                    <a:pos x="184" y="379"/>
                  </a:cxn>
                  <a:cxn ang="0">
                    <a:pos x="247" y="441"/>
                  </a:cxn>
                  <a:cxn ang="0">
                    <a:pos x="184" y="503"/>
                  </a:cxn>
                  <a:cxn ang="0">
                    <a:pos x="122" y="441"/>
                  </a:cxn>
                  <a:cxn ang="0">
                    <a:pos x="184" y="379"/>
                  </a:cxn>
                  <a:cxn ang="0">
                    <a:pos x="662" y="379"/>
                  </a:cxn>
                  <a:cxn ang="0">
                    <a:pos x="724" y="441"/>
                  </a:cxn>
                  <a:cxn ang="0">
                    <a:pos x="662" y="503"/>
                  </a:cxn>
                  <a:cxn ang="0">
                    <a:pos x="599" y="441"/>
                  </a:cxn>
                  <a:cxn ang="0">
                    <a:pos x="662" y="379"/>
                  </a:cxn>
                  <a:cxn ang="0">
                    <a:pos x="684" y="89"/>
                  </a:cxn>
                  <a:cxn ang="0">
                    <a:pos x="640" y="89"/>
                  </a:cxn>
                  <a:cxn ang="0">
                    <a:pos x="640" y="153"/>
                  </a:cxn>
                  <a:cxn ang="0">
                    <a:pos x="576" y="153"/>
                  </a:cxn>
                  <a:cxn ang="0">
                    <a:pos x="576" y="197"/>
                  </a:cxn>
                  <a:cxn ang="0">
                    <a:pos x="640" y="197"/>
                  </a:cxn>
                  <a:cxn ang="0">
                    <a:pos x="640" y="261"/>
                  </a:cxn>
                  <a:cxn ang="0">
                    <a:pos x="684" y="261"/>
                  </a:cxn>
                  <a:cxn ang="0">
                    <a:pos x="684" y="197"/>
                  </a:cxn>
                  <a:cxn ang="0">
                    <a:pos x="748" y="197"/>
                  </a:cxn>
                  <a:cxn ang="0">
                    <a:pos x="748" y="153"/>
                  </a:cxn>
                  <a:cxn ang="0">
                    <a:pos x="684" y="153"/>
                  </a:cxn>
                  <a:cxn ang="0">
                    <a:pos x="684" y="89"/>
                  </a:cxn>
                  <a:cxn ang="0">
                    <a:pos x="801" y="0"/>
                  </a:cxn>
                  <a:cxn ang="0">
                    <a:pos x="296" y="0"/>
                  </a:cxn>
                  <a:cxn ang="0">
                    <a:pos x="280" y="6"/>
                  </a:cxn>
                  <a:cxn ang="0">
                    <a:pos x="122" y="165"/>
                  </a:cxn>
                  <a:cxn ang="0">
                    <a:pos x="27" y="196"/>
                  </a:cxn>
                  <a:cxn ang="0">
                    <a:pos x="25" y="197"/>
                  </a:cxn>
                  <a:cxn ang="0">
                    <a:pos x="0" y="235"/>
                  </a:cxn>
                  <a:cxn ang="0">
                    <a:pos x="0" y="403"/>
                  </a:cxn>
                  <a:cxn ang="0">
                    <a:pos x="42" y="444"/>
                  </a:cxn>
                  <a:cxn ang="0">
                    <a:pos x="79" y="444"/>
                  </a:cxn>
                  <a:cxn ang="0">
                    <a:pos x="79" y="441"/>
                  </a:cxn>
                  <a:cxn ang="0">
                    <a:pos x="184" y="335"/>
                  </a:cxn>
                  <a:cxn ang="0">
                    <a:pos x="290" y="441"/>
                  </a:cxn>
                  <a:cxn ang="0">
                    <a:pos x="290" y="444"/>
                  </a:cxn>
                  <a:cxn ang="0">
                    <a:pos x="565" y="444"/>
                  </a:cxn>
                  <a:cxn ang="0">
                    <a:pos x="565" y="441"/>
                  </a:cxn>
                  <a:cxn ang="0">
                    <a:pos x="662" y="344"/>
                  </a:cxn>
                  <a:cxn ang="0">
                    <a:pos x="759" y="441"/>
                  </a:cxn>
                  <a:cxn ang="0">
                    <a:pos x="759" y="444"/>
                  </a:cxn>
                  <a:cxn ang="0">
                    <a:pos x="801" y="444"/>
                  </a:cxn>
                  <a:cxn ang="0">
                    <a:pos x="844" y="401"/>
                  </a:cxn>
                  <a:cxn ang="0">
                    <a:pos x="844" y="43"/>
                  </a:cxn>
                  <a:cxn ang="0">
                    <a:pos x="801" y="0"/>
                  </a:cxn>
                  <a:cxn ang="0">
                    <a:pos x="302" y="161"/>
                  </a:cxn>
                  <a:cxn ang="0">
                    <a:pos x="183" y="161"/>
                  </a:cxn>
                  <a:cxn ang="0">
                    <a:pos x="302" y="42"/>
                  </a:cxn>
                  <a:cxn ang="0">
                    <a:pos x="302" y="161"/>
                  </a:cxn>
                  <a:cxn ang="0">
                    <a:pos x="662" y="300"/>
                  </a:cxn>
                  <a:cxn ang="0">
                    <a:pos x="537" y="175"/>
                  </a:cxn>
                  <a:cxn ang="0">
                    <a:pos x="662" y="50"/>
                  </a:cxn>
                  <a:cxn ang="0">
                    <a:pos x="787" y="175"/>
                  </a:cxn>
                  <a:cxn ang="0">
                    <a:pos x="662" y="300"/>
                  </a:cxn>
                </a:cxnLst>
                <a:rect l="0" t="0" r="r" b="b"/>
                <a:pathLst>
                  <a:path w="844" h="503">
                    <a:moveTo>
                      <a:pt x="184" y="379"/>
                    </a:moveTo>
                    <a:cubicBezTo>
                      <a:pt x="219" y="379"/>
                      <a:pt x="247" y="407"/>
                      <a:pt x="247" y="441"/>
                    </a:cubicBezTo>
                    <a:cubicBezTo>
                      <a:pt x="247" y="476"/>
                      <a:pt x="219" y="503"/>
                      <a:pt x="184" y="503"/>
                    </a:cubicBezTo>
                    <a:cubicBezTo>
                      <a:pt x="150" y="503"/>
                      <a:pt x="122" y="476"/>
                      <a:pt x="122" y="441"/>
                    </a:cubicBezTo>
                    <a:cubicBezTo>
                      <a:pt x="122" y="407"/>
                      <a:pt x="150" y="379"/>
                      <a:pt x="184" y="379"/>
                    </a:cubicBezTo>
                    <a:moveTo>
                      <a:pt x="662" y="379"/>
                    </a:moveTo>
                    <a:cubicBezTo>
                      <a:pt x="696" y="379"/>
                      <a:pt x="724" y="407"/>
                      <a:pt x="724" y="441"/>
                    </a:cubicBezTo>
                    <a:cubicBezTo>
                      <a:pt x="724" y="476"/>
                      <a:pt x="696" y="503"/>
                      <a:pt x="662" y="503"/>
                    </a:cubicBezTo>
                    <a:cubicBezTo>
                      <a:pt x="627" y="503"/>
                      <a:pt x="599" y="476"/>
                      <a:pt x="599" y="441"/>
                    </a:cubicBezTo>
                    <a:cubicBezTo>
                      <a:pt x="599" y="407"/>
                      <a:pt x="627" y="379"/>
                      <a:pt x="662" y="379"/>
                    </a:cubicBezTo>
                    <a:moveTo>
                      <a:pt x="684" y="89"/>
                    </a:moveTo>
                    <a:cubicBezTo>
                      <a:pt x="640" y="89"/>
                      <a:pt x="640" y="89"/>
                      <a:pt x="640" y="89"/>
                    </a:cubicBezTo>
                    <a:cubicBezTo>
                      <a:pt x="640" y="153"/>
                      <a:pt x="640" y="153"/>
                      <a:pt x="640" y="153"/>
                    </a:cubicBezTo>
                    <a:cubicBezTo>
                      <a:pt x="576" y="153"/>
                      <a:pt x="576" y="153"/>
                      <a:pt x="576" y="153"/>
                    </a:cubicBezTo>
                    <a:cubicBezTo>
                      <a:pt x="576" y="197"/>
                      <a:pt x="576" y="197"/>
                      <a:pt x="576" y="197"/>
                    </a:cubicBezTo>
                    <a:cubicBezTo>
                      <a:pt x="640" y="197"/>
                      <a:pt x="640" y="197"/>
                      <a:pt x="640" y="197"/>
                    </a:cubicBezTo>
                    <a:cubicBezTo>
                      <a:pt x="640" y="261"/>
                      <a:pt x="640" y="261"/>
                      <a:pt x="640" y="261"/>
                    </a:cubicBezTo>
                    <a:cubicBezTo>
                      <a:pt x="684" y="261"/>
                      <a:pt x="684" y="261"/>
                      <a:pt x="684" y="261"/>
                    </a:cubicBezTo>
                    <a:cubicBezTo>
                      <a:pt x="684" y="197"/>
                      <a:pt x="684" y="197"/>
                      <a:pt x="684" y="197"/>
                    </a:cubicBezTo>
                    <a:cubicBezTo>
                      <a:pt x="748" y="197"/>
                      <a:pt x="748" y="197"/>
                      <a:pt x="748" y="197"/>
                    </a:cubicBezTo>
                    <a:cubicBezTo>
                      <a:pt x="748" y="153"/>
                      <a:pt x="748" y="153"/>
                      <a:pt x="748" y="153"/>
                    </a:cubicBezTo>
                    <a:cubicBezTo>
                      <a:pt x="684" y="153"/>
                      <a:pt x="684" y="153"/>
                      <a:pt x="684" y="153"/>
                    </a:cubicBezTo>
                    <a:lnTo>
                      <a:pt x="684" y="89"/>
                    </a:lnTo>
                    <a:close/>
                    <a:moveTo>
                      <a:pt x="801" y="0"/>
                    </a:moveTo>
                    <a:cubicBezTo>
                      <a:pt x="296" y="0"/>
                      <a:pt x="296" y="0"/>
                      <a:pt x="296" y="0"/>
                    </a:cubicBezTo>
                    <a:cubicBezTo>
                      <a:pt x="290" y="0"/>
                      <a:pt x="284" y="2"/>
                      <a:pt x="280" y="6"/>
                    </a:cubicBezTo>
                    <a:cubicBezTo>
                      <a:pt x="122" y="165"/>
                      <a:pt x="122" y="165"/>
                      <a:pt x="122" y="165"/>
                    </a:cubicBezTo>
                    <a:cubicBezTo>
                      <a:pt x="27" y="196"/>
                      <a:pt x="27" y="196"/>
                      <a:pt x="27" y="196"/>
                    </a:cubicBezTo>
                    <a:cubicBezTo>
                      <a:pt x="26" y="196"/>
                      <a:pt x="26" y="196"/>
                      <a:pt x="25" y="197"/>
                    </a:cubicBezTo>
                    <a:cubicBezTo>
                      <a:pt x="10" y="203"/>
                      <a:pt x="0" y="218"/>
                      <a:pt x="0" y="235"/>
                    </a:cubicBezTo>
                    <a:cubicBezTo>
                      <a:pt x="0" y="403"/>
                      <a:pt x="0" y="403"/>
                      <a:pt x="0" y="403"/>
                    </a:cubicBezTo>
                    <a:cubicBezTo>
                      <a:pt x="0" y="426"/>
                      <a:pt x="19" y="444"/>
                      <a:pt x="42" y="444"/>
                    </a:cubicBezTo>
                    <a:cubicBezTo>
                      <a:pt x="79" y="444"/>
                      <a:pt x="79" y="444"/>
                      <a:pt x="79" y="444"/>
                    </a:cubicBezTo>
                    <a:cubicBezTo>
                      <a:pt x="79" y="443"/>
                      <a:pt x="79" y="442"/>
                      <a:pt x="79" y="441"/>
                    </a:cubicBezTo>
                    <a:cubicBezTo>
                      <a:pt x="79" y="383"/>
                      <a:pt x="126" y="335"/>
                      <a:pt x="184" y="335"/>
                    </a:cubicBezTo>
                    <a:cubicBezTo>
                      <a:pt x="243" y="335"/>
                      <a:pt x="290" y="383"/>
                      <a:pt x="290" y="441"/>
                    </a:cubicBezTo>
                    <a:cubicBezTo>
                      <a:pt x="290" y="442"/>
                      <a:pt x="290" y="443"/>
                      <a:pt x="290" y="444"/>
                    </a:cubicBezTo>
                    <a:cubicBezTo>
                      <a:pt x="565" y="444"/>
                      <a:pt x="565" y="444"/>
                      <a:pt x="565" y="444"/>
                    </a:cubicBezTo>
                    <a:cubicBezTo>
                      <a:pt x="565" y="443"/>
                      <a:pt x="565" y="442"/>
                      <a:pt x="565" y="441"/>
                    </a:cubicBezTo>
                    <a:cubicBezTo>
                      <a:pt x="565" y="388"/>
                      <a:pt x="608" y="344"/>
                      <a:pt x="662" y="344"/>
                    </a:cubicBezTo>
                    <a:cubicBezTo>
                      <a:pt x="715" y="344"/>
                      <a:pt x="759" y="388"/>
                      <a:pt x="759" y="441"/>
                    </a:cubicBezTo>
                    <a:cubicBezTo>
                      <a:pt x="759" y="442"/>
                      <a:pt x="759" y="443"/>
                      <a:pt x="759" y="444"/>
                    </a:cubicBezTo>
                    <a:cubicBezTo>
                      <a:pt x="801" y="444"/>
                      <a:pt x="801" y="444"/>
                      <a:pt x="801" y="444"/>
                    </a:cubicBezTo>
                    <a:cubicBezTo>
                      <a:pt x="825" y="444"/>
                      <a:pt x="844" y="425"/>
                      <a:pt x="844" y="401"/>
                    </a:cubicBezTo>
                    <a:cubicBezTo>
                      <a:pt x="844" y="43"/>
                      <a:pt x="844" y="43"/>
                      <a:pt x="844" y="43"/>
                    </a:cubicBezTo>
                    <a:cubicBezTo>
                      <a:pt x="844" y="19"/>
                      <a:pt x="825" y="0"/>
                      <a:pt x="801" y="0"/>
                    </a:cubicBezTo>
                    <a:close/>
                    <a:moveTo>
                      <a:pt x="302" y="161"/>
                    </a:moveTo>
                    <a:cubicBezTo>
                      <a:pt x="183" y="161"/>
                      <a:pt x="183" y="161"/>
                      <a:pt x="183" y="161"/>
                    </a:cubicBezTo>
                    <a:cubicBezTo>
                      <a:pt x="302" y="42"/>
                      <a:pt x="302" y="42"/>
                      <a:pt x="302" y="42"/>
                    </a:cubicBezTo>
                    <a:lnTo>
                      <a:pt x="302" y="161"/>
                    </a:lnTo>
                    <a:close/>
                    <a:moveTo>
                      <a:pt x="662" y="300"/>
                    </a:moveTo>
                    <a:cubicBezTo>
                      <a:pt x="593" y="300"/>
                      <a:pt x="537" y="244"/>
                      <a:pt x="537" y="175"/>
                    </a:cubicBezTo>
                    <a:cubicBezTo>
                      <a:pt x="537" y="106"/>
                      <a:pt x="593" y="50"/>
                      <a:pt x="662" y="50"/>
                    </a:cubicBezTo>
                    <a:cubicBezTo>
                      <a:pt x="731" y="50"/>
                      <a:pt x="787" y="106"/>
                      <a:pt x="787" y="175"/>
                    </a:cubicBezTo>
                    <a:cubicBezTo>
                      <a:pt x="787" y="244"/>
                      <a:pt x="731" y="300"/>
                      <a:pt x="662" y="300"/>
                    </a:cubicBezTo>
                    <a:close/>
                  </a:path>
                </a:pathLst>
              </a:custGeom>
              <a:grpFill/>
              <a:ln w="9525">
                <a:noFill/>
                <a:round/>
                <a:headEnd/>
                <a:tailEnd/>
              </a:ln>
            </p:spPr>
            <p:txBody>
              <a:bodyPr lIns="80147" tIns="40074" rIns="80147" bIns="40074"/>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07" name="Oval 206">
                <a:extLst>
                  <a:ext uri="{FF2B5EF4-FFF2-40B4-BE49-F238E27FC236}"/>
                </a:extLst>
              </p:cNvPr>
              <p:cNvSpPr/>
              <p:nvPr/>
            </p:nvSpPr>
            <p:spPr>
              <a:xfrm>
                <a:off x="10652080" y="3481268"/>
                <a:ext cx="435005" cy="433783"/>
              </a:xfrm>
              <a:prstGeom prst="ellipse">
                <a:avLst/>
              </a:prstGeom>
              <a:grpFill/>
              <a:ln w="9525" cap="flat" cmpd="sng" algn="ctr">
                <a:solidFill>
                  <a:srgbClr val="FFFFFF"/>
                </a:solid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sp>
            <p:nvSpPr>
              <p:cNvPr id="208" name="Moon 207">
                <a:extLst>
                  <a:ext uri="{FF2B5EF4-FFF2-40B4-BE49-F238E27FC236}"/>
                </a:extLst>
              </p:cNvPr>
              <p:cNvSpPr/>
              <p:nvPr/>
            </p:nvSpPr>
            <p:spPr>
              <a:xfrm rot="11063388">
                <a:off x="10773086" y="3600959"/>
                <a:ext cx="179606" cy="245014"/>
              </a:xfrm>
              <a:prstGeom prst="moon">
                <a:avLst>
                  <a:gd name="adj" fmla="val 45579"/>
                </a:avLst>
              </a:prstGeom>
              <a:solidFill>
                <a:srgbClr val="FF0000"/>
              </a:solidFill>
              <a:ln w="9525" cap="flat" cmpd="sng" algn="ctr">
                <a:solidFill>
                  <a:srgbClr val="E03C31"/>
                </a:solid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grpSp>
      </p:grpSp>
      <p:grpSp>
        <p:nvGrpSpPr>
          <p:cNvPr id="66634" name="Group 235"/>
          <p:cNvGrpSpPr>
            <a:grpSpLocks/>
          </p:cNvGrpSpPr>
          <p:nvPr/>
        </p:nvGrpSpPr>
        <p:grpSpPr bwMode="auto">
          <a:xfrm>
            <a:off x="4573588" y="4895850"/>
            <a:ext cx="252412" cy="252413"/>
            <a:chOff x="4627164" y="3718533"/>
            <a:chExt cx="365760" cy="365760"/>
          </a:xfrm>
        </p:grpSpPr>
        <p:sp>
          <p:nvSpPr>
            <p:cNvPr id="210" name="Oval 209">
              <a:extLst>
                <a:ext uri="{FF2B5EF4-FFF2-40B4-BE49-F238E27FC236}"/>
              </a:extLst>
            </p:cNvPr>
            <p:cNvSpPr/>
            <p:nvPr/>
          </p:nvSpPr>
          <p:spPr bwMode="ltGray">
            <a:xfrm>
              <a:off x="4627164" y="3718533"/>
              <a:ext cx="365760" cy="365760"/>
            </a:xfrm>
            <a:prstGeom prst="ellipse">
              <a:avLst/>
            </a:prstGeom>
            <a:solidFill>
              <a:srgbClr val="F0B323"/>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11" name="Freeform 5">
              <a:extLst>
                <a:ext uri="{FF2B5EF4-FFF2-40B4-BE49-F238E27FC236}"/>
              </a:extLst>
            </p:cNvPr>
            <p:cNvSpPr>
              <a:spLocks noEditPoints="1"/>
            </p:cNvSpPr>
            <p:nvPr/>
          </p:nvSpPr>
          <p:spPr bwMode="auto">
            <a:xfrm>
              <a:off x="4659369" y="3734636"/>
              <a:ext cx="287547" cy="287546"/>
            </a:xfrm>
            <a:custGeom>
              <a:avLst/>
              <a:gdLst>
                <a:gd name="T0" fmla="*/ 219409394 w 241"/>
                <a:gd name="T1" fmla="*/ 395194909 h 176"/>
                <a:gd name="T2" fmla="*/ 165519934 w 241"/>
                <a:gd name="T3" fmla="*/ 331962545 h 176"/>
                <a:gd name="T4" fmla="*/ 134725444 w 241"/>
                <a:gd name="T5" fmla="*/ 421540364 h 176"/>
                <a:gd name="T6" fmla="*/ 134725444 w 241"/>
                <a:gd name="T7" fmla="*/ 421540364 h 176"/>
                <a:gd name="T8" fmla="*/ 792954822 w 241"/>
                <a:gd name="T9" fmla="*/ 447887455 h 176"/>
                <a:gd name="T10" fmla="*/ 577394589 w 241"/>
                <a:gd name="T11" fmla="*/ 384655091 h 176"/>
                <a:gd name="T12" fmla="*/ 692873029 w 241"/>
                <a:gd name="T13" fmla="*/ 194962909 h 176"/>
                <a:gd name="T14" fmla="*/ 669776863 w 241"/>
                <a:gd name="T15" fmla="*/ 121192364 h 176"/>
                <a:gd name="T16" fmla="*/ 554298423 w 241"/>
                <a:gd name="T17" fmla="*/ 47423455 h 176"/>
                <a:gd name="T18" fmla="*/ 531202257 w 241"/>
                <a:gd name="T19" fmla="*/ 47423455 h 176"/>
                <a:gd name="T20" fmla="*/ 531202257 w 241"/>
                <a:gd name="T21" fmla="*/ 73768909 h 176"/>
                <a:gd name="T22" fmla="*/ 396478008 w 241"/>
                <a:gd name="T23" fmla="*/ 447887455 h 176"/>
                <a:gd name="T24" fmla="*/ 307943701 w 241"/>
                <a:gd name="T25" fmla="*/ 627041455 h 176"/>
                <a:gd name="T26" fmla="*/ 273300050 w 241"/>
                <a:gd name="T27" fmla="*/ 532194545 h 176"/>
                <a:gd name="T28" fmla="*/ 311792863 w 241"/>
                <a:gd name="T29" fmla="*/ 379386000 h 176"/>
                <a:gd name="T30" fmla="*/ 254053046 w 241"/>
                <a:gd name="T31" fmla="*/ 458425636 h 176"/>
                <a:gd name="T32" fmla="*/ 134725444 w 241"/>
                <a:gd name="T33" fmla="*/ 453156545 h 176"/>
                <a:gd name="T34" fmla="*/ 153971253 w 241"/>
                <a:gd name="T35" fmla="*/ 627041455 h 176"/>
                <a:gd name="T36" fmla="*/ 0 w 241"/>
                <a:gd name="T37" fmla="*/ 258193636 h 176"/>
                <a:gd name="T38" fmla="*/ 88534307 w 241"/>
                <a:gd name="T39" fmla="*/ 727157455 h 176"/>
                <a:gd name="T40" fmla="*/ 554298423 w 241"/>
                <a:gd name="T41" fmla="*/ 916851273 h 176"/>
                <a:gd name="T42" fmla="*/ 839145959 w 241"/>
                <a:gd name="T43" fmla="*/ 927389455 h 176"/>
                <a:gd name="T44" fmla="*/ 839145959 w 241"/>
                <a:gd name="T45" fmla="*/ 258193636 h 176"/>
                <a:gd name="T46" fmla="*/ 646681892 w 241"/>
                <a:gd name="T47" fmla="*/ 247655455 h 176"/>
                <a:gd name="T48" fmla="*/ 554298423 w 241"/>
                <a:gd name="T49" fmla="*/ 73768909 h 176"/>
                <a:gd name="T50" fmla="*/ 646681892 w 241"/>
                <a:gd name="T51" fmla="*/ 121192364 h 176"/>
                <a:gd name="T52" fmla="*/ 623585726 w 241"/>
                <a:gd name="T53" fmla="*/ 194962909 h 176"/>
                <a:gd name="T54" fmla="*/ 577394589 w 241"/>
                <a:gd name="T55" fmla="*/ 368847818 h 176"/>
                <a:gd name="T56" fmla="*/ 238656398 w 241"/>
                <a:gd name="T57" fmla="*/ 500580000 h 176"/>
                <a:gd name="T58" fmla="*/ 261752564 w 241"/>
                <a:gd name="T59" fmla="*/ 468963818 h 176"/>
                <a:gd name="T60" fmla="*/ 265601726 w 241"/>
                <a:gd name="T61" fmla="*/ 463694727 h 176"/>
                <a:gd name="T62" fmla="*/ 261752564 w 241"/>
                <a:gd name="T63" fmla="*/ 447887455 h 176"/>
                <a:gd name="T64" fmla="*/ 261752564 w 241"/>
                <a:gd name="T65" fmla="*/ 447887455 h 176"/>
                <a:gd name="T66" fmla="*/ 273300050 w 241"/>
                <a:gd name="T67" fmla="*/ 442618364 h 176"/>
                <a:gd name="T68" fmla="*/ 277149212 w 241"/>
                <a:gd name="T69" fmla="*/ 437347636 h 176"/>
                <a:gd name="T70" fmla="*/ 273300050 w 241"/>
                <a:gd name="T71" fmla="*/ 421540364 h 176"/>
                <a:gd name="T72" fmla="*/ 277149212 w 241"/>
                <a:gd name="T73" fmla="*/ 421540364 h 176"/>
                <a:gd name="T74" fmla="*/ 288696697 w 241"/>
                <a:gd name="T75" fmla="*/ 416271273 h 176"/>
                <a:gd name="T76" fmla="*/ 288696697 w 241"/>
                <a:gd name="T77" fmla="*/ 411002182 h 176"/>
                <a:gd name="T78" fmla="*/ 288696697 w 241"/>
                <a:gd name="T79" fmla="*/ 395194909 h 176"/>
                <a:gd name="T80" fmla="*/ 288696697 w 241"/>
                <a:gd name="T81" fmla="*/ 395194909 h 176"/>
                <a:gd name="T82" fmla="*/ 300245378 w 241"/>
                <a:gd name="T83" fmla="*/ 389925818 h 176"/>
                <a:gd name="T84" fmla="*/ 307943701 w 241"/>
                <a:gd name="T85" fmla="*/ 374116909 h 176"/>
                <a:gd name="T86" fmla="*/ 250203884 w 241"/>
                <a:gd name="T87" fmla="*/ 511118182 h 176"/>
                <a:gd name="T88" fmla="*/ 238656398 w 241"/>
                <a:gd name="T89" fmla="*/ 500580000 h 176"/>
                <a:gd name="T90" fmla="*/ 446518307 w 241"/>
                <a:gd name="T91" fmla="*/ 411002182 h 176"/>
                <a:gd name="T92" fmla="*/ 654380216 w 241"/>
                <a:gd name="T93" fmla="*/ 252924545 h 176"/>
                <a:gd name="T94" fmla="*/ 669776863 w 241"/>
                <a:gd name="T95" fmla="*/ 242386364 h 176"/>
                <a:gd name="T96" fmla="*/ 662078539 w 241"/>
                <a:gd name="T97" fmla="*/ 221308364 h 176"/>
                <a:gd name="T98" fmla="*/ 646681892 w 241"/>
                <a:gd name="T99" fmla="*/ 231848182 h 176"/>
                <a:gd name="T100" fmla="*/ 654380216 w 241"/>
                <a:gd name="T101" fmla="*/ 252924545 h 17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1" h="176">
                  <a:moveTo>
                    <a:pt x="58" y="70"/>
                  </a:moveTo>
                  <a:cubicBezTo>
                    <a:pt x="59" y="69"/>
                    <a:pt x="62" y="65"/>
                    <a:pt x="60" y="64"/>
                  </a:cubicBezTo>
                  <a:cubicBezTo>
                    <a:pt x="57" y="63"/>
                    <a:pt x="55" y="71"/>
                    <a:pt x="57" y="75"/>
                  </a:cubicBezTo>
                  <a:cubicBezTo>
                    <a:pt x="56" y="74"/>
                    <a:pt x="57" y="71"/>
                    <a:pt x="58" y="70"/>
                  </a:cubicBezTo>
                  <a:close/>
                  <a:moveTo>
                    <a:pt x="44" y="69"/>
                  </a:moveTo>
                  <a:cubicBezTo>
                    <a:pt x="44" y="68"/>
                    <a:pt x="46" y="63"/>
                    <a:pt x="43" y="63"/>
                  </a:cubicBezTo>
                  <a:cubicBezTo>
                    <a:pt x="40" y="63"/>
                    <a:pt x="42" y="72"/>
                    <a:pt x="45" y="75"/>
                  </a:cubicBezTo>
                  <a:cubicBezTo>
                    <a:pt x="44" y="74"/>
                    <a:pt x="44" y="70"/>
                    <a:pt x="44" y="69"/>
                  </a:cubicBezTo>
                  <a:close/>
                  <a:moveTo>
                    <a:pt x="35" y="80"/>
                  </a:moveTo>
                  <a:cubicBezTo>
                    <a:pt x="33" y="80"/>
                    <a:pt x="32" y="77"/>
                    <a:pt x="32" y="75"/>
                  </a:cubicBezTo>
                  <a:cubicBezTo>
                    <a:pt x="32" y="74"/>
                    <a:pt x="31" y="69"/>
                    <a:pt x="29" y="70"/>
                  </a:cubicBezTo>
                  <a:cubicBezTo>
                    <a:pt x="26" y="71"/>
                    <a:pt x="31" y="79"/>
                    <a:pt x="35" y="80"/>
                  </a:cubicBezTo>
                  <a:close/>
                  <a:moveTo>
                    <a:pt x="218" y="49"/>
                  </a:moveTo>
                  <a:cubicBezTo>
                    <a:pt x="218" y="89"/>
                    <a:pt x="218" y="89"/>
                    <a:pt x="218" y="89"/>
                  </a:cubicBezTo>
                  <a:cubicBezTo>
                    <a:pt x="214" y="87"/>
                    <a:pt x="210" y="85"/>
                    <a:pt x="206" y="85"/>
                  </a:cubicBezTo>
                  <a:cubicBezTo>
                    <a:pt x="144" y="85"/>
                    <a:pt x="144" y="85"/>
                    <a:pt x="144" y="85"/>
                  </a:cubicBezTo>
                  <a:cubicBezTo>
                    <a:pt x="144" y="73"/>
                    <a:pt x="144" y="73"/>
                    <a:pt x="144" y="73"/>
                  </a:cubicBezTo>
                  <a:cubicBezTo>
                    <a:pt x="146" y="73"/>
                    <a:pt x="148" y="73"/>
                    <a:pt x="150" y="73"/>
                  </a:cubicBezTo>
                  <a:cubicBezTo>
                    <a:pt x="158" y="73"/>
                    <a:pt x="167" y="69"/>
                    <a:pt x="171" y="60"/>
                  </a:cubicBezTo>
                  <a:cubicBezTo>
                    <a:pt x="180" y="60"/>
                    <a:pt x="180" y="60"/>
                    <a:pt x="180" y="60"/>
                  </a:cubicBezTo>
                  <a:cubicBezTo>
                    <a:pt x="180" y="37"/>
                    <a:pt x="180" y="37"/>
                    <a:pt x="180" y="37"/>
                  </a:cubicBezTo>
                  <a:cubicBezTo>
                    <a:pt x="177" y="32"/>
                    <a:pt x="177" y="32"/>
                    <a:pt x="177" y="32"/>
                  </a:cubicBezTo>
                  <a:cubicBezTo>
                    <a:pt x="177" y="23"/>
                    <a:pt x="177" y="23"/>
                    <a:pt x="177" y="23"/>
                  </a:cubicBezTo>
                  <a:cubicBezTo>
                    <a:pt x="174" y="23"/>
                    <a:pt x="174" y="23"/>
                    <a:pt x="174" y="23"/>
                  </a:cubicBezTo>
                  <a:cubicBezTo>
                    <a:pt x="174" y="15"/>
                    <a:pt x="174" y="15"/>
                    <a:pt x="174" y="15"/>
                  </a:cubicBezTo>
                  <a:cubicBezTo>
                    <a:pt x="174" y="11"/>
                    <a:pt x="171" y="9"/>
                    <a:pt x="166" y="9"/>
                  </a:cubicBezTo>
                  <a:cubicBezTo>
                    <a:pt x="144" y="9"/>
                    <a:pt x="144" y="9"/>
                    <a:pt x="144" y="9"/>
                  </a:cubicBezTo>
                  <a:cubicBezTo>
                    <a:pt x="144" y="0"/>
                    <a:pt x="144" y="0"/>
                    <a:pt x="144" y="0"/>
                  </a:cubicBezTo>
                  <a:cubicBezTo>
                    <a:pt x="138" y="0"/>
                    <a:pt x="138" y="0"/>
                    <a:pt x="138" y="0"/>
                  </a:cubicBezTo>
                  <a:cubicBezTo>
                    <a:pt x="138" y="9"/>
                    <a:pt x="138" y="9"/>
                    <a:pt x="138" y="9"/>
                  </a:cubicBezTo>
                  <a:cubicBezTo>
                    <a:pt x="113" y="9"/>
                    <a:pt x="113" y="9"/>
                    <a:pt x="113" y="9"/>
                  </a:cubicBezTo>
                  <a:cubicBezTo>
                    <a:pt x="113" y="14"/>
                    <a:pt x="113" y="14"/>
                    <a:pt x="113" y="14"/>
                  </a:cubicBezTo>
                  <a:cubicBezTo>
                    <a:pt x="138" y="14"/>
                    <a:pt x="138" y="14"/>
                    <a:pt x="138" y="14"/>
                  </a:cubicBezTo>
                  <a:cubicBezTo>
                    <a:pt x="138" y="71"/>
                    <a:pt x="138" y="71"/>
                    <a:pt x="138" y="71"/>
                  </a:cubicBezTo>
                  <a:cubicBezTo>
                    <a:pt x="130" y="72"/>
                    <a:pt x="122" y="73"/>
                    <a:pt x="115" y="75"/>
                  </a:cubicBezTo>
                  <a:cubicBezTo>
                    <a:pt x="109" y="77"/>
                    <a:pt x="105" y="81"/>
                    <a:pt x="103" y="85"/>
                  </a:cubicBezTo>
                  <a:cubicBezTo>
                    <a:pt x="93" y="85"/>
                    <a:pt x="93" y="85"/>
                    <a:pt x="93" y="85"/>
                  </a:cubicBezTo>
                  <a:cubicBezTo>
                    <a:pt x="82" y="85"/>
                    <a:pt x="73" y="94"/>
                    <a:pt x="73" y="105"/>
                  </a:cubicBezTo>
                  <a:cubicBezTo>
                    <a:pt x="73" y="111"/>
                    <a:pt x="76" y="116"/>
                    <a:pt x="80" y="119"/>
                  </a:cubicBezTo>
                  <a:cubicBezTo>
                    <a:pt x="60" y="119"/>
                    <a:pt x="60" y="119"/>
                    <a:pt x="60" y="119"/>
                  </a:cubicBezTo>
                  <a:cubicBezTo>
                    <a:pt x="61" y="118"/>
                    <a:pt x="63" y="117"/>
                    <a:pt x="65" y="116"/>
                  </a:cubicBezTo>
                  <a:cubicBezTo>
                    <a:pt x="69" y="112"/>
                    <a:pt x="71" y="107"/>
                    <a:pt x="71" y="101"/>
                  </a:cubicBezTo>
                  <a:cubicBezTo>
                    <a:pt x="71" y="98"/>
                    <a:pt x="70" y="95"/>
                    <a:pt x="69" y="92"/>
                  </a:cubicBezTo>
                  <a:cubicBezTo>
                    <a:pt x="81" y="74"/>
                    <a:pt x="81" y="74"/>
                    <a:pt x="81" y="74"/>
                  </a:cubicBezTo>
                  <a:cubicBezTo>
                    <a:pt x="81" y="74"/>
                    <a:pt x="81" y="72"/>
                    <a:pt x="81" y="72"/>
                  </a:cubicBezTo>
                  <a:cubicBezTo>
                    <a:pt x="80" y="70"/>
                    <a:pt x="80" y="70"/>
                    <a:pt x="80" y="70"/>
                  </a:cubicBezTo>
                  <a:cubicBezTo>
                    <a:pt x="79" y="70"/>
                    <a:pt x="77" y="70"/>
                    <a:pt x="77" y="71"/>
                  </a:cubicBezTo>
                  <a:cubicBezTo>
                    <a:pt x="66" y="87"/>
                    <a:pt x="66" y="87"/>
                    <a:pt x="66" y="87"/>
                  </a:cubicBezTo>
                  <a:cubicBezTo>
                    <a:pt x="65" y="87"/>
                    <a:pt x="65" y="86"/>
                    <a:pt x="65" y="86"/>
                  </a:cubicBezTo>
                  <a:cubicBezTo>
                    <a:pt x="61" y="82"/>
                    <a:pt x="56" y="80"/>
                    <a:pt x="50" y="80"/>
                  </a:cubicBezTo>
                  <a:cubicBezTo>
                    <a:pt x="44" y="80"/>
                    <a:pt x="39" y="82"/>
                    <a:pt x="35" y="86"/>
                  </a:cubicBezTo>
                  <a:cubicBezTo>
                    <a:pt x="31" y="90"/>
                    <a:pt x="29" y="95"/>
                    <a:pt x="29" y="101"/>
                  </a:cubicBezTo>
                  <a:cubicBezTo>
                    <a:pt x="29" y="107"/>
                    <a:pt x="31" y="112"/>
                    <a:pt x="35" y="116"/>
                  </a:cubicBezTo>
                  <a:cubicBezTo>
                    <a:pt x="36" y="117"/>
                    <a:pt x="38" y="118"/>
                    <a:pt x="40" y="119"/>
                  </a:cubicBezTo>
                  <a:cubicBezTo>
                    <a:pt x="23" y="119"/>
                    <a:pt x="23" y="119"/>
                    <a:pt x="23" y="119"/>
                  </a:cubicBezTo>
                  <a:cubicBezTo>
                    <a:pt x="23" y="49"/>
                    <a:pt x="23" y="49"/>
                    <a:pt x="23" y="49"/>
                  </a:cubicBezTo>
                  <a:cubicBezTo>
                    <a:pt x="0" y="49"/>
                    <a:pt x="0" y="49"/>
                    <a:pt x="0" y="49"/>
                  </a:cubicBezTo>
                  <a:cubicBezTo>
                    <a:pt x="0" y="176"/>
                    <a:pt x="0" y="176"/>
                    <a:pt x="0" y="176"/>
                  </a:cubicBezTo>
                  <a:cubicBezTo>
                    <a:pt x="23" y="176"/>
                    <a:pt x="23" y="176"/>
                    <a:pt x="23" y="176"/>
                  </a:cubicBezTo>
                  <a:cubicBezTo>
                    <a:pt x="23" y="138"/>
                    <a:pt x="23" y="138"/>
                    <a:pt x="23" y="138"/>
                  </a:cubicBezTo>
                  <a:cubicBezTo>
                    <a:pt x="138" y="138"/>
                    <a:pt x="138" y="138"/>
                    <a:pt x="138" y="138"/>
                  </a:cubicBezTo>
                  <a:cubicBezTo>
                    <a:pt x="138" y="174"/>
                    <a:pt x="138" y="174"/>
                    <a:pt x="138" y="174"/>
                  </a:cubicBezTo>
                  <a:cubicBezTo>
                    <a:pt x="144" y="174"/>
                    <a:pt x="144" y="174"/>
                    <a:pt x="144" y="174"/>
                  </a:cubicBezTo>
                  <a:cubicBezTo>
                    <a:pt x="144" y="138"/>
                    <a:pt x="144" y="138"/>
                    <a:pt x="144" y="138"/>
                  </a:cubicBezTo>
                  <a:cubicBezTo>
                    <a:pt x="218" y="138"/>
                    <a:pt x="218" y="138"/>
                    <a:pt x="218" y="138"/>
                  </a:cubicBezTo>
                  <a:cubicBezTo>
                    <a:pt x="218" y="176"/>
                    <a:pt x="218" y="176"/>
                    <a:pt x="218" y="176"/>
                  </a:cubicBezTo>
                  <a:cubicBezTo>
                    <a:pt x="241" y="176"/>
                    <a:pt x="241" y="176"/>
                    <a:pt x="241" y="176"/>
                  </a:cubicBezTo>
                  <a:cubicBezTo>
                    <a:pt x="241" y="49"/>
                    <a:pt x="241" y="49"/>
                    <a:pt x="241" y="49"/>
                  </a:cubicBezTo>
                  <a:lnTo>
                    <a:pt x="218" y="49"/>
                  </a:lnTo>
                  <a:close/>
                  <a:moveTo>
                    <a:pt x="175" y="47"/>
                  </a:moveTo>
                  <a:cubicBezTo>
                    <a:pt x="174" y="50"/>
                    <a:pt x="173" y="51"/>
                    <a:pt x="171" y="51"/>
                  </a:cubicBezTo>
                  <a:cubicBezTo>
                    <a:pt x="169" y="51"/>
                    <a:pt x="168" y="50"/>
                    <a:pt x="168" y="47"/>
                  </a:cubicBezTo>
                  <a:cubicBezTo>
                    <a:pt x="167" y="43"/>
                    <a:pt x="169" y="40"/>
                    <a:pt x="171" y="36"/>
                  </a:cubicBezTo>
                  <a:cubicBezTo>
                    <a:pt x="174" y="40"/>
                    <a:pt x="175" y="43"/>
                    <a:pt x="175" y="47"/>
                  </a:cubicBezTo>
                  <a:close/>
                  <a:moveTo>
                    <a:pt x="144" y="14"/>
                  </a:moveTo>
                  <a:cubicBezTo>
                    <a:pt x="167" y="14"/>
                    <a:pt x="167" y="14"/>
                    <a:pt x="167" y="14"/>
                  </a:cubicBezTo>
                  <a:cubicBezTo>
                    <a:pt x="168" y="14"/>
                    <a:pt x="168" y="15"/>
                    <a:pt x="168" y="15"/>
                  </a:cubicBezTo>
                  <a:cubicBezTo>
                    <a:pt x="168" y="23"/>
                    <a:pt x="168" y="23"/>
                    <a:pt x="168" y="23"/>
                  </a:cubicBezTo>
                  <a:cubicBezTo>
                    <a:pt x="166" y="23"/>
                    <a:pt x="166" y="23"/>
                    <a:pt x="166" y="23"/>
                  </a:cubicBezTo>
                  <a:cubicBezTo>
                    <a:pt x="166" y="32"/>
                    <a:pt x="166" y="32"/>
                    <a:pt x="166" y="32"/>
                  </a:cubicBezTo>
                  <a:cubicBezTo>
                    <a:pt x="162" y="37"/>
                    <a:pt x="162" y="37"/>
                    <a:pt x="162" y="37"/>
                  </a:cubicBezTo>
                  <a:cubicBezTo>
                    <a:pt x="162" y="60"/>
                    <a:pt x="162" y="60"/>
                    <a:pt x="162" y="60"/>
                  </a:cubicBezTo>
                  <a:cubicBezTo>
                    <a:pt x="168" y="60"/>
                    <a:pt x="168" y="60"/>
                    <a:pt x="168" y="60"/>
                  </a:cubicBezTo>
                  <a:cubicBezTo>
                    <a:pt x="164" y="67"/>
                    <a:pt x="157" y="70"/>
                    <a:pt x="150" y="70"/>
                  </a:cubicBezTo>
                  <a:cubicBezTo>
                    <a:pt x="148" y="70"/>
                    <a:pt x="146" y="70"/>
                    <a:pt x="144" y="70"/>
                  </a:cubicBezTo>
                  <a:lnTo>
                    <a:pt x="144" y="14"/>
                  </a:lnTo>
                  <a:close/>
                  <a:moveTo>
                    <a:pt x="62" y="95"/>
                  </a:moveTo>
                  <a:cubicBezTo>
                    <a:pt x="66" y="89"/>
                    <a:pt x="66" y="89"/>
                    <a:pt x="66" y="89"/>
                  </a:cubicBezTo>
                  <a:cubicBezTo>
                    <a:pt x="68" y="90"/>
                    <a:pt x="68" y="90"/>
                    <a:pt x="68" y="90"/>
                  </a:cubicBezTo>
                  <a:cubicBezTo>
                    <a:pt x="68" y="89"/>
                    <a:pt x="68" y="89"/>
                    <a:pt x="68" y="89"/>
                  </a:cubicBezTo>
                  <a:cubicBezTo>
                    <a:pt x="66" y="88"/>
                    <a:pt x="66" y="88"/>
                    <a:pt x="66" y="88"/>
                  </a:cubicBezTo>
                  <a:cubicBezTo>
                    <a:pt x="67" y="87"/>
                    <a:pt x="67" y="87"/>
                    <a:pt x="67" y="87"/>
                  </a:cubicBezTo>
                  <a:cubicBezTo>
                    <a:pt x="69" y="88"/>
                    <a:pt x="69" y="88"/>
                    <a:pt x="69" y="88"/>
                  </a:cubicBezTo>
                  <a:cubicBezTo>
                    <a:pt x="69" y="88"/>
                    <a:pt x="69" y="88"/>
                    <a:pt x="69" y="88"/>
                  </a:cubicBezTo>
                  <a:cubicBezTo>
                    <a:pt x="67" y="86"/>
                    <a:pt x="67" y="86"/>
                    <a:pt x="67" y="86"/>
                  </a:cubicBezTo>
                  <a:cubicBezTo>
                    <a:pt x="68" y="85"/>
                    <a:pt x="68" y="85"/>
                    <a:pt x="68" y="85"/>
                  </a:cubicBezTo>
                  <a:cubicBezTo>
                    <a:pt x="70" y="86"/>
                    <a:pt x="70" y="86"/>
                    <a:pt x="70" y="86"/>
                  </a:cubicBezTo>
                  <a:cubicBezTo>
                    <a:pt x="70" y="86"/>
                    <a:pt x="70" y="86"/>
                    <a:pt x="70" y="86"/>
                  </a:cubicBezTo>
                  <a:cubicBezTo>
                    <a:pt x="68" y="85"/>
                    <a:pt x="68" y="85"/>
                    <a:pt x="68" y="85"/>
                  </a:cubicBezTo>
                  <a:cubicBezTo>
                    <a:pt x="69" y="83"/>
                    <a:pt x="69" y="83"/>
                    <a:pt x="69" y="83"/>
                  </a:cubicBezTo>
                  <a:cubicBezTo>
                    <a:pt x="71" y="85"/>
                    <a:pt x="71" y="85"/>
                    <a:pt x="71" y="85"/>
                  </a:cubicBezTo>
                  <a:cubicBezTo>
                    <a:pt x="71" y="84"/>
                    <a:pt x="71" y="84"/>
                    <a:pt x="71" y="84"/>
                  </a:cubicBezTo>
                  <a:cubicBezTo>
                    <a:pt x="69" y="83"/>
                    <a:pt x="69" y="83"/>
                    <a:pt x="69" y="83"/>
                  </a:cubicBezTo>
                  <a:cubicBezTo>
                    <a:pt x="70" y="82"/>
                    <a:pt x="70" y="82"/>
                    <a:pt x="70" y="82"/>
                  </a:cubicBezTo>
                  <a:cubicBezTo>
                    <a:pt x="72" y="83"/>
                    <a:pt x="72" y="83"/>
                    <a:pt x="72" y="83"/>
                  </a:cubicBezTo>
                  <a:cubicBezTo>
                    <a:pt x="72" y="82"/>
                    <a:pt x="72" y="82"/>
                    <a:pt x="72" y="82"/>
                  </a:cubicBezTo>
                  <a:cubicBezTo>
                    <a:pt x="71" y="81"/>
                    <a:pt x="71" y="81"/>
                    <a:pt x="71" y="81"/>
                  </a:cubicBezTo>
                  <a:cubicBezTo>
                    <a:pt x="71" y="80"/>
                    <a:pt x="71" y="80"/>
                    <a:pt x="71" y="80"/>
                  </a:cubicBezTo>
                  <a:cubicBezTo>
                    <a:pt x="73" y="81"/>
                    <a:pt x="73" y="81"/>
                    <a:pt x="73" y="81"/>
                  </a:cubicBezTo>
                  <a:cubicBezTo>
                    <a:pt x="73" y="81"/>
                    <a:pt x="73" y="81"/>
                    <a:pt x="73" y="81"/>
                  </a:cubicBezTo>
                  <a:cubicBezTo>
                    <a:pt x="72" y="80"/>
                    <a:pt x="72" y="80"/>
                    <a:pt x="72" y="80"/>
                  </a:cubicBezTo>
                  <a:cubicBezTo>
                    <a:pt x="73" y="78"/>
                    <a:pt x="73" y="78"/>
                    <a:pt x="73" y="78"/>
                  </a:cubicBezTo>
                  <a:cubicBezTo>
                    <a:pt x="74" y="80"/>
                    <a:pt x="74" y="80"/>
                    <a:pt x="74" y="80"/>
                  </a:cubicBezTo>
                  <a:cubicBezTo>
                    <a:pt x="75" y="79"/>
                    <a:pt x="75" y="79"/>
                    <a:pt x="75" y="79"/>
                  </a:cubicBezTo>
                  <a:cubicBezTo>
                    <a:pt x="73" y="78"/>
                    <a:pt x="73" y="78"/>
                    <a:pt x="73" y="78"/>
                  </a:cubicBezTo>
                  <a:cubicBezTo>
                    <a:pt x="74" y="77"/>
                    <a:pt x="74" y="77"/>
                    <a:pt x="74" y="77"/>
                  </a:cubicBezTo>
                  <a:cubicBezTo>
                    <a:pt x="75" y="78"/>
                    <a:pt x="75" y="78"/>
                    <a:pt x="75" y="78"/>
                  </a:cubicBezTo>
                  <a:cubicBezTo>
                    <a:pt x="76" y="77"/>
                    <a:pt x="76" y="77"/>
                    <a:pt x="76" y="77"/>
                  </a:cubicBezTo>
                  <a:cubicBezTo>
                    <a:pt x="74" y="76"/>
                    <a:pt x="74" y="76"/>
                    <a:pt x="74" y="76"/>
                  </a:cubicBezTo>
                  <a:cubicBezTo>
                    <a:pt x="75" y="75"/>
                    <a:pt x="75" y="75"/>
                    <a:pt x="75" y="75"/>
                  </a:cubicBezTo>
                  <a:cubicBezTo>
                    <a:pt x="76" y="76"/>
                    <a:pt x="76" y="76"/>
                    <a:pt x="76" y="76"/>
                  </a:cubicBezTo>
                  <a:cubicBezTo>
                    <a:pt x="77" y="76"/>
                    <a:pt x="77" y="76"/>
                    <a:pt x="77" y="76"/>
                  </a:cubicBezTo>
                  <a:cubicBezTo>
                    <a:pt x="75" y="75"/>
                    <a:pt x="75" y="75"/>
                    <a:pt x="75" y="75"/>
                  </a:cubicBezTo>
                  <a:cubicBezTo>
                    <a:pt x="76" y="73"/>
                    <a:pt x="76" y="73"/>
                    <a:pt x="76" y="73"/>
                  </a:cubicBezTo>
                  <a:cubicBezTo>
                    <a:pt x="78" y="74"/>
                    <a:pt x="78" y="74"/>
                    <a:pt x="78" y="74"/>
                  </a:cubicBezTo>
                  <a:cubicBezTo>
                    <a:pt x="78" y="74"/>
                    <a:pt x="78" y="74"/>
                    <a:pt x="78" y="74"/>
                  </a:cubicBezTo>
                  <a:cubicBezTo>
                    <a:pt x="76" y="73"/>
                    <a:pt x="76" y="73"/>
                    <a:pt x="76" y="73"/>
                  </a:cubicBezTo>
                  <a:cubicBezTo>
                    <a:pt x="77" y="72"/>
                    <a:pt x="77" y="72"/>
                    <a:pt x="77" y="72"/>
                  </a:cubicBezTo>
                  <a:cubicBezTo>
                    <a:pt x="78" y="71"/>
                    <a:pt x="79" y="70"/>
                    <a:pt x="80" y="71"/>
                  </a:cubicBezTo>
                  <a:cubicBezTo>
                    <a:pt x="80" y="71"/>
                    <a:pt x="80" y="72"/>
                    <a:pt x="80" y="72"/>
                  </a:cubicBezTo>
                  <a:cubicBezTo>
                    <a:pt x="80" y="74"/>
                    <a:pt x="80" y="74"/>
                    <a:pt x="80" y="74"/>
                  </a:cubicBezTo>
                  <a:cubicBezTo>
                    <a:pt x="65" y="97"/>
                    <a:pt x="65" y="97"/>
                    <a:pt x="65" y="97"/>
                  </a:cubicBezTo>
                  <a:cubicBezTo>
                    <a:pt x="64" y="97"/>
                    <a:pt x="64" y="97"/>
                    <a:pt x="64" y="97"/>
                  </a:cubicBezTo>
                  <a:cubicBezTo>
                    <a:pt x="62" y="97"/>
                    <a:pt x="62" y="97"/>
                    <a:pt x="62" y="97"/>
                  </a:cubicBezTo>
                  <a:cubicBezTo>
                    <a:pt x="61" y="97"/>
                    <a:pt x="61" y="95"/>
                    <a:pt x="62" y="95"/>
                  </a:cubicBezTo>
                  <a:close/>
                  <a:moveTo>
                    <a:pt x="138" y="85"/>
                  </a:moveTo>
                  <a:cubicBezTo>
                    <a:pt x="106" y="85"/>
                    <a:pt x="106" y="85"/>
                    <a:pt x="106" y="85"/>
                  </a:cubicBezTo>
                  <a:cubicBezTo>
                    <a:pt x="108" y="82"/>
                    <a:pt x="111" y="79"/>
                    <a:pt x="116" y="78"/>
                  </a:cubicBezTo>
                  <a:cubicBezTo>
                    <a:pt x="123" y="76"/>
                    <a:pt x="131" y="74"/>
                    <a:pt x="138" y="74"/>
                  </a:cubicBezTo>
                  <a:lnTo>
                    <a:pt x="138" y="85"/>
                  </a:lnTo>
                  <a:close/>
                  <a:moveTo>
                    <a:pt x="170" y="48"/>
                  </a:moveTo>
                  <a:cubicBezTo>
                    <a:pt x="172" y="48"/>
                    <a:pt x="172" y="48"/>
                    <a:pt x="172" y="48"/>
                  </a:cubicBezTo>
                  <a:cubicBezTo>
                    <a:pt x="172" y="46"/>
                    <a:pt x="172" y="46"/>
                    <a:pt x="172" y="46"/>
                  </a:cubicBezTo>
                  <a:cubicBezTo>
                    <a:pt x="174" y="46"/>
                    <a:pt x="174" y="46"/>
                    <a:pt x="174" y="46"/>
                  </a:cubicBezTo>
                  <a:cubicBezTo>
                    <a:pt x="174" y="44"/>
                    <a:pt x="174" y="44"/>
                    <a:pt x="174" y="44"/>
                  </a:cubicBezTo>
                  <a:cubicBezTo>
                    <a:pt x="172" y="44"/>
                    <a:pt x="172" y="44"/>
                    <a:pt x="172" y="44"/>
                  </a:cubicBezTo>
                  <a:cubicBezTo>
                    <a:pt x="172" y="42"/>
                    <a:pt x="172" y="42"/>
                    <a:pt x="172" y="42"/>
                  </a:cubicBezTo>
                  <a:cubicBezTo>
                    <a:pt x="170" y="42"/>
                    <a:pt x="170" y="42"/>
                    <a:pt x="170" y="42"/>
                  </a:cubicBezTo>
                  <a:cubicBezTo>
                    <a:pt x="170" y="44"/>
                    <a:pt x="170" y="44"/>
                    <a:pt x="170" y="44"/>
                  </a:cubicBezTo>
                  <a:cubicBezTo>
                    <a:pt x="168" y="44"/>
                    <a:pt x="168" y="44"/>
                    <a:pt x="168" y="44"/>
                  </a:cubicBezTo>
                  <a:cubicBezTo>
                    <a:pt x="168" y="46"/>
                    <a:pt x="168" y="46"/>
                    <a:pt x="168" y="46"/>
                  </a:cubicBezTo>
                  <a:cubicBezTo>
                    <a:pt x="170" y="46"/>
                    <a:pt x="170" y="46"/>
                    <a:pt x="170" y="46"/>
                  </a:cubicBezTo>
                  <a:lnTo>
                    <a:pt x="170"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35" name="Group 238"/>
          <p:cNvGrpSpPr>
            <a:grpSpLocks/>
          </p:cNvGrpSpPr>
          <p:nvPr/>
        </p:nvGrpSpPr>
        <p:grpSpPr bwMode="auto">
          <a:xfrm>
            <a:off x="4573588" y="4540250"/>
            <a:ext cx="252412" cy="252413"/>
            <a:chOff x="4630765" y="2321132"/>
            <a:chExt cx="365760" cy="365760"/>
          </a:xfrm>
        </p:grpSpPr>
        <p:sp>
          <p:nvSpPr>
            <p:cNvPr id="213" name="Oval 212">
              <a:extLst>
                <a:ext uri="{FF2B5EF4-FFF2-40B4-BE49-F238E27FC236}"/>
              </a:extLst>
            </p:cNvPr>
            <p:cNvSpPr/>
            <p:nvPr/>
          </p:nvSpPr>
          <p:spPr bwMode="ltGray">
            <a:xfrm>
              <a:off x="4630765" y="2321132"/>
              <a:ext cx="365760" cy="365760"/>
            </a:xfrm>
            <a:prstGeom prst="ellipse">
              <a:avLst/>
            </a:prstGeom>
            <a:solidFill>
              <a:srgbClr val="F0B323"/>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214" name="Group 66">
              <a:extLst>
                <a:ext uri="{FF2B5EF4-FFF2-40B4-BE49-F238E27FC236}"/>
              </a:extLst>
            </p:cNvPr>
            <p:cNvGrpSpPr>
              <a:grpSpLocks/>
            </p:cNvGrpSpPr>
            <p:nvPr/>
          </p:nvGrpSpPr>
          <p:grpSpPr bwMode="auto">
            <a:xfrm>
              <a:off x="4680982" y="2343759"/>
              <a:ext cx="288000" cy="288000"/>
              <a:chOff x="2171" y="1544"/>
              <a:chExt cx="352" cy="378"/>
            </a:xfrm>
            <a:solidFill>
              <a:srgbClr val="FFFFFF"/>
            </a:solidFill>
          </p:grpSpPr>
          <p:sp>
            <p:nvSpPr>
              <p:cNvPr id="215" name="Freeform 67">
                <a:extLst>
                  <a:ext uri="{FF2B5EF4-FFF2-40B4-BE49-F238E27FC236}"/>
                </a:extLst>
              </p:cNvPr>
              <p:cNvSpPr>
                <a:spLocks noEditPoints="1"/>
              </p:cNvSpPr>
              <p:nvPr/>
            </p:nvSpPr>
            <p:spPr bwMode="auto">
              <a:xfrm>
                <a:off x="2270" y="1544"/>
                <a:ext cx="189" cy="227"/>
              </a:xfrm>
              <a:custGeom>
                <a:avLst/>
                <a:gdLst>
                  <a:gd name="T0" fmla="*/ 76 w 80"/>
                  <a:gd name="T1" fmla="*/ 194 h 96"/>
                  <a:gd name="T2" fmla="*/ 111 w 80"/>
                  <a:gd name="T3" fmla="*/ 184 h 96"/>
                  <a:gd name="T4" fmla="*/ 172 w 80"/>
                  <a:gd name="T5" fmla="*/ 227 h 96"/>
                  <a:gd name="T6" fmla="*/ 180 w 80"/>
                  <a:gd name="T7" fmla="*/ 227 h 96"/>
                  <a:gd name="T8" fmla="*/ 187 w 80"/>
                  <a:gd name="T9" fmla="*/ 222 h 96"/>
                  <a:gd name="T10" fmla="*/ 189 w 80"/>
                  <a:gd name="T11" fmla="*/ 218 h 96"/>
                  <a:gd name="T12" fmla="*/ 189 w 80"/>
                  <a:gd name="T13" fmla="*/ 215 h 96"/>
                  <a:gd name="T14" fmla="*/ 184 w 80"/>
                  <a:gd name="T15" fmla="*/ 208 h 96"/>
                  <a:gd name="T16" fmla="*/ 128 w 80"/>
                  <a:gd name="T17" fmla="*/ 170 h 96"/>
                  <a:gd name="T18" fmla="*/ 154 w 80"/>
                  <a:gd name="T19" fmla="*/ 97 h 96"/>
                  <a:gd name="T20" fmla="*/ 76 w 80"/>
                  <a:gd name="T21" fmla="*/ 0 h 96"/>
                  <a:gd name="T22" fmla="*/ 0 w 80"/>
                  <a:gd name="T23" fmla="*/ 97 h 96"/>
                  <a:gd name="T24" fmla="*/ 76 w 80"/>
                  <a:gd name="T25" fmla="*/ 194 h 96"/>
                  <a:gd name="T26" fmla="*/ 184 w 80"/>
                  <a:gd name="T27" fmla="*/ 215 h 96"/>
                  <a:gd name="T28" fmla="*/ 184 w 80"/>
                  <a:gd name="T29" fmla="*/ 222 h 96"/>
                  <a:gd name="T30" fmla="*/ 180 w 80"/>
                  <a:gd name="T31" fmla="*/ 225 h 96"/>
                  <a:gd name="T32" fmla="*/ 175 w 80"/>
                  <a:gd name="T33" fmla="*/ 222 h 96"/>
                  <a:gd name="T34" fmla="*/ 83 w 80"/>
                  <a:gd name="T35" fmla="*/ 163 h 96"/>
                  <a:gd name="T36" fmla="*/ 80 w 80"/>
                  <a:gd name="T37" fmla="*/ 158 h 96"/>
                  <a:gd name="T38" fmla="*/ 83 w 80"/>
                  <a:gd name="T39" fmla="*/ 154 h 96"/>
                  <a:gd name="T40" fmla="*/ 92 w 80"/>
                  <a:gd name="T41" fmla="*/ 151 h 96"/>
                  <a:gd name="T42" fmla="*/ 116 w 80"/>
                  <a:gd name="T43" fmla="*/ 168 h 96"/>
                  <a:gd name="T44" fmla="*/ 111 w 80"/>
                  <a:gd name="T45" fmla="*/ 173 h 96"/>
                  <a:gd name="T46" fmla="*/ 113 w 80"/>
                  <a:gd name="T47" fmla="*/ 175 h 96"/>
                  <a:gd name="T48" fmla="*/ 118 w 80"/>
                  <a:gd name="T49" fmla="*/ 168 h 96"/>
                  <a:gd name="T50" fmla="*/ 123 w 80"/>
                  <a:gd name="T51" fmla="*/ 170 h 96"/>
                  <a:gd name="T52" fmla="*/ 118 w 80"/>
                  <a:gd name="T53" fmla="*/ 177 h 96"/>
                  <a:gd name="T54" fmla="*/ 118 w 80"/>
                  <a:gd name="T55" fmla="*/ 180 h 96"/>
                  <a:gd name="T56" fmla="*/ 123 w 80"/>
                  <a:gd name="T57" fmla="*/ 173 h 96"/>
                  <a:gd name="T58" fmla="*/ 128 w 80"/>
                  <a:gd name="T59" fmla="*/ 175 h 96"/>
                  <a:gd name="T60" fmla="*/ 125 w 80"/>
                  <a:gd name="T61" fmla="*/ 182 h 96"/>
                  <a:gd name="T62" fmla="*/ 125 w 80"/>
                  <a:gd name="T63" fmla="*/ 184 h 96"/>
                  <a:gd name="T64" fmla="*/ 130 w 80"/>
                  <a:gd name="T65" fmla="*/ 177 h 96"/>
                  <a:gd name="T66" fmla="*/ 135 w 80"/>
                  <a:gd name="T67" fmla="*/ 180 h 96"/>
                  <a:gd name="T68" fmla="*/ 130 w 80"/>
                  <a:gd name="T69" fmla="*/ 187 h 96"/>
                  <a:gd name="T70" fmla="*/ 132 w 80"/>
                  <a:gd name="T71" fmla="*/ 189 h 96"/>
                  <a:gd name="T72" fmla="*/ 137 w 80"/>
                  <a:gd name="T73" fmla="*/ 182 h 96"/>
                  <a:gd name="T74" fmla="*/ 142 w 80"/>
                  <a:gd name="T75" fmla="*/ 184 h 96"/>
                  <a:gd name="T76" fmla="*/ 137 w 80"/>
                  <a:gd name="T77" fmla="*/ 192 h 96"/>
                  <a:gd name="T78" fmla="*/ 139 w 80"/>
                  <a:gd name="T79" fmla="*/ 192 h 96"/>
                  <a:gd name="T80" fmla="*/ 144 w 80"/>
                  <a:gd name="T81" fmla="*/ 187 h 96"/>
                  <a:gd name="T82" fmla="*/ 149 w 80"/>
                  <a:gd name="T83" fmla="*/ 189 h 96"/>
                  <a:gd name="T84" fmla="*/ 144 w 80"/>
                  <a:gd name="T85" fmla="*/ 196 h 96"/>
                  <a:gd name="T86" fmla="*/ 146 w 80"/>
                  <a:gd name="T87" fmla="*/ 196 h 96"/>
                  <a:gd name="T88" fmla="*/ 151 w 80"/>
                  <a:gd name="T89" fmla="*/ 189 h 96"/>
                  <a:gd name="T90" fmla="*/ 156 w 80"/>
                  <a:gd name="T91" fmla="*/ 194 h 96"/>
                  <a:gd name="T92" fmla="*/ 151 w 80"/>
                  <a:gd name="T93" fmla="*/ 201 h 96"/>
                  <a:gd name="T94" fmla="*/ 154 w 80"/>
                  <a:gd name="T95" fmla="*/ 201 h 96"/>
                  <a:gd name="T96" fmla="*/ 156 w 80"/>
                  <a:gd name="T97" fmla="*/ 194 h 96"/>
                  <a:gd name="T98" fmla="*/ 161 w 80"/>
                  <a:gd name="T99" fmla="*/ 199 h 96"/>
                  <a:gd name="T100" fmla="*/ 158 w 80"/>
                  <a:gd name="T101" fmla="*/ 203 h 96"/>
                  <a:gd name="T102" fmla="*/ 158 w 80"/>
                  <a:gd name="T103" fmla="*/ 206 h 96"/>
                  <a:gd name="T104" fmla="*/ 163 w 80"/>
                  <a:gd name="T105" fmla="*/ 199 h 96"/>
                  <a:gd name="T106" fmla="*/ 168 w 80"/>
                  <a:gd name="T107" fmla="*/ 203 h 96"/>
                  <a:gd name="T108" fmla="*/ 163 w 80"/>
                  <a:gd name="T109" fmla="*/ 208 h 96"/>
                  <a:gd name="T110" fmla="*/ 165 w 80"/>
                  <a:gd name="T111" fmla="*/ 210 h 96"/>
                  <a:gd name="T112" fmla="*/ 170 w 80"/>
                  <a:gd name="T113" fmla="*/ 203 h 96"/>
                  <a:gd name="T114" fmla="*/ 175 w 80"/>
                  <a:gd name="T115" fmla="*/ 206 h 96"/>
                  <a:gd name="T116" fmla="*/ 170 w 80"/>
                  <a:gd name="T117" fmla="*/ 213 h 96"/>
                  <a:gd name="T118" fmla="*/ 172 w 80"/>
                  <a:gd name="T119" fmla="*/ 215 h 96"/>
                  <a:gd name="T120" fmla="*/ 177 w 80"/>
                  <a:gd name="T121" fmla="*/ 208 h 96"/>
                  <a:gd name="T122" fmla="*/ 182 w 80"/>
                  <a:gd name="T123" fmla="*/ 210 h 96"/>
                  <a:gd name="T124" fmla="*/ 184 w 80"/>
                  <a:gd name="T125" fmla="*/ 215 h 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0" h="96">
                    <a:moveTo>
                      <a:pt x="32" y="82"/>
                    </a:moveTo>
                    <a:cubicBezTo>
                      <a:pt x="38" y="82"/>
                      <a:pt x="42" y="80"/>
                      <a:pt x="47" y="78"/>
                    </a:cubicBezTo>
                    <a:cubicBezTo>
                      <a:pt x="73" y="96"/>
                      <a:pt x="73" y="96"/>
                      <a:pt x="73" y="96"/>
                    </a:cubicBezTo>
                    <a:cubicBezTo>
                      <a:pt x="74" y="96"/>
                      <a:pt x="75" y="96"/>
                      <a:pt x="76" y="96"/>
                    </a:cubicBezTo>
                    <a:cubicBezTo>
                      <a:pt x="77" y="96"/>
                      <a:pt x="78" y="95"/>
                      <a:pt x="79" y="94"/>
                    </a:cubicBezTo>
                    <a:cubicBezTo>
                      <a:pt x="80" y="94"/>
                      <a:pt x="80" y="93"/>
                      <a:pt x="80" y="92"/>
                    </a:cubicBezTo>
                    <a:cubicBezTo>
                      <a:pt x="80" y="92"/>
                      <a:pt x="80" y="91"/>
                      <a:pt x="80" y="91"/>
                    </a:cubicBezTo>
                    <a:cubicBezTo>
                      <a:pt x="79" y="90"/>
                      <a:pt x="79" y="89"/>
                      <a:pt x="78" y="88"/>
                    </a:cubicBezTo>
                    <a:cubicBezTo>
                      <a:pt x="78" y="88"/>
                      <a:pt x="65" y="80"/>
                      <a:pt x="54" y="72"/>
                    </a:cubicBezTo>
                    <a:cubicBezTo>
                      <a:pt x="61" y="65"/>
                      <a:pt x="65" y="54"/>
                      <a:pt x="65" y="41"/>
                    </a:cubicBezTo>
                    <a:cubicBezTo>
                      <a:pt x="65" y="18"/>
                      <a:pt x="51" y="0"/>
                      <a:pt x="32" y="0"/>
                    </a:cubicBezTo>
                    <a:cubicBezTo>
                      <a:pt x="14" y="0"/>
                      <a:pt x="0" y="18"/>
                      <a:pt x="0" y="41"/>
                    </a:cubicBezTo>
                    <a:cubicBezTo>
                      <a:pt x="0" y="64"/>
                      <a:pt x="14" y="82"/>
                      <a:pt x="32" y="82"/>
                    </a:cubicBezTo>
                    <a:close/>
                    <a:moveTo>
                      <a:pt x="78" y="91"/>
                    </a:moveTo>
                    <a:cubicBezTo>
                      <a:pt x="79" y="92"/>
                      <a:pt x="78" y="93"/>
                      <a:pt x="78" y="94"/>
                    </a:cubicBezTo>
                    <a:cubicBezTo>
                      <a:pt x="78" y="94"/>
                      <a:pt x="77" y="95"/>
                      <a:pt x="76" y="95"/>
                    </a:cubicBezTo>
                    <a:cubicBezTo>
                      <a:pt x="75" y="95"/>
                      <a:pt x="75" y="95"/>
                      <a:pt x="74" y="94"/>
                    </a:cubicBezTo>
                    <a:cubicBezTo>
                      <a:pt x="35" y="69"/>
                      <a:pt x="35" y="69"/>
                      <a:pt x="35" y="69"/>
                    </a:cubicBezTo>
                    <a:cubicBezTo>
                      <a:pt x="35" y="68"/>
                      <a:pt x="34" y="68"/>
                      <a:pt x="34" y="67"/>
                    </a:cubicBezTo>
                    <a:cubicBezTo>
                      <a:pt x="34" y="66"/>
                      <a:pt x="34" y="65"/>
                      <a:pt x="35" y="65"/>
                    </a:cubicBezTo>
                    <a:cubicBezTo>
                      <a:pt x="36" y="63"/>
                      <a:pt x="37" y="63"/>
                      <a:pt x="39" y="64"/>
                    </a:cubicBezTo>
                    <a:cubicBezTo>
                      <a:pt x="49" y="71"/>
                      <a:pt x="49" y="71"/>
                      <a:pt x="49" y="71"/>
                    </a:cubicBezTo>
                    <a:cubicBezTo>
                      <a:pt x="47" y="73"/>
                      <a:pt x="47" y="73"/>
                      <a:pt x="47" y="73"/>
                    </a:cubicBezTo>
                    <a:cubicBezTo>
                      <a:pt x="48" y="74"/>
                      <a:pt x="48" y="74"/>
                      <a:pt x="48" y="74"/>
                    </a:cubicBezTo>
                    <a:cubicBezTo>
                      <a:pt x="50" y="71"/>
                      <a:pt x="50" y="71"/>
                      <a:pt x="50" y="71"/>
                    </a:cubicBezTo>
                    <a:cubicBezTo>
                      <a:pt x="52" y="72"/>
                      <a:pt x="52" y="72"/>
                      <a:pt x="52" y="72"/>
                    </a:cubicBezTo>
                    <a:cubicBezTo>
                      <a:pt x="50" y="75"/>
                      <a:pt x="50" y="75"/>
                      <a:pt x="50" y="75"/>
                    </a:cubicBezTo>
                    <a:cubicBezTo>
                      <a:pt x="50" y="76"/>
                      <a:pt x="50" y="76"/>
                      <a:pt x="50" y="76"/>
                    </a:cubicBezTo>
                    <a:cubicBezTo>
                      <a:pt x="52" y="73"/>
                      <a:pt x="52" y="73"/>
                      <a:pt x="52" y="73"/>
                    </a:cubicBezTo>
                    <a:cubicBezTo>
                      <a:pt x="54" y="74"/>
                      <a:pt x="54" y="74"/>
                      <a:pt x="54" y="74"/>
                    </a:cubicBezTo>
                    <a:cubicBezTo>
                      <a:pt x="53" y="77"/>
                      <a:pt x="53" y="77"/>
                      <a:pt x="53" y="77"/>
                    </a:cubicBezTo>
                    <a:cubicBezTo>
                      <a:pt x="53" y="78"/>
                      <a:pt x="53" y="78"/>
                      <a:pt x="53" y="78"/>
                    </a:cubicBezTo>
                    <a:cubicBezTo>
                      <a:pt x="55" y="75"/>
                      <a:pt x="55" y="75"/>
                      <a:pt x="55" y="75"/>
                    </a:cubicBezTo>
                    <a:cubicBezTo>
                      <a:pt x="57" y="76"/>
                      <a:pt x="57" y="76"/>
                      <a:pt x="57" y="76"/>
                    </a:cubicBezTo>
                    <a:cubicBezTo>
                      <a:pt x="55" y="79"/>
                      <a:pt x="55" y="79"/>
                      <a:pt x="55" y="79"/>
                    </a:cubicBezTo>
                    <a:cubicBezTo>
                      <a:pt x="56" y="80"/>
                      <a:pt x="56" y="80"/>
                      <a:pt x="56" y="80"/>
                    </a:cubicBezTo>
                    <a:cubicBezTo>
                      <a:pt x="58" y="77"/>
                      <a:pt x="58" y="77"/>
                      <a:pt x="58" y="77"/>
                    </a:cubicBezTo>
                    <a:cubicBezTo>
                      <a:pt x="60" y="78"/>
                      <a:pt x="60" y="78"/>
                      <a:pt x="60" y="78"/>
                    </a:cubicBezTo>
                    <a:cubicBezTo>
                      <a:pt x="58" y="81"/>
                      <a:pt x="58" y="81"/>
                      <a:pt x="58" y="81"/>
                    </a:cubicBezTo>
                    <a:cubicBezTo>
                      <a:pt x="59" y="81"/>
                      <a:pt x="59" y="81"/>
                      <a:pt x="59" y="81"/>
                    </a:cubicBezTo>
                    <a:cubicBezTo>
                      <a:pt x="61" y="79"/>
                      <a:pt x="61" y="79"/>
                      <a:pt x="61" y="79"/>
                    </a:cubicBezTo>
                    <a:cubicBezTo>
                      <a:pt x="63" y="80"/>
                      <a:pt x="63" y="80"/>
                      <a:pt x="63" y="80"/>
                    </a:cubicBezTo>
                    <a:cubicBezTo>
                      <a:pt x="61" y="83"/>
                      <a:pt x="61" y="83"/>
                      <a:pt x="61" y="83"/>
                    </a:cubicBezTo>
                    <a:cubicBezTo>
                      <a:pt x="62" y="83"/>
                      <a:pt x="62" y="83"/>
                      <a:pt x="62" y="83"/>
                    </a:cubicBezTo>
                    <a:cubicBezTo>
                      <a:pt x="64" y="80"/>
                      <a:pt x="64" y="80"/>
                      <a:pt x="64" y="80"/>
                    </a:cubicBezTo>
                    <a:cubicBezTo>
                      <a:pt x="66" y="82"/>
                      <a:pt x="66" y="82"/>
                      <a:pt x="66" y="82"/>
                    </a:cubicBezTo>
                    <a:cubicBezTo>
                      <a:pt x="64" y="85"/>
                      <a:pt x="64" y="85"/>
                      <a:pt x="64" y="85"/>
                    </a:cubicBezTo>
                    <a:cubicBezTo>
                      <a:pt x="65" y="85"/>
                      <a:pt x="65" y="85"/>
                      <a:pt x="65" y="85"/>
                    </a:cubicBezTo>
                    <a:cubicBezTo>
                      <a:pt x="66" y="82"/>
                      <a:pt x="66" y="82"/>
                      <a:pt x="66" y="82"/>
                    </a:cubicBezTo>
                    <a:cubicBezTo>
                      <a:pt x="68" y="84"/>
                      <a:pt x="68" y="84"/>
                      <a:pt x="68" y="84"/>
                    </a:cubicBezTo>
                    <a:cubicBezTo>
                      <a:pt x="67" y="86"/>
                      <a:pt x="67" y="86"/>
                      <a:pt x="67" y="86"/>
                    </a:cubicBezTo>
                    <a:cubicBezTo>
                      <a:pt x="67" y="87"/>
                      <a:pt x="67" y="87"/>
                      <a:pt x="67" y="87"/>
                    </a:cubicBezTo>
                    <a:cubicBezTo>
                      <a:pt x="69" y="84"/>
                      <a:pt x="69" y="84"/>
                      <a:pt x="69" y="84"/>
                    </a:cubicBezTo>
                    <a:cubicBezTo>
                      <a:pt x="71" y="86"/>
                      <a:pt x="71" y="86"/>
                      <a:pt x="71" y="86"/>
                    </a:cubicBezTo>
                    <a:cubicBezTo>
                      <a:pt x="69" y="88"/>
                      <a:pt x="69" y="88"/>
                      <a:pt x="69" y="88"/>
                    </a:cubicBezTo>
                    <a:cubicBezTo>
                      <a:pt x="70" y="89"/>
                      <a:pt x="70" y="89"/>
                      <a:pt x="70" y="89"/>
                    </a:cubicBezTo>
                    <a:cubicBezTo>
                      <a:pt x="72" y="86"/>
                      <a:pt x="72" y="86"/>
                      <a:pt x="72" y="86"/>
                    </a:cubicBezTo>
                    <a:cubicBezTo>
                      <a:pt x="74" y="87"/>
                      <a:pt x="74" y="87"/>
                      <a:pt x="74" y="87"/>
                    </a:cubicBezTo>
                    <a:cubicBezTo>
                      <a:pt x="72" y="90"/>
                      <a:pt x="72" y="90"/>
                      <a:pt x="72" y="90"/>
                    </a:cubicBezTo>
                    <a:cubicBezTo>
                      <a:pt x="73" y="91"/>
                      <a:pt x="73" y="91"/>
                      <a:pt x="73" y="91"/>
                    </a:cubicBezTo>
                    <a:cubicBezTo>
                      <a:pt x="75" y="88"/>
                      <a:pt x="75" y="88"/>
                      <a:pt x="75" y="88"/>
                    </a:cubicBezTo>
                    <a:cubicBezTo>
                      <a:pt x="77" y="89"/>
                      <a:pt x="77" y="89"/>
                      <a:pt x="77" y="89"/>
                    </a:cubicBezTo>
                    <a:cubicBezTo>
                      <a:pt x="78" y="90"/>
                      <a:pt x="78" y="91"/>
                      <a:pt x="7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6" name="Freeform 68">
                <a:extLst>
                  <a:ext uri="{FF2B5EF4-FFF2-40B4-BE49-F238E27FC236}"/>
                </a:extLst>
              </p:cNvPr>
              <p:cNvSpPr>
                <a:spLocks/>
              </p:cNvSpPr>
              <p:nvPr/>
            </p:nvSpPr>
            <p:spPr bwMode="auto">
              <a:xfrm>
                <a:off x="2171" y="1743"/>
                <a:ext cx="352" cy="179"/>
              </a:xfrm>
              <a:custGeom>
                <a:avLst/>
                <a:gdLst>
                  <a:gd name="T0" fmla="*/ 177 w 149"/>
                  <a:gd name="T1" fmla="*/ 0 h 76"/>
                  <a:gd name="T2" fmla="*/ 0 w 149"/>
                  <a:gd name="T3" fmla="*/ 179 h 76"/>
                  <a:gd name="T4" fmla="*/ 66 w 149"/>
                  <a:gd name="T5" fmla="*/ 179 h 76"/>
                  <a:gd name="T6" fmla="*/ 78 w 149"/>
                  <a:gd name="T7" fmla="*/ 158 h 76"/>
                  <a:gd name="T8" fmla="*/ 80 w 149"/>
                  <a:gd name="T9" fmla="*/ 179 h 76"/>
                  <a:gd name="T10" fmla="*/ 283 w 149"/>
                  <a:gd name="T11" fmla="*/ 179 h 76"/>
                  <a:gd name="T12" fmla="*/ 288 w 149"/>
                  <a:gd name="T13" fmla="*/ 158 h 76"/>
                  <a:gd name="T14" fmla="*/ 298 w 149"/>
                  <a:gd name="T15" fmla="*/ 179 h 76"/>
                  <a:gd name="T16" fmla="*/ 352 w 149"/>
                  <a:gd name="T17" fmla="*/ 179 h 76"/>
                  <a:gd name="T18" fmla="*/ 177 w 149"/>
                  <a:gd name="T19" fmla="*/ 0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9" h="76">
                    <a:moveTo>
                      <a:pt x="75" y="0"/>
                    </a:moveTo>
                    <a:cubicBezTo>
                      <a:pt x="40" y="0"/>
                      <a:pt x="12" y="34"/>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38" y="34"/>
                      <a:pt x="110" y="0"/>
                      <a:pt x="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7" name="Freeform 69">
                <a:extLst>
                  <a:ext uri="{FF2B5EF4-FFF2-40B4-BE49-F238E27FC236}"/>
                </a:extLst>
              </p:cNvPr>
              <p:cNvSpPr>
                <a:spLocks/>
              </p:cNvSpPr>
              <p:nvPr/>
            </p:nvSpPr>
            <p:spPr bwMode="auto">
              <a:xfrm>
                <a:off x="2228" y="1681"/>
                <a:ext cx="40" cy="29"/>
              </a:xfrm>
              <a:custGeom>
                <a:avLst/>
                <a:gdLst>
                  <a:gd name="T0" fmla="*/ 5 w 17"/>
                  <a:gd name="T1" fmla="*/ 22 h 12"/>
                  <a:gd name="T2" fmla="*/ 24 w 17"/>
                  <a:gd name="T3" fmla="*/ 12 h 12"/>
                  <a:gd name="T4" fmla="*/ 40 w 17"/>
                  <a:gd name="T5" fmla="*/ 0 h 12"/>
                  <a:gd name="T6" fmla="*/ 5 w 17"/>
                  <a:gd name="T7" fmla="*/ 2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2">
                    <a:moveTo>
                      <a:pt x="2" y="9"/>
                    </a:moveTo>
                    <a:cubicBezTo>
                      <a:pt x="4" y="12"/>
                      <a:pt x="9" y="6"/>
                      <a:pt x="10" y="5"/>
                    </a:cubicBezTo>
                    <a:cubicBezTo>
                      <a:pt x="11" y="3"/>
                      <a:pt x="15" y="0"/>
                      <a:pt x="17" y="0"/>
                    </a:cubicBezTo>
                    <a:cubicBezTo>
                      <a:pt x="11" y="0"/>
                      <a:pt x="0"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8" name="Freeform 70">
                <a:extLst>
                  <a:ext uri="{FF2B5EF4-FFF2-40B4-BE49-F238E27FC236}"/>
                </a:extLst>
              </p:cNvPr>
              <p:cNvSpPr>
                <a:spLocks/>
              </p:cNvSpPr>
              <p:nvPr/>
            </p:nvSpPr>
            <p:spPr bwMode="auto">
              <a:xfrm>
                <a:off x="2225" y="1622"/>
                <a:ext cx="33" cy="14"/>
              </a:xfrm>
              <a:custGeom>
                <a:avLst/>
                <a:gdLst>
                  <a:gd name="T0" fmla="*/ 17 w 14"/>
                  <a:gd name="T1" fmla="*/ 9 h 6"/>
                  <a:gd name="T2" fmla="*/ 33 w 14"/>
                  <a:gd name="T3" fmla="*/ 9 h 6"/>
                  <a:gd name="T4" fmla="*/ 0 w 14"/>
                  <a:gd name="T5" fmla="*/ 7 h 6"/>
                  <a:gd name="T6" fmla="*/ 17 w 14"/>
                  <a:gd name="T7" fmla="*/ 9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6">
                    <a:moveTo>
                      <a:pt x="7" y="4"/>
                    </a:moveTo>
                    <a:cubicBezTo>
                      <a:pt x="9" y="3"/>
                      <a:pt x="13" y="3"/>
                      <a:pt x="14" y="4"/>
                    </a:cubicBezTo>
                    <a:cubicBezTo>
                      <a:pt x="10" y="1"/>
                      <a:pt x="0" y="0"/>
                      <a:pt x="0" y="3"/>
                    </a:cubicBezTo>
                    <a:cubicBezTo>
                      <a:pt x="0" y="6"/>
                      <a:pt x="6" y="4"/>
                      <a:pt x="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19" name="Freeform 71">
                <a:extLst>
                  <a:ext uri="{FF2B5EF4-FFF2-40B4-BE49-F238E27FC236}"/>
                </a:extLst>
              </p:cNvPr>
              <p:cNvSpPr>
                <a:spLocks/>
              </p:cNvSpPr>
              <p:nvPr/>
            </p:nvSpPr>
            <p:spPr bwMode="auto">
              <a:xfrm>
                <a:off x="2228" y="1575"/>
                <a:ext cx="33" cy="21"/>
              </a:xfrm>
              <a:custGeom>
                <a:avLst/>
                <a:gdLst>
                  <a:gd name="T0" fmla="*/ 19 w 14"/>
                  <a:gd name="T1" fmla="*/ 14 h 9"/>
                  <a:gd name="T2" fmla="*/ 33 w 14"/>
                  <a:gd name="T3" fmla="*/ 21 h 9"/>
                  <a:gd name="T4" fmla="*/ 2 w 14"/>
                  <a:gd name="T5" fmla="*/ 7 h 9"/>
                  <a:gd name="T6" fmla="*/ 19 w 14"/>
                  <a:gd name="T7" fmla="*/ 14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9">
                    <a:moveTo>
                      <a:pt x="8" y="6"/>
                    </a:moveTo>
                    <a:cubicBezTo>
                      <a:pt x="9" y="7"/>
                      <a:pt x="13" y="8"/>
                      <a:pt x="14" y="9"/>
                    </a:cubicBezTo>
                    <a:cubicBezTo>
                      <a:pt x="12" y="5"/>
                      <a:pt x="3" y="0"/>
                      <a:pt x="1" y="3"/>
                    </a:cubicBezTo>
                    <a:cubicBezTo>
                      <a:pt x="0" y="6"/>
                      <a:pt x="6" y="6"/>
                      <a:pt x="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20" name="Freeform 72">
                <a:extLst>
                  <a:ext uri="{FF2B5EF4-FFF2-40B4-BE49-F238E27FC236}"/>
                </a:extLst>
              </p:cNvPr>
              <p:cNvSpPr>
                <a:spLocks/>
              </p:cNvSpPr>
              <p:nvPr/>
            </p:nvSpPr>
            <p:spPr bwMode="auto">
              <a:xfrm>
                <a:off x="2426" y="1681"/>
                <a:ext cx="40" cy="31"/>
              </a:xfrm>
              <a:custGeom>
                <a:avLst/>
                <a:gdLst>
                  <a:gd name="T0" fmla="*/ 16 w 17"/>
                  <a:gd name="T1" fmla="*/ 12 h 13"/>
                  <a:gd name="T2" fmla="*/ 33 w 17"/>
                  <a:gd name="T3" fmla="*/ 26 h 13"/>
                  <a:gd name="T4" fmla="*/ 0 w 17"/>
                  <a:gd name="T5" fmla="*/ 0 h 13"/>
                  <a:gd name="T6" fmla="*/ 16 w 17"/>
                  <a:gd name="T7" fmla="*/ 12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3">
                    <a:moveTo>
                      <a:pt x="7" y="5"/>
                    </a:moveTo>
                    <a:cubicBezTo>
                      <a:pt x="8" y="7"/>
                      <a:pt x="12" y="13"/>
                      <a:pt x="14" y="11"/>
                    </a:cubicBezTo>
                    <a:cubicBezTo>
                      <a:pt x="17" y="7"/>
                      <a:pt x="6" y="0"/>
                      <a:pt x="0" y="0"/>
                    </a:cubicBezTo>
                    <a:cubicBezTo>
                      <a:pt x="3" y="0"/>
                      <a:pt x="6" y="4"/>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21" name="Freeform 73">
                <a:extLst>
                  <a:ext uri="{FF2B5EF4-FFF2-40B4-BE49-F238E27FC236}"/>
                </a:extLst>
              </p:cNvPr>
              <p:cNvSpPr>
                <a:spLocks/>
              </p:cNvSpPr>
              <p:nvPr/>
            </p:nvSpPr>
            <p:spPr bwMode="auto">
              <a:xfrm>
                <a:off x="2450" y="1629"/>
                <a:ext cx="33" cy="15"/>
              </a:xfrm>
              <a:custGeom>
                <a:avLst/>
                <a:gdLst>
                  <a:gd name="T0" fmla="*/ 14 w 14"/>
                  <a:gd name="T1" fmla="*/ 8 h 6"/>
                  <a:gd name="T2" fmla="*/ 33 w 14"/>
                  <a:gd name="T3" fmla="*/ 10 h 6"/>
                  <a:gd name="T4" fmla="*/ 0 w 14"/>
                  <a:gd name="T5" fmla="*/ 5 h 6"/>
                  <a:gd name="T6" fmla="*/ 14 w 14"/>
                  <a:gd name="T7" fmla="*/ 8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6">
                    <a:moveTo>
                      <a:pt x="6" y="3"/>
                    </a:moveTo>
                    <a:cubicBezTo>
                      <a:pt x="8" y="4"/>
                      <a:pt x="13" y="6"/>
                      <a:pt x="14" y="4"/>
                    </a:cubicBezTo>
                    <a:cubicBezTo>
                      <a:pt x="14" y="0"/>
                      <a:pt x="4" y="0"/>
                      <a:pt x="0" y="2"/>
                    </a:cubicBezTo>
                    <a:cubicBezTo>
                      <a:pt x="1" y="2"/>
                      <a:pt x="5" y="2"/>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22" name="Freeform 74">
                <a:extLst>
                  <a:ext uri="{FF2B5EF4-FFF2-40B4-BE49-F238E27FC236}"/>
                </a:extLst>
              </p:cNvPr>
              <p:cNvSpPr>
                <a:spLocks/>
              </p:cNvSpPr>
              <p:nvPr/>
            </p:nvSpPr>
            <p:spPr bwMode="auto">
              <a:xfrm>
                <a:off x="2431" y="1577"/>
                <a:ext cx="35" cy="19"/>
              </a:xfrm>
              <a:custGeom>
                <a:avLst/>
                <a:gdLst>
                  <a:gd name="T0" fmla="*/ 33 w 15"/>
                  <a:gd name="T1" fmla="*/ 7 h 8"/>
                  <a:gd name="T2" fmla="*/ 0 w 15"/>
                  <a:gd name="T3" fmla="*/ 19 h 8"/>
                  <a:gd name="T4" fmla="*/ 16 w 15"/>
                  <a:gd name="T5" fmla="*/ 12 h 8"/>
                  <a:gd name="T6" fmla="*/ 33 w 15"/>
                  <a:gd name="T7" fmla="*/ 7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8">
                    <a:moveTo>
                      <a:pt x="14" y="3"/>
                    </a:moveTo>
                    <a:cubicBezTo>
                      <a:pt x="13" y="0"/>
                      <a:pt x="3" y="3"/>
                      <a:pt x="0" y="8"/>
                    </a:cubicBezTo>
                    <a:cubicBezTo>
                      <a:pt x="1" y="6"/>
                      <a:pt x="5" y="5"/>
                      <a:pt x="7" y="5"/>
                    </a:cubicBezTo>
                    <a:cubicBezTo>
                      <a:pt x="8" y="5"/>
                      <a:pt x="15" y="6"/>
                      <a:pt x="1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grpSp>
      </p:grpSp>
      <p:grpSp>
        <p:nvGrpSpPr>
          <p:cNvPr id="66636" name="Group 249"/>
          <p:cNvGrpSpPr>
            <a:grpSpLocks/>
          </p:cNvGrpSpPr>
          <p:nvPr/>
        </p:nvGrpSpPr>
        <p:grpSpPr bwMode="auto">
          <a:xfrm>
            <a:off x="6011863" y="4891088"/>
            <a:ext cx="252412" cy="252412"/>
            <a:chOff x="6070502" y="3050116"/>
            <a:chExt cx="365760" cy="365760"/>
          </a:xfrm>
        </p:grpSpPr>
        <p:sp>
          <p:nvSpPr>
            <p:cNvPr id="224" name="Oval 223">
              <a:extLst>
                <a:ext uri="{FF2B5EF4-FFF2-40B4-BE49-F238E27FC236}"/>
              </a:extLst>
            </p:cNvPr>
            <p:cNvSpPr/>
            <p:nvPr/>
          </p:nvSpPr>
          <p:spPr bwMode="ltGray">
            <a:xfrm>
              <a:off x="6070502" y="3050116"/>
              <a:ext cx="365760" cy="365760"/>
            </a:xfrm>
            <a:prstGeom prst="ellipse">
              <a:avLst/>
            </a:prstGeom>
            <a:solidFill>
              <a:srgbClr val="009ACE"/>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25" name="Freeform 4">
              <a:extLst>
                <a:ext uri="{FF2B5EF4-FFF2-40B4-BE49-F238E27FC236}"/>
              </a:extLst>
            </p:cNvPr>
            <p:cNvSpPr>
              <a:spLocks noEditPoints="1"/>
            </p:cNvSpPr>
            <p:nvPr/>
          </p:nvSpPr>
          <p:spPr bwMode="auto">
            <a:xfrm>
              <a:off x="6118809" y="3089222"/>
              <a:ext cx="287548" cy="287548"/>
            </a:xfrm>
            <a:custGeom>
              <a:avLst/>
              <a:gdLst>
                <a:gd name="T0" fmla="*/ 85790705 w 173"/>
                <a:gd name="T1" fmla="*/ 782065674 h 172"/>
                <a:gd name="T2" fmla="*/ 69704324 w 173"/>
                <a:gd name="T3" fmla="*/ 927691535 h 172"/>
                <a:gd name="T4" fmla="*/ 166219283 w 173"/>
                <a:gd name="T5" fmla="*/ 803640558 h 172"/>
                <a:gd name="T6" fmla="*/ 144772439 w 173"/>
                <a:gd name="T7" fmla="*/ 738917581 h 172"/>
                <a:gd name="T8" fmla="*/ 134048185 w 173"/>
                <a:gd name="T9" fmla="*/ 695769488 h 172"/>
                <a:gd name="T10" fmla="*/ 445039908 w 173"/>
                <a:gd name="T11" fmla="*/ 690374512 h 172"/>
                <a:gd name="T12" fmla="*/ 471850543 w 173"/>
                <a:gd name="T13" fmla="*/ 647226419 h 172"/>
                <a:gd name="T14" fmla="*/ 520108023 w 173"/>
                <a:gd name="T15" fmla="*/ 614864930 h 172"/>
                <a:gd name="T16" fmla="*/ 927614705 w 173"/>
                <a:gd name="T17" fmla="*/ 873755163 h 172"/>
                <a:gd name="T18" fmla="*/ 734584786 w 173"/>
                <a:gd name="T19" fmla="*/ 825213767 h 172"/>
                <a:gd name="T20" fmla="*/ 471850543 w 173"/>
                <a:gd name="T21" fmla="*/ 566323535 h 172"/>
                <a:gd name="T22" fmla="*/ 579089757 w 173"/>
                <a:gd name="T23" fmla="*/ 517782140 h 172"/>
                <a:gd name="T24" fmla="*/ 836461873 w 173"/>
                <a:gd name="T25" fmla="*/ 749704186 h 172"/>
                <a:gd name="T26" fmla="*/ 638069827 w 173"/>
                <a:gd name="T27" fmla="*/ 361368000 h 172"/>
                <a:gd name="T28" fmla="*/ 316353850 w 173"/>
                <a:gd name="T29" fmla="*/ 204955535 h 172"/>
                <a:gd name="T30" fmla="*/ 209114636 w 173"/>
                <a:gd name="T31" fmla="*/ 183380651 h 172"/>
                <a:gd name="T32" fmla="*/ 171581410 w 173"/>
                <a:gd name="T33" fmla="*/ 280465116 h 172"/>
                <a:gd name="T34" fmla="*/ 455764162 w 173"/>
                <a:gd name="T35" fmla="*/ 517782140 h 172"/>
                <a:gd name="T36" fmla="*/ 278820624 w 173"/>
                <a:gd name="T37" fmla="*/ 566323535 h 172"/>
                <a:gd name="T38" fmla="*/ 0 w 173"/>
                <a:gd name="T39" fmla="*/ 194167256 h 172"/>
                <a:gd name="T40" fmla="*/ 450402035 w 173"/>
                <a:gd name="T41" fmla="*/ 614864930 h 172"/>
                <a:gd name="T42" fmla="*/ 445039908 w 173"/>
                <a:gd name="T43" fmla="*/ 663408000 h 172"/>
                <a:gd name="T44" fmla="*/ 101877087 w 173"/>
                <a:gd name="T45" fmla="*/ 695769488 h 172"/>
                <a:gd name="T46" fmla="*/ 85790705 w 173"/>
                <a:gd name="T47" fmla="*/ 738917581 h 172"/>
                <a:gd name="T48" fmla="*/ 541554867 w 173"/>
                <a:gd name="T49" fmla="*/ 469239070 h 172"/>
                <a:gd name="T50" fmla="*/ 466488416 w 173"/>
                <a:gd name="T51" fmla="*/ 485420651 h 172"/>
                <a:gd name="T52" fmla="*/ 509383769 w 173"/>
                <a:gd name="T53" fmla="*/ 453059163 h 172"/>
                <a:gd name="T54" fmla="*/ 337802358 w 173"/>
                <a:gd name="T55" fmla="*/ 485420651 h 172"/>
                <a:gd name="T56" fmla="*/ 230563145 w 173"/>
                <a:gd name="T57" fmla="*/ 226528744 h 172"/>
                <a:gd name="T58" fmla="*/ 359249202 w 173"/>
                <a:gd name="T59" fmla="*/ 453059163 h 172"/>
                <a:gd name="T60" fmla="*/ 455764162 w 173"/>
                <a:gd name="T61" fmla="*/ 485420651 h 172"/>
                <a:gd name="T62" fmla="*/ 96514960 w 173"/>
                <a:gd name="T63" fmla="*/ 26968186 h 172"/>
                <a:gd name="T64" fmla="*/ 96514960 w 173"/>
                <a:gd name="T65" fmla="*/ 151019163 h 172"/>
                <a:gd name="T66" fmla="*/ 219838890 w 173"/>
                <a:gd name="T67" fmla="*/ 151019163 h 172"/>
                <a:gd name="T68" fmla="*/ 219838890 w 173"/>
                <a:gd name="T69" fmla="*/ 26968186 h 172"/>
                <a:gd name="T70" fmla="*/ 117961803 w 173"/>
                <a:gd name="T71" fmla="*/ 798245581 h 172"/>
                <a:gd name="T72" fmla="*/ 117961803 w 173"/>
                <a:gd name="T73" fmla="*/ 879150140 h 172"/>
                <a:gd name="T74" fmla="*/ 117961803 w 173"/>
                <a:gd name="T75" fmla="*/ 798245581 h 172"/>
                <a:gd name="T76" fmla="*/ 112601341 w 173"/>
                <a:gd name="T77" fmla="*/ 846788651 h 172"/>
                <a:gd name="T78" fmla="*/ 101877087 w 173"/>
                <a:gd name="T79" fmla="*/ 852181953 h 172"/>
                <a:gd name="T80" fmla="*/ 112601341 w 173"/>
                <a:gd name="T81" fmla="*/ 862968558 h 172"/>
                <a:gd name="T82" fmla="*/ 123323931 w 173"/>
                <a:gd name="T83" fmla="*/ 852181953 h 172"/>
                <a:gd name="T84" fmla="*/ 134048185 w 173"/>
                <a:gd name="T85" fmla="*/ 846788651 h 172"/>
                <a:gd name="T86" fmla="*/ 123323931 w 173"/>
                <a:gd name="T87" fmla="*/ 830607070 h 1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3" h="172">
                  <a:moveTo>
                    <a:pt x="16" y="137"/>
                  </a:moveTo>
                  <a:cubicBezTo>
                    <a:pt x="16" y="145"/>
                    <a:pt x="16" y="145"/>
                    <a:pt x="16" y="145"/>
                  </a:cubicBezTo>
                  <a:cubicBezTo>
                    <a:pt x="13" y="149"/>
                    <a:pt x="13" y="149"/>
                    <a:pt x="13" y="149"/>
                  </a:cubicBezTo>
                  <a:cubicBezTo>
                    <a:pt x="13" y="172"/>
                    <a:pt x="13" y="172"/>
                    <a:pt x="13" y="172"/>
                  </a:cubicBezTo>
                  <a:cubicBezTo>
                    <a:pt x="31" y="172"/>
                    <a:pt x="31" y="172"/>
                    <a:pt x="31" y="172"/>
                  </a:cubicBezTo>
                  <a:cubicBezTo>
                    <a:pt x="31" y="149"/>
                    <a:pt x="31" y="149"/>
                    <a:pt x="31" y="149"/>
                  </a:cubicBezTo>
                  <a:cubicBezTo>
                    <a:pt x="27" y="145"/>
                    <a:pt x="27" y="145"/>
                    <a:pt x="27" y="145"/>
                  </a:cubicBezTo>
                  <a:cubicBezTo>
                    <a:pt x="27" y="137"/>
                    <a:pt x="27" y="137"/>
                    <a:pt x="27" y="137"/>
                  </a:cubicBezTo>
                  <a:cubicBezTo>
                    <a:pt x="25" y="137"/>
                    <a:pt x="25" y="137"/>
                    <a:pt x="25" y="137"/>
                  </a:cubicBezTo>
                  <a:cubicBezTo>
                    <a:pt x="25" y="129"/>
                    <a:pt x="25" y="129"/>
                    <a:pt x="25" y="129"/>
                  </a:cubicBezTo>
                  <a:cubicBezTo>
                    <a:pt x="25" y="129"/>
                    <a:pt x="25" y="128"/>
                    <a:pt x="25" y="128"/>
                  </a:cubicBezTo>
                  <a:cubicBezTo>
                    <a:pt x="83" y="128"/>
                    <a:pt x="83" y="128"/>
                    <a:pt x="83" y="128"/>
                  </a:cubicBezTo>
                  <a:cubicBezTo>
                    <a:pt x="85" y="128"/>
                    <a:pt x="87" y="127"/>
                    <a:pt x="87" y="126"/>
                  </a:cubicBezTo>
                  <a:cubicBezTo>
                    <a:pt x="88" y="125"/>
                    <a:pt x="88" y="123"/>
                    <a:pt x="88" y="120"/>
                  </a:cubicBezTo>
                  <a:cubicBezTo>
                    <a:pt x="88" y="114"/>
                    <a:pt x="88" y="114"/>
                    <a:pt x="88" y="114"/>
                  </a:cubicBezTo>
                  <a:cubicBezTo>
                    <a:pt x="97" y="114"/>
                    <a:pt x="97" y="114"/>
                    <a:pt x="97" y="114"/>
                  </a:cubicBezTo>
                  <a:cubicBezTo>
                    <a:pt x="132" y="162"/>
                    <a:pt x="132" y="162"/>
                    <a:pt x="132" y="162"/>
                  </a:cubicBezTo>
                  <a:cubicBezTo>
                    <a:pt x="173" y="162"/>
                    <a:pt x="173" y="162"/>
                    <a:pt x="173" y="162"/>
                  </a:cubicBezTo>
                  <a:cubicBezTo>
                    <a:pt x="168" y="153"/>
                    <a:pt x="168" y="153"/>
                    <a:pt x="168" y="153"/>
                  </a:cubicBezTo>
                  <a:cubicBezTo>
                    <a:pt x="137" y="153"/>
                    <a:pt x="137" y="153"/>
                    <a:pt x="137" y="153"/>
                  </a:cubicBezTo>
                  <a:cubicBezTo>
                    <a:pt x="103" y="105"/>
                    <a:pt x="103" y="105"/>
                    <a:pt x="103" y="105"/>
                  </a:cubicBezTo>
                  <a:cubicBezTo>
                    <a:pt x="88" y="105"/>
                    <a:pt x="88" y="105"/>
                    <a:pt x="88" y="105"/>
                  </a:cubicBezTo>
                  <a:cubicBezTo>
                    <a:pt x="87" y="96"/>
                    <a:pt x="87" y="96"/>
                    <a:pt x="87" y="96"/>
                  </a:cubicBezTo>
                  <a:cubicBezTo>
                    <a:pt x="108" y="96"/>
                    <a:pt x="108" y="96"/>
                    <a:pt x="108" y="96"/>
                  </a:cubicBezTo>
                  <a:cubicBezTo>
                    <a:pt x="142" y="138"/>
                    <a:pt x="142" y="138"/>
                    <a:pt x="142" y="138"/>
                  </a:cubicBezTo>
                  <a:cubicBezTo>
                    <a:pt x="143" y="140"/>
                    <a:pt x="148" y="141"/>
                    <a:pt x="156" y="139"/>
                  </a:cubicBezTo>
                  <a:cubicBezTo>
                    <a:pt x="164" y="138"/>
                    <a:pt x="167" y="131"/>
                    <a:pt x="166" y="119"/>
                  </a:cubicBezTo>
                  <a:cubicBezTo>
                    <a:pt x="119" y="67"/>
                    <a:pt x="119" y="67"/>
                    <a:pt x="119" y="67"/>
                  </a:cubicBezTo>
                  <a:cubicBezTo>
                    <a:pt x="78" y="67"/>
                    <a:pt x="78" y="67"/>
                    <a:pt x="78" y="67"/>
                  </a:cubicBezTo>
                  <a:cubicBezTo>
                    <a:pt x="59" y="38"/>
                    <a:pt x="59" y="38"/>
                    <a:pt x="59" y="38"/>
                  </a:cubicBezTo>
                  <a:cubicBezTo>
                    <a:pt x="57" y="34"/>
                    <a:pt x="54" y="32"/>
                    <a:pt x="50" y="32"/>
                  </a:cubicBezTo>
                  <a:cubicBezTo>
                    <a:pt x="46" y="32"/>
                    <a:pt x="43" y="33"/>
                    <a:pt x="39" y="34"/>
                  </a:cubicBezTo>
                  <a:cubicBezTo>
                    <a:pt x="36" y="36"/>
                    <a:pt x="33" y="39"/>
                    <a:pt x="32" y="42"/>
                  </a:cubicBezTo>
                  <a:cubicBezTo>
                    <a:pt x="30" y="45"/>
                    <a:pt x="30" y="49"/>
                    <a:pt x="32" y="52"/>
                  </a:cubicBezTo>
                  <a:cubicBezTo>
                    <a:pt x="57" y="96"/>
                    <a:pt x="57" y="96"/>
                    <a:pt x="57" y="96"/>
                  </a:cubicBezTo>
                  <a:cubicBezTo>
                    <a:pt x="85" y="96"/>
                    <a:pt x="85" y="96"/>
                    <a:pt x="85" y="96"/>
                  </a:cubicBezTo>
                  <a:cubicBezTo>
                    <a:pt x="84" y="105"/>
                    <a:pt x="84" y="105"/>
                    <a:pt x="84" y="105"/>
                  </a:cubicBezTo>
                  <a:cubicBezTo>
                    <a:pt x="52" y="105"/>
                    <a:pt x="52" y="105"/>
                    <a:pt x="52" y="105"/>
                  </a:cubicBezTo>
                  <a:cubicBezTo>
                    <a:pt x="8" y="31"/>
                    <a:pt x="8" y="31"/>
                    <a:pt x="8" y="31"/>
                  </a:cubicBezTo>
                  <a:cubicBezTo>
                    <a:pt x="0" y="36"/>
                    <a:pt x="0" y="36"/>
                    <a:pt x="0" y="36"/>
                  </a:cubicBezTo>
                  <a:cubicBezTo>
                    <a:pt x="46" y="114"/>
                    <a:pt x="46" y="114"/>
                    <a:pt x="46" y="114"/>
                  </a:cubicBezTo>
                  <a:cubicBezTo>
                    <a:pt x="84" y="114"/>
                    <a:pt x="84" y="114"/>
                    <a:pt x="84" y="114"/>
                  </a:cubicBezTo>
                  <a:cubicBezTo>
                    <a:pt x="84" y="122"/>
                    <a:pt x="84" y="122"/>
                    <a:pt x="84" y="122"/>
                  </a:cubicBezTo>
                  <a:cubicBezTo>
                    <a:pt x="84" y="123"/>
                    <a:pt x="84" y="123"/>
                    <a:pt x="83" y="123"/>
                  </a:cubicBezTo>
                  <a:cubicBezTo>
                    <a:pt x="26" y="123"/>
                    <a:pt x="26" y="123"/>
                    <a:pt x="26" y="123"/>
                  </a:cubicBezTo>
                  <a:cubicBezTo>
                    <a:pt x="22" y="123"/>
                    <a:pt x="19" y="125"/>
                    <a:pt x="19" y="129"/>
                  </a:cubicBezTo>
                  <a:cubicBezTo>
                    <a:pt x="19" y="137"/>
                    <a:pt x="19" y="137"/>
                    <a:pt x="19" y="137"/>
                  </a:cubicBezTo>
                  <a:lnTo>
                    <a:pt x="16" y="137"/>
                  </a:lnTo>
                  <a:close/>
                  <a:moveTo>
                    <a:pt x="95" y="84"/>
                  </a:moveTo>
                  <a:cubicBezTo>
                    <a:pt x="98" y="83"/>
                    <a:pt x="100" y="84"/>
                    <a:pt x="101" y="87"/>
                  </a:cubicBezTo>
                  <a:cubicBezTo>
                    <a:pt x="101" y="89"/>
                    <a:pt x="99" y="90"/>
                    <a:pt x="95" y="90"/>
                  </a:cubicBezTo>
                  <a:cubicBezTo>
                    <a:pt x="87" y="90"/>
                    <a:pt x="87" y="90"/>
                    <a:pt x="87" y="90"/>
                  </a:cubicBezTo>
                  <a:cubicBezTo>
                    <a:pt x="87" y="84"/>
                    <a:pt x="87" y="84"/>
                    <a:pt x="87" y="84"/>
                  </a:cubicBezTo>
                  <a:lnTo>
                    <a:pt x="95" y="84"/>
                  </a:lnTo>
                  <a:close/>
                  <a:moveTo>
                    <a:pt x="85" y="90"/>
                  </a:moveTo>
                  <a:cubicBezTo>
                    <a:pt x="63" y="90"/>
                    <a:pt x="63" y="90"/>
                    <a:pt x="63" y="90"/>
                  </a:cubicBezTo>
                  <a:cubicBezTo>
                    <a:pt x="41" y="49"/>
                    <a:pt x="41" y="49"/>
                    <a:pt x="41" y="49"/>
                  </a:cubicBezTo>
                  <a:cubicBezTo>
                    <a:pt x="39" y="45"/>
                    <a:pt x="40" y="43"/>
                    <a:pt x="43" y="42"/>
                  </a:cubicBezTo>
                  <a:cubicBezTo>
                    <a:pt x="45" y="41"/>
                    <a:pt x="47" y="42"/>
                    <a:pt x="49" y="45"/>
                  </a:cubicBezTo>
                  <a:cubicBezTo>
                    <a:pt x="67" y="84"/>
                    <a:pt x="67" y="84"/>
                    <a:pt x="67" y="84"/>
                  </a:cubicBezTo>
                  <a:cubicBezTo>
                    <a:pt x="85" y="84"/>
                    <a:pt x="85" y="84"/>
                    <a:pt x="85" y="84"/>
                  </a:cubicBezTo>
                  <a:lnTo>
                    <a:pt x="85" y="90"/>
                  </a:lnTo>
                  <a:close/>
                  <a:moveTo>
                    <a:pt x="30" y="0"/>
                  </a:moveTo>
                  <a:cubicBezTo>
                    <a:pt x="25" y="0"/>
                    <a:pt x="21" y="2"/>
                    <a:pt x="18" y="5"/>
                  </a:cubicBezTo>
                  <a:cubicBezTo>
                    <a:pt x="15" y="8"/>
                    <a:pt x="13" y="12"/>
                    <a:pt x="13" y="16"/>
                  </a:cubicBezTo>
                  <a:cubicBezTo>
                    <a:pt x="13" y="21"/>
                    <a:pt x="15" y="25"/>
                    <a:pt x="18" y="28"/>
                  </a:cubicBezTo>
                  <a:cubicBezTo>
                    <a:pt x="21" y="32"/>
                    <a:pt x="25" y="33"/>
                    <a:pt x="30" y="33"/>
                  </a:cubicBezTo>
                  <a:cubicBezTo>
                    <a:pt x="34" y="33"/>
                    <a:pt x="38" y="32"/>
                    <a:pt x="41" y="28"/>
                  </a:cubicBezTo>
                  <a:cubicBezTo>
                    <a:pt x="45" y="25"/>
                    <a:pt x="46" y="21"/>
                    <a:pt x="46" y="16"/>
                  </a:cubicBezTo>
                  <a:cubicBezTo>
                    <a:pt x="46" y="12"/>
                    <a:pt x="45" y="8"/>
                    <a:pt x="41" y="5"/>
                  </a:cubicBezTo>
                  <a:cubicBezTo>
                    <a:pt x="38" y="2"/>
                    <a:pt x="34" y="0"/>
                    <a:pt x="30" y="0"/>
                  </a:cubicBezTo>
                  <a:moveTo>
                    <a:pt x="22" y="148"/>
                  </a:moveTo>
                  <a:cubicBezTo>
                    <a:pt x="24" y="152"/>
                    <a:pt x="25" y="156"/>
                    <a:pt x="25" y="159"/>
                  </a:cubicBezTo>
                  <a:cubicBezTo>
                    <a:pt x="25" y="162"/>
                    <a:pt x="24" y="163"/>
                    <a:pt x="22" y="163"/>
                  </a:cubicBezTo>
                  <a:cubicBezTo>
                    <a:pt x="20" y="163"/>
                    <a:pt x="19" y="162"/>
                    <a:pt x="19" y="159"/>
                  </a:cubicBezTo>
                  <a:cubicBezTo>
                    <a:pt x="18" y="156"/>
                    <a:pt x="19" y="152"/>
                    <a:pt x="22" y="148"/>
                  </a:cubicBezTo>
                  <a:moveTo>
                    <a:pt x="21" y="154"/>
                  </a:moveTo>
                  <a:cubicBezTo>
                    <a:pt x="21" y="157"/>
                    <a:pt x="21" y="157"/>
                    <a:pt x="21" y="157"/>
                  </a:cubicBezTo>
                  <a:cubicBezTo>
                    <a:pt x="19" y="157"/>
                    <a:pt x="19" y="157"/>
                    <a:pt x="19" y="157"/>
                  </a:cubicBezTo>
                  <a:cubicBezTo>
                    <a:pt x="19" y="158"/>
                    <a:pt x="19" y="158"/>
                    <a:pt x="19" y="158"/>
                  </a:cubicBezTo>
                  <a:cubicBezTo>
                    <a:pt x="21" y="158"/>
                    <a:pt x="21" y="158"/>
                    <a:pt x="21" y="158"/>
                  </a:cubicBezTo>
                  <a:cubicBezTo>
                    <a:pt x="21" y="160"/>
                    <a:pt x="21" y="160"/>
                    <a:pt x="21" y="160"/>
                  </a:cubicBezTo>
                  <a:cubicBezTo>
                    <a:pt x="23" y="160"/>
                    <a:pt x="23" y="160"/>
                    <a:pt x="23" y="160"/>
                  </a:cubicBezTo>
                  <a:cubicBezTo>
                    <a:pt x="23" y="158"/>
                    <a:pt x="23" y="158"/>
                    <a:pt x="23" y="158"/>
                  </a:cubicBezTo>
                  <a:cubicBezTo>
                    <a:pt x="25" y="158"/>
                    <a:pt x="25" y="158"/>
                    <a:pt x="25" y="158"/>
                  </a:cubicBezTo>
                  <a:cubicBezTo>
                    <a:pt x="25" y="157"/>
                    <a:pt x="25" y="157"/>
                    <a:pt x="25" y="157"/>
                  </a:cubicBezTo>
                  <a:cubicBezTo>
                    <a:pt x="23" y="157"/>
                    <a:pt x="23" y="157"/>
                    <a:pt x="23" y="157"/>
                  </a:cubicBezTo>
                  <a:cubicBezTo>
                    <a:pt x="23" y="154"/>
                    <a:pt x="23" y="154"/>
                    <a:pt x="23" y="154"/>
                  </a:cubicBezTo>
                  <a:lnTo>
                    <a:pt x="21"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37" name="Group 252"/>
          <p:cNvGrpSpPr>
            <a:grpSpLocks/>
          </p:cNvGrpSpPr>
          <p:nvPr/>
        </p:nvGrpSpPr>
        <p:grpSpPr bwMode="auto">
          <a:xfrm>
            <a:off x="6011863" y="4187825"/>
            <a:ext cx="252412" cy="252413"/>
            <a:chOff x="6073705" y="1681560"/>
            <a:chExt cx="365760" cy="365760"/>
          </a:xfrm>
        </p:grpSpPr>
        <p:sp>
          <p:nvSpPr>
            <p:cNvPr id="227" name="Oval 226">
              <a:extLst>
                <a:ext uri="{FF2B5EF4-FFF2-40B4-BE49-F238E27FC236}"/>
              </a:extLst>
            </p:cNvPr>
            <p:cNvSpPr/>
            <p:nvPr/>
          </p:nvSpPr>
          <p:spPr bwMode="ltGray">
            <a:xfrm>
              <a:off x="6073705" y="1681560"/>
              <a:ext cx="365760" cy="365760"/>
            </a:xfrm>
            <a:prstGeom prst="ellipse">
              <a:avLst/>
            </a:prstGeom>
            <a:solidFill>
              <a:srgbClr val="009ACE"/>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28" name="Freeform 25">
              <a:extLst>
                <a:ext uri="{FF2B5EF4-FFF2-40B4-BE49-F238E27FC236}"/>
              </a:extLst>
            </p:cNvPr>
            <p:cNvSpPr>
              <a:spLocks noEditPoints="1"/>
            </p:cNvSpPr>
            <p:nvPr/>
          </p:nvSpPr>
          <p:spPr bwMode="auto">
            <a:xfrm>
              <a:off x="6099008" y="1720667"/>
              <a:ext cx="289848" cy="324352"/>
            </a:xfrm>
            <a:custGeom>
              <a:avLst/>
              <a:gdLst>
                <a:gd name="T0" fmla="*/ 759665898 w 177"/>
                <a:gd name="T1" fmla="*/ 5713377 h 183"/>
                <a:gd name="T2" fmla="*/ 733470915 w 177"/>
                <a:gd name="T3" fmla="*/ 34280262 h 183"/>
                <a:gd name="T4" fmla="*/ 681079322 w 177"/>
                <a:gd name="T5" fmla="*/ 262818885 h 183"/>
                <a:gd name="T6" fmla="*/ 560581424 w 177"/>
                <a:gd name="T7" fmla="*/ 194258361 h 183"/>
                <a:gd name="T8" fmla="*/ 581537085 w 177"/>
                <a:gd name="T9" fmla="*/ 234252000 h 183"/>
                <a:gd name="T10" fmla="*/ 172889492 w 177"/>
                <a:gd name="T11" fmla="*/ 725609508 h 183"/>
                <a:gd name="T12" fmla="*/ 162410847 w 177"/>
                <a:gd name="T13" fmla="*/ 799885180 h 183"/>
                <a:gd name="T14" fmla="*/ 26194983 w 177"/>
                <a:gd name="T15" fmla="*/ 988430164 h 183"/>
                <a:gd name="T16" fmla="*/ 0 w 177"/>
                <a:gd name="T17" fmla="*/ 1039850557 h 183"/>
                <a:gd name="T18" fmla="*/ 10478644 w 177"/>
                <a:gd name="T19" fmla="*/ 1045563934 h 183"/>
                <a:gd name="T20" fmla="*/ 214802441 w 177"/>
                <a:gd name="T21" fmla="*/ 857018951 h 183"/>
                <a:gd name="T22" fmla="*/ 277671051 w 177"/>
                <a:gd name="T23" fmla="*/ 839878820 h 183"/>
                <a:gd name="T24" fmla="*/ 717752949 w 177"/>
                <a:gd name="T25" fmla="*/ 377088197 h 183"/>
                <a:gd name="T26" fmla="*/ 754426576 w 177"/>
                <a:gd name="T27" fmla="*/ 399941705 h 183"/>
                <a:gd name="T28" fmla="*/ 696797288 w 177"/>
                <a:gd name="T29" fmla="*/ 279959016 h 183"/>
                <a:gd name="T30" fmla="*/ 901121085 w 177"/>
                <a:gd name="T31" fmla="*/ 205685115 h 183"/>
                <a:gd name="T32" fmla="*/ 922076746 w 177"/>
                <a:gd name="T33" fmla="*/ 177118230 h 183"/>
                <a:gd name="T34" fmla="*/ 26194983 w 177"/>
                <a:gd name="T35" fmla="*/ 994143541 h 183"/>
                <a:gd name="T36" fmla="*/ 183368136 w 177"/>
                <a:gd name="T37" fmla="*/ 822738689 h 183"/>
                <a:gd name="T38" fmla="*/ 15717966 w 177"/>
                <a:gd name="T39" fmla="*/ 1028423803 h 183"/>
                <a:gd name="T40" fmla="*/ 178128814 w 177"/>
                <a:gd name="T41" fmla="*/ 799885180 h 183"/>
                <a:gd name="T42" fmla="*/ 246236746 w 177"/>
                <a:gd name="T43" fmla="*/ 799885180 h 183"/>
                <a:gd name="T44" fmla="*/ 351018305 w 177"/>
                <a:gd name="T45" fmla="*/ 725609508 h 183"/>
                <a:gd name="T46" fmla="*/ 392931254 w 177"/>
                <a:gd name="T47" fmla="*/ 657048984 h 183"/>
                <a:gd name="T48" fmla="*/ 335300339 w 177"/>
                <a:gd name="T49" fmla="*/ 588486689 h 183"/>
                <a:gd name="T50" fmla="*/ 445321220 w 177"/>
                <a:gd name="T51" fmla="*/ 594200066 h 183"/>
                <a:gd name="T52" fmla="*/ 413886915 w 177"/>
                <a:gd name="T53" fmla="*/ 548493049 h 183"/>
                <a:gd name="T54" fmla="*/ 497712814 w 177"/>
                <a:gd name="T55" fmla="*/ 537066295 h 183"/>
                <a:gd name="T56" fmla="*/ 351018305 w 177"/>
                <a:gd name="T57" fmla="*/ 725609508 h 183"/>
                <a:gd name="T58" fmla="*/ 539624136 w 177"/>
                <a:gd name="T59" fmla="*/ 554206426 h 183"/>
                <a:gd name="T60" fmla="*/ 518668475 w 177"/>
                <a:gd name="T61" fmla="*/ 537066295 h 183"/>
                <a:gd name="T62" fmla="*/ 508189831 w 177"/>
                <a:gd name="T63" fmla="*/ 525639541 h 183"/>
                <a:gd name="T64" fmla="*/ 592015729 w 177"/>
                <a:gd name="T65" fmla="*/ 245678754 h 1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7" h="183">
                  <a:moveTo>
                    <a:pt x="176" y="31"/>
                  </a:moveTo>
                  <a:cubicBezTo>
                    <a:pt x="145" y="1"/>
                    <a:pt x="145" y="1"/>
                    <a:pt x="145" y="1"/>
                  </a:cubicBezTo>
                  <a:cubicBezTo>
                    <a:pt x="144" y="0"/>
                    <a:pt x="142" y="0"/>
                    <a:pt x="141" y="2"/>
                  </a:cubicBezTo>
                  <a:cubicBezTo>
                    <a:pt x="140" y="3"/>
                    <a:pt x="140" y="5"/>
                    <a:pt x="140" y="6"/>
                  </a:cubicBezTo>
                  <a:cubicBezTo>
                    <a:pt x="155" y="20"/>
                    <a:pt x="155" y="20"/>
                    <a:pt x="155" y="20"/>
                  </a:cubicBezTo>
                  <a:cubicBezTo>
                    <a:pt x="130" y="46"/>
                    <a:pt x="130" y="46"/>
                    <a:pt x="130" y="46"/>
                  </a:cubicBezTo>
                  <a:cubicBezTo>
                    <a:pt x="112" y="28"/>
                    <a:pt x="112" y="28"/>
                    <a:pt x="112" y="28"/>
                  </a:cubicBezTo>
                  <a:cubicBezTo>
                    <a:pt x="107" y="34"/>
                    <a:pt x="107" y="34"/>
                    <a:pt x="107" y="34"/>
                  </a:cubicBezTo>
                  <a:cubicBezTo>
                    <a:pt x="113" y="40"/>
                    <a:pt x="113" y="40"/>
                    <a:pt x="113" y="40"/>
                  </a:cubicBezTo>
                  <a:cubicBezTo>
                    <a:pt x="112" y="40"/>
                    <a:pt x="112" y="41"/>
                    <a:pt x="111" y="41"/>
                  </a:cubicBezTo>
                  <a:cubicBezTo>
                    <a:pt x="34" y="120"/>
                    <a:pt x="34" y="120"/>
                    <a:pt x="34" y="120"/>
                  </a:cubicBezTo>
                  <a:cubicBezTo>
                    <a:pt x="32" y="123"/>
                    <a:pt x="31" y="125"/>
                    <a:pt x="33" y="127"/>
                  </a:cubicBezTo>
                  <a:cubicBezTo>
                    <a:pt x="38" y="132"/>
                    <a:pt x="38" y="132"/>
                    <a:pt x="38" y="132"/>
                  </a:cubicBezTo>
                  <a:cubicBezTo>
                    <a:pt x="31" y="140"/>
                    <a:pt x="31" y="140"/>
                    <a:pt x="31" y="140"/>
                  </a:cubicBezTo>
                  <a:cubicBezTo>
                    <a:pt x="34" y="143"/>
                    <a:pt x="34" y="143"/>
                    <a:pt x="34" y="143"/>
                  </a:cubicBezTo>
                  <a:cubicBezTo>
                    <a:pt x="5" y="173"/>
                    <a:pt x="5" y="173"/>
                    <a:pt x="5" y="173"/>
                  </a:cubicBezTo>
                  <a:cubicBezTo>
                    <a:pt x="4" y="173"/>
                    <a:pt x="4" y="173"/>
                    <a:pt x="4" y="173"/>
                  </a:cubicBezTo>
                  <a:cubicBezTo>
                    <a:pt x="0" y="182"/>
                    <a:pt x="0" y="182"/>
                    <a:pt x="0" y="182"/>
                  </a:cubicBezTo>
                  <a:cubicBezTo>
                    <a:pt x="1" y="183"/>
                    <a:pt x="1" y="183"/>
                    <a:pt x="1" y="183"/>
                  </a:cubicBezTo>
                  <a:cubicBezTo>
                    <a:pt x="2" y="183"/>
                    <a:pt x="2" y="183"/>
                    <a:pt x="2" y="183"/>
                  </a:cubicBezTo>
                  <a:cubicBezTo>
                    <a:pt x="37" y="146"/>
                    <a:pt x="37" y="146"/>
                    <a:pt x="37" y="146"/>
                  </a:cubicBezTo>
                  <a:cubicBezTo>
                    <a:pt x="41" y="150"/>
                    <a:pt x="41" y="150"/>
                    <a:pt x="41" y="150"/>
                  </a:cubicBezTo>
                  <a:cubicBezTo>
                    <a:pt x="48" y="142"/>
                    <a:pt x="48" y="142"/>
                    <a:pt x="48" y="142"/>
                  </a:cubicBezTo>
                  <a:cubicBezTo>
                    <a:pt x="53" y="147"/>
                    <a:pt x="53" y="147"/>
                    <a:pt x="53" y="147"/>
                  </a:cubicBezTo>
                  <a:cubicBezTo>
                    <a:pt x="55" y="148"/>
                    <a:pt x="58" y="148"/>
                    <a:pt x="60" y="145"/>
                  </a:cubicBezTo>
                  <a:cubicBezTo>
                    <a:pt x="137" y="66"/>
                    <a:pt x="137" y="66"/>
                    <a:pt x="137" y="66"/>
                  </a:cubicBezTo>
                  <a:cubicBezTo>
                    <a:pt x="137" y="66"/>
                    <a:pt x="138" y="65"/>
                    <a:pt x="138" y="65"/>
                  </a:cubicBezTo>
                  <a:cubicBezTo>
                    <a:pt x="144" y="70"/>
                    <a:pt x="144" y="70"/>
                    <a:pt x="144" y="70"/>
                  </a:cubicBezTo>
                  <a:cubicBezTo>
                    <a:pt x="149" y="65"/>
                    <a:pt x="149" y="65"/>
                    <a:pt x="149" y="65"/>
                  </a:cubicBezTo>
                  <a:cubicBezTo>
                    <a:pt x="133" y="49"/>
                    <a:pt x="133" y="49"/>
                    <a:pt x="133" y="49"/>
                  </a:cubicBezTo>
                  <a:cubicBezTo>
                    <a:pt x="158" y="23"/>
                    <a:pt x="158" y="23"/>
                    <a:pt x="158" y="23"/>
                  </a:cubicBezTo>
                  <a:cubicBezTo>
                    <a:pt x="172" y="36"/>
                    <a:pt x="172" y="36"/>
                    <a:pt x="172" y="36"/>
                  </a:cubicBezTo>
                  <a:cubicBezTo>
                    <a:pt x="173" y="37"/>
                    <a:pt x="175" y="37"/>
                    <a:pt x="176" y="36"/>
                  </a:cubicBezTo>
                  <a:cubicBezTo>
                    <a:pt x="177" y="34"/>
                    <a:pt x="177" y="32"/>
                    <a:pt x="176" y="31"/>
                  </a:cubicBezTo>
                  <a:close/>
                  <a:moveTo>
                    <a:pt x="3" y="180"/>
                  </a:moveTo>
                  <a:cubicBezTo>
                    <a:pt x="5" y="174"/>
                    <a:pt x="5" y="174"/>
                    <a:pt x="5" y="174"/>
                  </a:cubicBezTo>
                  <a:cubicBezTo>
                    <a:pt x="6" y="174"/>
                    <a:pt x="6" y="174"/>
                    <a:pt x="6" y="174"/>
                  </a:cubicBezTo>
                  <a:cubicBezTo>
                    <a:pt x="35" y="144"/>
                    <a:pt x="35" y="144"/>
                    <a:pt x="35" y="144"/>
                  </a:cubicBezTo>
                  <a:cubicBezTo>
                    <a:pt x="36" y="145"/>
                    <a:pt x="36" y="145"/>
                    <a:pt x="36" y="145"/>
                  </a:cubicBezTo>
                  <a:lnTo>
                    <a:pt x="3" y="180"/>
                  </a:lnTo>
                  <a:close/>
                  <a:moveTo>
                    <a:pt x="41" y="146"/>
                  </a:moveTo>
                  <a:cubicBezTo>
                    <a:pt x="40" y="145"/>
                    <a:pt x="35" y="141"/>
                    <a:pt x="34" y="140"/>
                  </a:cubicBezTo>
                  <a:cubicBezTo>
                    <a:pt x="34" y="139"/>
                    <a:pt x="37" y="136"/>
                    <a:pt x="40" y="134"/>
                  </a:cubicBezTo>
                  <a:cubicBezTo>
                    <a:pt x="47" y="140"/>
                    <a:pt x="47" y="140"/>
                    <a:pt x="47" y="140"/>
                  </a:cubicBezTo>
                  <a:cubicBezTo>
                    <a:pt x="44" y="143"/>
                    <a:pt x="41" y="146"/>
                    <a:pt x="41" y="146"/>
                  </a:cubicBezTo>
                  <a:close/>
                  <a:moveTo>
                    <a:pt x="67" y="127"/>
                  </a:moveTo>
                  <a:cubicBezTo>
                    <a:pt x="65" y="125"/>
                    <a:pt x="65" y="125"/>
                    <a:pt x="65" y="125"/>
                  </a:cubicBezTo>
                  <a:cubicBezTo>
                    <a:pt x="75" y="115"/>
                    <a:pt x="75" y="115"/>
                    <a:pt x="75" y="115"/>
                  </a:cubicBezTo>
                  <a:cubicBezTo>
                    <a:pt x="63" y="104"/>
                    <a:pt x="63" y="104"/>
                    <a:pt x="63" y="104"/>
                  </a:cubicBezTo>
                  <a:cubicBezTo>
                    <a:pt x="64" y="103"/>
                    <a:pt x="64" y="103"/>
                    <a:pt x="64" y="103"/>
                  </a:cubicBezTo>
                  <a:cubicBezTo>
                    <a:pt x="76" y="114"/>
                    <a:pt x="76" y="114"/>
                    <a:pt x="76" y="114"/>
                  </a:cubicBezTo>
                  <a:cubicBezTo>
                    <a:pt x="85" y="104"/>
                    <a:pt x="85" y="104"/>
                    <a:pt x="85" y="104"/>
                  </a:cubicBezTo>
                  <a:cubicBezTo>
                    <a:pt x="78" y="97"/>
                    <a:pt x="78" y="97"/>
                    <a:pt x="78" y="97"/>
                  </a:cubicBezTo>
                  <a:cubicBezTo>
                    <a:pt x="79" y="96"/>
                    <a:pt x="79" y="96"/>
                    <a:pt x="79" y="96"/>
                  </a:cubicBezTo>
                  <a:cubicBezTo>
                    <a:pt x="86" y="103"/>
                    <a:pt x="86" y="103"/>
                    <a:pt x="86" y="103"/>
                  </a:cubicBezTo>
                  <a:cubicBezTo>
                    <a:pt x="95" y="94"/>
                    <a:pt x="95" y="94"/>
                    <a:pt x="95" y="94"/>
                  </a:cubicBezTo>
                  <a:cubicBezTo>
                    <a:pt x="97" y="96"/>
                    <a:pt x="97" y="96"/>
                    <a:pt x="97" y="96"/>
                  </a:cubicBezTo>
                  <a:lnTo>
                    <a:pt x="67" y="127"/>
                  </a:lnTo>
                  <a:close/>
                  <a:moveTo>
                    <a:pt x="135" y="64"/>
                  </a:moveTo>
                  <a:cubicBezTo>
                    <a:pt x="103" y="97"/>
                    <a:pt x="103" y="97"/>
                    <a:pt x="103" y="97"/>
                  </a:cubicBezTo>
                  <a:cubicBezTo>
                    <a:pt x="99" y="94"/>
                    <a:pt x="99" y="94"/>
                    <a:pt x="99" y="94"/>
                  </a:cubicBezTo>
                  <a:cubicBezTo>
                    <a:pt x="99" y="94"/>
                    <a:pt x="99" y="94"/>
                    <a:pt x="99" y="94"/>
                  </a:cubicBezTo>
                  <a:cubicBezTo>
                    <a:pt x="97" y="92"/>
                    <a:pt x="97" y="92"/>
                    <a:pt x="97" y="92"/>
                  </a:cubicBezTo>
                  <a:cubicBezTo>
                    <a:pt x="97" y="92"/>
                    <a:pt x="97" y="92"/>
                    <a:pt x="97" y="92"/>
                  </a:cubicBezTo>
                  <a:cubicBezTo>
                    <a:pt x="81" y="76"/>
                    <a:pt x="81" y="76"/>
                    <a:pt x="81" y="76"/>
                  </a:cubicBezTo>
                  <a:cubicBezTo>
                    <a:pt x="113" y="43"/>
                    <a:pt x="113" y="43"/>
                    <a:pt x="113" y="43"/>
                  </a:cubicBezTo>
                  <a:lnTo>
                    <a:pt x="13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38" name="Group 255"/>
          <p:cNvGrpSpPr>
            <a:grpSpLocks/>
          </p:cNvGrpSpPr>
          <p:nvPr/>
        </p:nvGrpSpPr>
        <p:grpSpPr bwMode="auto">
          <a:xfrm>
            <a:off x="6011863" y="4535488"/>
            <a:ext cx="252412" cy="252412"/>
            <a:chOff x="6079404" y="2227027"/>
            <a:chExt cx="365760" cy="365760"/>
          </a:xfrm>
        </p:grpSpPr>
        <p:sp>
          <p:nvSpPr>
            <p:cNvPr id="230" name="Oval 229">
              <a:extLst>
                <a:ext uri="{FF2B5EF4-FFF2-40B4-BE49-F238E27FC236}"/>
              </a:extLst>
            </p:cNvPr>
            <p:cNvSpPr/>
            <p:nvPr/>
          </p:nvSpPr>
          <p:spPr bwMode="ltGray">
            <a:xfrm>
              <a:off x="6079404" y="2227027"/>
              <a:ext cx="365760" cy="365760"/>
            </a:xfrm>
            <a:prstGeom prst="ellipse">
              <a:avLst/>
            </a:prstGeom>
            <a:solidFill>
              <a:srgbClr val="009ACE"/>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grpSp>
          <p:nvGrpSpPr>
            <p:cNvPr id="231" name="Group 230">
              <a:extLst>
                <a:ext uri="{FF2B5EF4-FFF2-40B4-BE49-F238E27FC236}"/>
              </a:extLst>
            </p:cNvPr>
            <p:cNvGrpSpPr/>
            <p:nvPr/>
          </p:nvGrpSpPr>
          <p:grpSpPr>
            <a:xfrm>
              <a:off x="6111800" y="2232098"/>
              <a:ext cx="288000" cy="329677"/>
              <a:chOff x="9723171" y="4783178"/>
              <a:chExt cx="1070076" cy="1779664"/>
            </a:xfrm>
            <a:solidFill>
              <a:srgbClr val="FFFFFF"/>
            </a:solidFill>
          </p:grpSpPr>
          <p:sp>
            <p:nvSpPr>
              <p:cNvPr id="232" name="Freeform 1315">
                <a:extLst>
                  <a:ext uri="{FF2B5EF4-FFF2-40B4-BE49-F238E27FC236}"/>
                </a:extLst>
              </p:cNvPr>
              <p:cNvSpPr>
                <a:spLocks noEditPoints="1"/>
              </p:cNvSpPr>
              <p:nvPr/>
            </p:nvSpPr>
            <p:spPr bwMode="auto">
              <a:xfrm>
                <a:off x="9723171" y="4813824"/>
                <a:ext cx="1070076" cy="1749018"/>
              </a:xfrm>
              <a:custGeom>
                <a:avLst/>
                <a:gdLst/>
                <a:ahLst/>
                <a:cxnLst>
                  <a:cxn ang="0">
                    <a:pos x="566" y="608"/>
                  </a:cxn>
                  <a:cxn ang="0">
                    <a:pos x="398" y="484"/>
                  </a:cxn>
                  <a:cxn ang="0">
                    <a:pos x="211" y="484"/>
                  </a:cxn>
                  <a:cxn ang="0">
                    <a:pos x="44" y="608"/>
                  </a:cxn>
                  <a:cxn ang="0">
                    <a:pos x="0" y="751"/>
                  </a:cxn>
                  <a:cxn ang="0">
                    <a:pos x="98" y="820"/>
                  </a:cxn>
                  <a:cxn ang="0">
                    <a:pos x="141" y="677"/>
                  </a:cxn>
                  <a:cxn ang="0">
                    <a:pos x="184" y="677"/>
                  </a:cxn>
                  <a:cxn ang="0">
                    <a:pos x="138" y="838"/>
                  </a:cxn>
                  <a:cxn ang="0">
                    <a:pos x="304" y="870"/>
                  </a:cxn>
                  <a:cxn ang="0">
                    <a:pos x="470" y="838"/>
                  </a:cxn>
                  <a:cxn ang="0">
                    <a:pos x="423" y="677"/>
                  </a:cxn>
                  <a:cxn ang="0">
                    <a:pos x="469" y="677"/>
                  </a:cxn>
                  <a:cxn ang="0">
                    <a:pos x="512" y="819"/>
                  </a:cxn>
                  <a:cxn ang="0">
                    <a:pos x="609" y="750"/>
                  </a:cxn>
                  <a:cxn ang="0">
                    <a:pos x="566" y="608"/>
                  </a:cxn>
                  <a:cxn ang="0">
                    <a:pos x="304" y="205"/>
                  </a:cxn>
                  <a:cxn ang="0">
                    <a:pos x="179" y="331"/>
                  </a:cxn>
                  <a:cxn ang="0">
                    <a:pos x="304" y="456"/>
                  </a:cxn>
                  <a:cxn ang="0">
                    <a:pos x="430" y="331"/>
                  </a:cxn>
                  <a:cxn ang="0">
                    <a:pos x="304" y="205"/>
                  </a:cxn>
                  <a:cxn ang="0">
                    <a:pos x="221" y="41"/>
                  </a:cxn>
                  <a:cxn ang="0">
                    <a:pos x="123" y="88"/>
                  </a:cxn>
                  <a:cxn ang="0">
                    <a:pos x="184" y="217"/>
                  </a:cxn>
                  <a:cxn ang="0">
                    <a:pos x="304" y="167"/>
                  </a:cxn>
                  <a:cxn ang="0">
                    <a:pos x="425" y="217"/>
                  </a:cxn>
                  <a:cxn ang="0">
                    <a:pos x="485" y="88"/>
                  </a:cxn>
                  <a:cxn ang="0">
                    <a:pos x="389" y="41"/>
                  </a:cxn>
                  <a:cxn ang="0">
                    <a:pos x="370" y="0"/>
                  </a:cxn>
                  <a:cxn ang="0">
                    <a:pos x="305" y="0"/>
                  </a:cxn>
                  <a:cxn ang="0">
                    <a:pos x="239" y="0"/>
                  </a:cxn>
                  <a:cxn ang="0">
                    <a:pos x="221" y="41"/>
                  </a:cxn>
                  <a:cxn ang="0">
                    <a:pos x="261" y="71"/>
                  </a:cxn>
                  <a:cxn ang="0">
                    <a:pos x="287" y="71"/>
                  </a:cxn>
                  <a:cxn ang="0">
                    <a:pos x="287" y="45"/>
                  </a:cxn>
                  <a:cxn ang="0">
                    <a:pos x="305" y="28"/>
                  </a:cxn>
                  <a:cxn ang="0">
                    <a:pos x="322" y="45"/>
                  </a:cxn>
                  <a:cxn ang="0">
                    <a:pos x="322" y="71"/>
                  </a:cxn>
                  <a:cxn ang="0">
                    <a:pos x="348" y="71"/>
                  </a:cxn>
                  <a:cxn ang="0">
                    <a:pos x="365" y="88"/>
                  </a:cxn>
                  <a:cxn ang="0">
                    <a:pos x="348" y="106"/>
                  </a:cxn>
                  <a:cxn ang="0">
                    <a:pos x="322" y="106"/>
                  </a:cxn>
                  <a:cxn ang="0">
                    <a:pos x="322" y="132"/>
                  </a:cxn>
                  <a:cxn ang="0">
                    <a:pos x="305" y="149"/>
                  </a:cxn>
                  <a:cxn ang="0">
                    <a:pos x="287" y="132"/>
                  </a:cxn>
                  <a:cxn ang="0">
                    <a:pos x="287" y="106"/>
                  </a:cxn>
                  <a:cxn ang="0">
                    <a:pos x="261" y="106"/>
                  </a:cxn>
                  <a:cxn ang="0">
                    <a:pos x="244" y="88"/>
                  </a:cxn>
                  <a:cxn ang="0">
                    <a:pos x="261" y="71"/>
                  </a:cxn>
                </a:cxnLst>
                <a:rect l="0" t="0" r="r" b="b"/>
                <a:pathLst>
                  <a:path w="609" h="870">
                    <a:moveTo>
                      <a:pt x="566" y="608"/>
                    </a:moveTo>
                    <a:cubicBezTo>
                      <a:pt x="551" y="564"/>
                      <a:pt x="495" y="484"/>
                      <a:pt x="398" y="484"/>
                    </a:cubicBezTo>
                    <a:cubicBezTo>
                      <a:pt x="211" y="484"/>
                      <a:pt x="211" y="484"/>
                      <a:pt x="211" y="484"/>
                    </a:cubicBezTo>
                    <a:cubicBezTo>
                      <a:pt x="113" y="484"/>
                      <a:pt x="57" y="563"/>
                      <a:pt x="44" y="608"/>
                    </a:cubicBezTo>
                    <a:cubicBezTo>
                      <a:pt x="0" y="751"/>
                      <a:pt x="0" y="751"/>
                      <a:pt x="0" y="751"/>
                    </a:cubicBezTo>
                    <a:cubicBezTo>
                      <a:pt x="30" y="778"/>
                      <a:pt x="63" y="801"/>
                      <a:pt x="98" y="820"/>
                    </a:cubicBezTo>
                    <a:cubicBezTo>
                      <a:pt x="141" y="677"/>
                      <a:pt x="141" y="677"/>
                      <a:pt x="141" y="677"/>
                    </a:cubicBezTo>
                    <a:cubicBezTo>
                      <a:pt x="184" y="677"/>
                      <a:pt x="184" y="677"/>
                      <a:pt x="184" y="677"/>
                    </a:cubicBezTo>
                    <a:cubicBezTo>
                      <a:pt x="138" y="838"/>
                      <a:pt x="138" y="838"/>
                      <a:pt x="138" y="838"/>
                    </a:cubicBezTo>
                    <a:cubicBezTo>
                      <a:pt x="189" y="859"/>
                      <a:pt x="245" y="870"/>
                      <a:pt x="304" y="870"/>
                    </a:cubicBezTo>
                    <a:cubicBezTo>
                      <a:pt x="363" y="870"/>
                      <a:pt x="419" y="859"/>
                      <a:pt x="470" y="838"/>
                    </a:cubicBezTo>
                    <a:cubicBezTo>
                      <a:pt x="423" y="677"/>
                      <a:pt x="423" y="677"/>
                      <a:pt x="423" y="677"/>
                    </a:cubicBezTo>
                    <a:cubicBezTo>
                      <a:pt x="469" y="677"/>
                      <a:pt x="469" y="677"/>
                      <a:pt x="469" y="677"/>
                    </a:cubicBezTo>
                    <a:cubicBezTo>
                      <a:pt x="512" y="819"/>
                      <a:pt x="512" y="819"/>
                      <a:pt x="512" y="819"/>
                    </a:cubicBezTo>
                    <a:cubicBezTo>
                      <a:pt x="547" y="800"/>
                      <a:pt x="580" y="777"/>
                      <a:pt x="609" y="750"/>
                    </a:cubicBezTo>
                    <a:lnTo>
                      <a:pt x="566" y="608"/>
                    </a:lnTo>
                    <a:close/>
                    <a:moveTo>
                      <a:pt x="304" y="205"/>
                    </a:moveTo>
                    <a:cubicBezTo>
                      <a:pt x="235" y="205"/>
                      <a:pt x="179" y="261"/>
                      <a:pt x="179" y="331"/>
                    </a:cubicBezTo>
                    <a:cubicBezTo>
                      <a:pt x="179" y="400"/>
                      <a:pt x="235" y="456"/>
                      <a:pt x="304" y="456"/>
                    </a:cubicBezTo>
                    <a:cubicBezTo>
                      <a:pt x="374" y="456"/>
                      <a:pt x="430" y="400"/>
                      <a:pt x="430" y="331"/>
                    </a:cubicBezTo>
                    <a:cubicBezTo>
                      <a:pt x="430" y="261"/>
                      <a:pt x="374" y="205"/>
                      <a:pt x="304" y="205"/>
                    </a:cubicBezTo>
                    <a:close/>
                    <a:moveTo>
                      <a:pt x="221" y="41"/>
                    </a:moveTo>
                    <a:cubicBezTo>
                      <a:pt x="185" y="51"/>
                      <a:pt x="153" y="67"/>
                      <a:pt x="123" y="88"/>
                    </a:cubicBezTo>
                    <a:cubicBezTo>
                      <a:pt x="184" y="217"/>
                      <a:pt x="184" y="217"/>
                      <a:pt x="184" y="217"/>
                    </a:cubicBezTo>
                    <a:cubicBezTo>
                      <a:pt x="215" y="187"/>
                      <a:pt x="257" y="167"/>
                      <a:pt x="304" y="167"/>
                    </a:cubicBezTo>
                    <a:cubicBezTo>
                      <a:pt x="352" y="167"/>
                      <a:pt x="394" y="187"/>
                      <a:pt x="425" y="217"/>
                    </a:cubicBezTo>
                    <a:cubicBezTo>
                      <a:pt x="485" y="88"/>
                      <a:pt x="485" y="88"/>
                      <a:pt x="485" y="88"/>
                    </a:cubicBezTo>
                    <a:cubicBezTo>
                      <a:pt x="456" y="67"/>
                      <a:pt x="424" y="51"/>
                      <a:pt x="389" y="41"/>
                    </a:cubicBezTo>
                    <a:cubicBezTo>
                      <a:pt x="370" y="0"/>
                      <a:pt x="370" y="0"/>
                      <a:pt x="370" y="0"/>
                    </a:cubicBezTo>
                    <a:cubicBezTo>
                      <a:pt x="305" y="0"/>
                      <a:pt x="305" y="0"/>
                      <a:pt x="305" y="0"/>
                    </a:cubicBezTo>
                    <a:cubicBezTo>
                      <a:pt x="239" y="0"/>
                      <a:pt x="239" y="0"/>
                      <a:pt x="239" y="0"/>
                    </a:cubicBezTo>
                    <a:lnTo>
                      <a:pt x="221" y="41"/>
                    </a:lnTo>
                    <a:close/>
                    <a:moveTo>
                      <a:pt x="261" y="71"/>
                    </a:moveTo>
                    <a:cubicBezTo>
                      <a:pt x="287" y="71"/>
                      <a:pt x="287" y="71"/>
                      <a:pt x="287" y="71"/>
                    </a:cubicBezTo>
                    <a:cubicBezTo>
                      <a:pt x="287" y="45"/>
                      <a:pt x="287" y="45"/>
                      <a:pt x="287" y="45"/>
                    </a:cubicBezTo>
                    <a:cubicBezTo>
                      <a:pt x="287" y="35"/>
                      <a:pt x="295" y="28"/>
                      <a:pt x="305" y="28"/>
                    </a:cubicBezTo>
                    <a:cubicBezTo>
                      <a:pt x="314" y="28"/>
                      <a:pt x="322" y="35"/>
                      <a:pt x="322" y="45"/>
                    </a:cubicBezTo>
                    <a:cubicBezTo>
                      <a:pt x="322" y="71"/>
                      <a:pt x="322" y="71"/>
                      <a:pt x="322" y="71"/>
                    </a:cubicBezTo>
                    <a:cubicBezTo>
                      <a:pt x="348" y="71"/>
                      <a:pt x="348" y="71"/>
                      <a:pt x="348" y="71"/>
                    </a:cubicBezTo>
                    <a:cubicBezTo>
                      <a:pt x="358" y="71"/>
                      <a:pt x="365" y="79"/>
                      <a:pt x="365" y="88"/>
                    </a:cubicBezTo>
                    <a:cubicBezTo>
                      <a:pt x="365" y="98"/>
                      <a:pt x="358" y="106"/>
                      <a:pt x="348" y="106"/>
                    </a:cubicBezTo>
                    <a:cubicBezTo>
                      <a:pt x="322" y="106"/>
                      <a:pt x="322" y="106"/>
                      <a:pt x="322" y="106"/>
                    </a:cubicBezTo>
                    <a:cubicBezTo>
                      <a:pt x="322" y="132"/>
                      <a:pt x="322" y="132"/>
                      <a:pt x="322" y="132"/>
                    </a:cubicBezTo>
                    <a:cubicBezTo>
                      <a:pt x="322" y="141"/>
                      <a:pt x="314" y="149"/>
                      <a:pt x="305" y="149"/>
                    </a:cubicBezTo>
                    <a:cubicBezTo>
                      <a:pt x="295" y="149"/>
                      <a:pt x="287" y="141"/>
                      <a:pt x="287" y="132"/>
                    </a:cubicBezTo>
                    <a:cubicBezTo>
                      <a:pt x="287" y="106"/>
                      <a:pt x="287" y="106"/>
                      <a:pt x="287" y="106"/>
                    </a:cubicBezTo>
                    <a:cubicBezTo>
                      <a:pt x="261" y="106"/>
                      <a:pt x="261" y="106"/>
                      <a:pt x="261" y="106"/>
                    </a:cubicBezTo>
                    <a:cubicBezTo>
                      <a:pt x="252" y="106"/>
                      <a:pt x="244" y="98"/>
                      <a:pt x="244" y="88"/>
                    </a:cubicBezTo>
                    <a:cubicBezTo>
                      <a:pt x="244" y="79"/>
                      <a:pt x="252" y="71"/>
                      <a:pt x="261" y="71"/>
                    </a:cubicBezTo>
                    <a:close/>
                  </a:path>
                </a:pathLst>
              </a:custGeom>
              <a:grpFill/>
              <a:ln w="9525">
                <a:noFill/>
                <a:round/>
                <a:headEnd/>
                <a:tailEnd/>
              </a:ln>
            </p:spPr>
            <p:txBody>
              <a:bodyPr lIns="80147" tIns="40074" rIns="80147" bIns="40074"/>
              <a:lstStyle/>
              <a:p>
                <a:pPr eaLnBrk="1" fontAlgn="auto" hangingPunct="1">
                  <a:spcBef>
                    <a:spcPts val="0"/>
                  </a:spcBef>
                  <a:spcAft>
                    <a:spcPts val="0"/>
                  </a:spcAft>
                  <a:defRPr/>
                </a:pPr>
                <a:endParaRPr lang="en-US" sz="1400" kern="0" dirty="0">
                  <a:solidFill>
                    <a:srgbClr val="000000"/>
                  </a:solidFill>
                  <a:ea typeface="Arial"/>
                  <a:cs typeface="Arial"/>
                  <a:sym typeface="Arial"/>
                </a:endParaRPr>
              </a:p>
            </p:txBody>
          </p:sp>
          <p:sp>
            <p:nvSpPr>
              <p:cNvPr id="233" name="Rectangle 232">
                <a:extLst>
                  <a:ext uri="{FF2B5EF4-FFF2-40B4-BE49-F238E27FC236}"/>
                </a:extLst>
              </p:cNvPr>
              <p:cNvSpPr/>
              <p:nvPr/>
            </p:nvSpPr>
            <p:spPr>
              <a:xfrm>
                <a:off x="10148914" y="4783178"/>
                <a:ext cx="301841" cy="294953"/>
              </a:xfrm>
              <a:prstGeom prst="rect">
                <a:avLst/>
              </a:prstGeom>
              <a:grpFill/>
              <a:ln w="9525" cap="flat" cmpd="sng" algn="ctr">
                <a:no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sp>
            <p:nvSpPr>
              <p:cNvPr id="234" name="Moon 233">
                <a:extLst>
                  <a:ext uri="{FF2B5EF4-FFF2-40B4-BE49-F238E27FC236}"/>
                </a:extLst>
              </p:cNvPr>
              <p:cNvSpPr/>
              <p:nvPr/>
            </p:nvSpPr>
            <p:spPr>
              <a:xfrm rot="11063388">
                <a:off x="10192275" y="4808848"/>
                <a:ext cx="179606" cy="245011"/>
              </a:xfrm>
              <a:prstGeom prst="moon">
                <a:avLst>
                  <a:gd name="adj" fmla="val 45579"/>
                </a:avLst>
              </a:prstGeom>
              <a:solidFill>
                <a:srgbClr val="E03C31"/>
              </a:solidFill>
              <a:ln w="9525" cap="flat" cmpd="sng" algn="ctr">
                <a:noFill/>
                <a:prstDash val="solid"/>
              </a:ln>
              <a:effectLst/>
            </p:spPr>
            <p:txBody>
              <a:bodyPr anchor="ctr"/>
              <a:lstStyle/>
              <a:p>
                <a:pPr algn="ctr" eaLnBrk="1" fontAlgn="auto" hangingPunct="1">
                  <a:spcBef>
                    <a:spcPts val="0"/>
                  </a:spcBef>
                  <a:spcAft>
                    <a:spcPts val="0"/>
                  </a:spcAft>
                  <a:defRPr/>
                </a:pPr>
                <a:endParaRPr lang="en-GB" sz="1200" kern="0" dirty="0">
                  <a:solidFill>
                    <a:srgbClr val="000000"/>
                  </a:solidFill>
                  <a:latin typeface="Arial"/>
                  <a:cs typeface="+mn-cs"/>
                  <a:sym typeface="Arial"/>
                </a:endParaRPr>
              </a:p>
            </p:txBody>
          </p:sp>
        </p:grpSp>
      </p:grpSp>
      <p:grpSp>
        <p:nvGrpSpPr>
          <p:cNvPr id="66639" name="Group 261"/>
          <p:cNvGrpSpPr>
            <a:grpSpLocks/>
          </p:cNvGrpSpPr>
          <p:nvPr/>
        </p:nvGrpSpPr>
        <p:grpSpPr bwMode="auto">
          <a:xfrm>
            <a:off x="7434263" y="4171950"/>
            <a:ext cx="252412" cy="252413"/>
            <a:chOff x="7478177" y="1689673"/>
            <a:chExt cx="365760" cy="365760"/>
          </a:xfrm>
        </p:grpSpPr>
        <p:sp>
          <p:nvSpPr>
            <p:cNvPr id="236" name="Oval 235">
              <a:extLst>
                <a:ext uri="{FF2B5EF4-FFF2-40B4-BE49-F238E27FC236}"/>
              </a:extLst>
            </p:cNvPr>
            <p:cNvSpPr/>
            <p:nvPr/>
          </p:nvSpPr>
          <p:spPr bwMode="ltGray">
            <a:xfrm>
              <a:off x="7478177" y="1689673"/>
              <a:ext cx="365760" cy="365760"/>
            </a:xfrm>
            <a:prstGeom prst="ellipse">
              <a:avLst/>
            </a:prstGeom>
            <a:solidFill>
              <a:srgbClr val="E03C3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37" name="Freeform 1337">
              <a:extLst>
                <a:ext uri="{FF2B5EF4-FFF2-40B4-BE49-F238E27FC236}"/>
              </a:extLst>
            </p:cNvPr>
            <p:cNvSpPr>
              <a:spLocks noEditPoints="1"/>
            </p:cNvSpPr>
            <p:nvPr/>
          </p:nvSpPr>
          <p:spPr bwMode="auto">
            <a:xfrm>
              <a:off x="7517283" y="1717277"/>
              <a:ext cx="287548" cy="289847"/>
            </a:xfrm>
            <a:custGeom>
              <a:avLst/>
              <a:gdLst>
                <a:gd name="T0" fmla="*/ 351 w 855"/>
                <a:gd name="T1" fmla="*/ 100 h 822"/>
                <a:gd name="T2" fmla="*/ 152 w 855"/>
                <a:gd name="T3" fmla="*/ 100 h 822"/>
                <a:gd name="T4" fmla="*/ 259 w 855"/>
                <a:gd name="T5" fmla="*/ 666 h 822"/>
                <a:gd name="T6" fmla="*/ 320 w 855"/>
                <a:gd name="T7" fmla="*/ 428 h 822"/>
                <a:gd name="T8" fmla="*/ 408 w 855"/>
                <a:gd name="T9" fmla="*/ 266 h 822"/>
                <a:gd name="T10" fmla="*/ 251 w 855"/>
                <a:gd name="T11" fmla="*/ 241 h 822"/>
                <a:gd name="T12" fmla="*/ 60 w 855"/>
                <a:gd name="T13" fmla="*/ 329 h 822"/>
                <a:gd name="T14" fmla="*/ 57 w 855"/>
                <a:gd name="T15" fmla="*/ 638 h 822"/>
                <a:gd name="T16" fmla="*/ 166 w 855"/>
                <a:gd name="T17" fmla="*/ 404 h 822"/>
                <a:gd name="T18" fmla="*/ 329 w 855"/>
                <a:gd name="T19" fmla="*/ 814 h 822"/>
                <a:gd name="T20" fmla="*/ 259 w 855"/>
                <a:gd name="T21" fmla="*/ 666 h 822"/>
                <a:gd name="T22" fmla="*/ 735 w 855"/>
                <a:gd name="T23" fmla="*/ 241 h 822"/>
                <a:gd name="T24" fmla="*/ 673 w 855"/>
                <a:gd name="T25" fmla="*/ 241 h 822"/>
                <a:gd name="T26" fmla="*/ 554 w 855"/>
                <a:gd name="T27" fmla="*/ 241 h 822"/>
                <a:gd name="T28" fmla="*/ 492 w 855"/>
                <a:gd name="T29" fmla="*/ 241 h 822"/>
                <a:gd name="T30" fmla="*/ 525 w 855"/>
                <a:gd name="T31" fmla="*/ 375 h 822"/>
                <a:gd name="T32" fmla="*/ 572 w 855"/>
                <a:gd name="T33" fmla="*/ 501 h 822"/>
                <a:gd name="T34" fmla="*/ 502 w 855"/>
                <a:gd name="T35" fmla="*/ 739 h 822"/>
                <a:gd name="T36" fmla="*/ 739 w 855"/>
                <a:gd name="T37" fmla="*/ 682 h 822"/>
                <a:gd name="T38" fmla="*/ 731 w 855"/>
                <a:gd name="T39" fmla="*/ 415 h 822"/>
                <a:gd name="T40" fmla="*/ 766 w 855"/>
                <a:gd name="T41" fmla="*/ 414 h 822"/>
                <a:gd name="T42" fmla="*/ 855 w 855"/>
                <a:gd name="T43" fmla="*/ 429 h 822"/>
                <a:gd name="T44" fmla="*/ 416 w 855"/>
                <a:gd name="T45" fmla="*/ 822 h 822"/>
                <a:gd name="T46" fmla="*/ 459 w 855"/>
                <a:gd name="T47" fmla="*/ 696 h 822"/>
                <a:gd name="T48" fmla="*/ 529 w 855"/>
                <a:gd name="T49" fmla="*/ 666 h 822"/>
                <a:gd name="T50" fmla="*/ 498 w 855"/>
                <a:gd name="T51" fmla="*/ 471 h 822"/>
                <a:gd name="T52" fmla="*/ 303 w 855"/>
                <a:gd name="T53" fmla="*/ 501 h 822"/>
                <a:gd name="T54" fmla="*/ 333 w 855"/>
                <a:gd name="T55" fmla="*/ 696 h 822"/>
                <a:gd name="T56" fmla="*/ 373 w 855"/>
                <a:gd name="T57" fmla="*/ 820 h 822"/>
                <a:gd name="T58" fmla="*/ 514 w 855"/>
                <a:gd name="T59" fmla="*/ 100 h 822"/>
                <a:gd name="T60" fmla="*/ 713 w 855"/>
                <a:gd name="T61" fmla="*/ 100 h 822"/>
                <a:gd name="T62" fmla="*/ 661 w 855"/>
                <a:gd name="T63" fmla="*/ 13 h 822"/>
                <a:gd name="T64" fmla="*/ 514 w 855"/>
                <a:gd name="T65" fmla="*/ 100 h 822"/>
                <a:gd name="T66" fmla="*/ 482 w 855"/>
                <a:gd name="T67" fmla="*/ 375 h 822"/>
                <a:gd name="T68" fmla="*/ 350 w 855"/>
                <a:gd name="T69" fmla="*/ 375 h 8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55" h="822">
                  <a:moveTo>
                    <a:pt x="251" y="199"/>
                  </a:moveTo>
                  <a:cubicBezTo>
                    <a:pt x="306" y="199"/>
                    <a:pt x="351" y="155"/>
                    <a:pt x="351" y="100"/>
                  </a:cubicBezTo>
                  <a:cubicBezTo>
                    <a:pt x="351" y="45"/>
                    <a:pt x="306" y="0"/>
                    <a:pt x="251" y="0"/>
                  </a:cubicBezTo>
                  <a:cubicBezTo>
                    <a:pt x="196" y="0"/>
                    <a:pt x="152" y="45"/>
                    <a:pt x="152" y="100"/>
                  </a:cubicBezTo>
                  <a:cubicBezTo>
                    <a:pt x="152" y="155"/>
                    <a:pt x="196" y="199"/>
                    <a:pt x="251" y="199"/>
                  </a:cubicBezTo>
                  <a:close/>
                  <a:moveTo>
                    <a:pt x="259" y="666"/>
                  </a:moveTo>
                  <a:cubicBezTo>
                    <a:pt x="259" y="501"/>
                    <a:pt x="259" y="501"/>
                    <a:pt x="259" y="501"/>
                  </a:cubicBezTo>
                  <a:cubicBezTo>
                    <a:pt x="259" y="464"/>
                    <a:pt x="286" y="434"/>
                    <a:pt x="320" y="428"/>
                  </a:cubicBezTo>
                  <a:cubicBezTo>
                    <a:pt x="311" y="413"/>
                    <a:pt x="306" y="394"/>
                    <a:pt x="306" y="375"/>
                  </a:cubicBezTo>
                  <a:cubicBezTo>
                    <a:pt x="306" y="317"/>
                    <a:pt x="351" y="270"/>
                    <a:pt x="408" y="266"/>
                  </a:cubicBezTo>
                  <a:cubicBezTo>
                    <a:pt x="392" y="251"/>
                    <a:pt x="371" y="241"/>
                    <a:pt x="348" y="241"/>
                  </a:cubicBezTo>
                  <a:cubicBezTo>
                    <a:pt x="251" y="241"/>
                    <a:pt x="251" y="241"/>
                    <a:pt x="251" y="241"/>
                  </a:cubicBezTo>
                  <a:cubicBezTo>
                    <a:pt x="154" y="241"/>
                    <a:pt x="154" y="241"/>
                    <a:pt x="154" y="241"/>
                  </a:cubicBezTo>
                  <a:cubicBezTo>
                    <a:pt x="108" y="241"/>
                    <a:pt x="69" y="279"/>
                    <a:pt x="60" y="329"/>
                  </a:cubicBezTo>
                  <a:cubicBezTo>
                    <a:pt x="0" y="529"/>
                    <a:pt x="0" y="529"/>
                    <a:pt x="0" y="529"/>
                  </a:cubicBezTo>
                  <a:cubicBezTo>
                    <a:pt x="14" y="568"/>
                    <a:pt x="33" y="605"/>
                    <a:pt x="57" y="638"/>
                  </a:cubicBezTo>
                  <a:cubicBezTo>
                    <a:pt x="128" y="404"/>
                    <a:pt x="128" y="404"/>
                    <a:pt x="128" y="404"/>
                  </a:cubicBezTo>
                  <a:cubicBezTo>
                    <a:pt x="166" y="404"/>
                    <a:pt x="166" y="404"/>
                    <a:pt x="166" y="404"/>
                  </a:cubicBezTo>
                  <a:cubicBezTo>
                    <a:pt x="100" y="690"/>
                    <a:pt x="100" y="690"/>
                    <a:pt x="100" y="690"/>
                  </a:cubicBezTo>
                  <a:cubicBezTo>
                    <a:pt x="161" y="752"/>
                    <a:pt x="240" y="796"/>
                    <a:pt x="329" y="814"/>
                  </a:cubicBezTo>
                  <a:cubicBezTo>
                    <a:pt x="329" y="739"/>
                    <a:pt x="329" y="739"/>
                    <a:pt x="329" y="739"/>
                  </a:cubicBezTo>
                  <a:cubicBezTo>
                    <a:pt x="290" y="737"/>
                    <a:pt x="259" y="705"/>
                    <a:pt x="259" y="666"/>
                  </a:cubicBezTo>
                  <a:close/>
                  <a:moveTo>
                    <a:pt x="843" y="334"/>
                  </a:moveTo>
                  <a:cubicBezTo>
                    <a:pt x="835" y="282"/>
                    <a:pt x="790" y="241"/>
                    <a:pt x="735" y="241"/>
                  </a:cubicBezTo>
                  <a:cubicBezTo>
                    <a:pt x="688" y="241"/>
                    <a:pt x="688" y="241"/>
                    <a:pt x="688" y="241"/>
                  </a:cubicBezTo>
                  <a:cubicBezTo>
                    <a:pt x="673" y="241"/>
                    <a:pt x="673" y="241"/>
                    <a:pt x="673" y="241"/>
                  </a:cubicBezTo>
                  <a:cubicBezTo>
                    <a:pt x="614" y="319"/>
                    <a:pt x="614" y="319"/>
                    <a:pt x="614" y="319"/>
                  </a:cubicBezTo>
                  <a:cubicBezTo>
                    <a:pt x="554" y="241"/>
                    <a:pt x="554" y="241"/>
                    <a:pt x="554" y="241"/>
                  </a:cubicBezTo>
                  <a:cubicBezTo>
                    <a:pt x="539" y="241"/>
                    <a:pt x="539" y="241"/>
                    <a:pt x="539" y="241"/>
                  </a:cubicBezTo>
                  <a:cubicBezTo>
                    <a:pt x="492" y="241"/>
                    <a:pt x="492" y="241"/>
                    <a:pt x="492" y="241"/>
                  </a:cubicBezTo>
                  <a:cubicBezTo>
                    <a:pt x="466" y="241"/>
                    <a:pt x="442" y="250"/>
                    <a:pt x="423" y="266"/>
                  </a:cubicBezTo>
                  <a:cubicBezTo>
                    <a:pt x="480" y="269"/>
                    <a:pt x="525" y="317"/>
                    <a:pt x="525" y="375"/>
                  </a:cubicBezTo>
                  <a:cubicBezTo>
                    <a:pt x="525" y="394"/>
                    <a:pt x="520" y="413"/>
                    <a:pt x="511" y="428"/>
                  </a:cubicBezTo>
                  <a:cubicBezTo>
                    <a:pt x="546" y="434"/>
                    <a:pt x="572" y="464"/>
                    <a:pt x="572" y="501"/>
                  </a:cubicBezTo>
                  <a:cubicBezTo>
                    <a:pt x="572" y="666"/>
                    <a:pt x="572" y="666"/>
                    <a:pt x="572" y="666"/>
                  </a:cubicBezTo>
                  <a:cubicBezTo>
                    <a:pt x="572" y="705"/>
                    <a:pt x="541" y="737"/>
                    <a:pt x="502" y="739"/>
                  </a:cubicBezTo>
                  <a:cubicBezTo>
                    <a:pt x="502" y="814"/>
                    <a:pt x="502" y="814"/>
                    <a:pt x="502" y="814"/>
                  </a:cubicBezTo>
                  <a:cubicBezTo>
                    <a:pt x="595" y="795"/>
                    <a:pt x="677" y="748"/>
                    <a:pt x="739" y="682"/>
                  </a:cubicBezTo>
                  <a:cubicBezTo>
                    <a:pt x="731" y="564"/>
                    <a:pt x="731" y="564"/>
                    <a:pt x="731" y="564"/>
                  </a:cubicBezTo>
                  <a:cubicBezTo>
                    <a:pt x="731" y="415"/>
                    <a:pt x="731" y="415"/>
                    <a:pt x="731" y="415"/>
                  </a:cubicBezTo>
                  <a:cubicBezTo>
                    <a:pt x="759" y="415"/>
                    <a:pt x="759" y="415"/>
                    <a:pt x="759" y="415"/>
                  </a:cubicBezTo>
                  <a:cubicBezTo>
                    <a:pt x="761" y="415"/>
                    <a:pt x="764" y="414"/>
                    <a:pt x="766" y="414"/>
                  </a:cubicBezTo>
                  <a:cubicBezTo>
                    <a:pt x="791" y="614"/>
                    <a:pt x="791" y="614"/>
                    <a:pt x="791" y="614"/>
                  </a:cubicBezTo>
                  <a:cubicBezTo>
                    <a:pt x="825" y="559"/>
                    <a:pt x="848" y="496"/>
                    <a:pt x="855" y="429"/>
                  </a:cubicBezTo>
                  <a:cubicBezTo>
                    <a:pt x="848" y="375"/>
                    <a:pt x="843" y="335"/>
                    <a:pt x="843" y="334"/>
                  </a:cubicBezTo>
                  <a:close/>
                  <a:moveTo>
                    <a:pt x="416" y="822"/>
                  </a:moveTo>
                  <a:cubicBezTo>
                    <a:pt x="430" y="822"/>
                    <a:pt x="445" y="822"/>
                    <a:pt x="459" y="820"/>
                  </a:cubicBezTo>
                  <a:cubicBezTo>
                    <a:pt x="459" y="696"/>
                    <a:pt x="459" y="696"/>
                    <a:pt x="459" y="696"/>
                  </a:cubicBezTo>
                  <a:cubicBezTo>
                    <a:pt x="498" y="696"/>
                    <a:pt x="498" y="696"/>
                    <a:pt x="498" y="696"/>
                  </a:cubicBezTo>
                  <a:cubicBezTo>
                    <a:pt x="515" y="696"/>
                    <a:pt x="529" y="683"/>
                    <a:pt x="529" y="666"/>
                  </a:cubicBezTo>
                  <a:cubicBezTo>
                    <a:pt x="529" y="501"/>
                    <a:pt x="529" y="501"/>
                    <a:pt x="529" y="501"/>
                  </a:cubicBezTo>
                  <a:cubicBezTo>
                    <a:pt x="529" y="484"/>
                    <a:pt x="515" y="471"/>
                    <a:pt x="498" y="471"/>
                  </a:cubicBezTo>
                  <a:cubicBezTo>
                    <a:pt x="333" y="471"/>
                    <a:pt x="333" y="471"/>
                    <a:pt x="333" y="471"/>
                  </a:cubicBezTo>
                  <a:cubicBezTo>
                    <a:pt x="316" y="471"/>
                    <a:pt x="303" y="484"/>
                    <a:pt x="303" y="501"/>
                  </a:cubicBezTo>
                  <a:cubicBezTo>
                    <a:pt x="303" y="666"/>
                    <a:pt x="303" y="666"/>
                    <a:pt x="303" y="666"/>
                  </a:cubicBezTo>
                  <a:cubicBezTo>
                    <a:pt x="303" y="683"/>
                    <a:pt x="316" y="696"/>
                    <a:pt x="333" y="696"/>
                  </a:cubicBezTo>
                  <a:cubicBezTo>
                    <a:pt x="373" y="696"/>
                    <a:pt x="373" y="696"/>
                    <a:pt x="373" y="696"/>
                  </a:cubicBezTo>
                  <a:cubicBezTo>
                    <a:pt x="373" y="820"/>
                    <a:pt x="373" y="820"/>
                    <a:pt x="373" y="820"/>
                  </a:cubicBezTo>
                  <a:cubicBezTo>
                    <a:pt x="387" y="822"/>
                    <a:pt x="401" y="822"/>
                    <a:pt x="416" y="822"/>
                  </a:cubicBezTo>
                  <a:close/>
                  <a:moveTo>
                    <a:pt x="514" y="100"/>
                  </a:moveTo>
                  <a:cubicBezTo>
                    <a:pt x="514" y="155"/>
                    <a:pt x="559" y="199"/>
                    <a:pt x="614" y="199"/>
                  </a:cubicBezTo>
                  <a:cubicBezTo>
                    <a:pt x="668" y="199"/>
                    <a:pt x="713" y="155"/>
                    <a:pt x="713" y="100"/>
                  </a:cubicBezTo>
                  <a:cubicBezTo>
                    <a:pt x="713" y="70"/>
                    <a:pt x="700" y="43"/>
                    <a:pt x="679" y="25"/>
                  </a:cubicBezTo>
                  <a:cubicBezTo>
                    <a:pt x="673" y="21"/>
                    <a:pt x="667" y="17"/>
                    <a:pt x="661" y="13"/>
                  </a:cubicBezTo>
                  <a:cubicBezTo>
                    <a:pt x="647" y="5"/>
                    <a:pt x="631" y="0"/>
                    <a:pt x="614" y="0"/>
                  </a:cubicBezTo>
                  <a:cubicBezTo>
                    <a:pt x="559" y="0"/>
                    <a:pt x="514" y="45"/>
                    <a:pt x="514" y="100"/>
                  </a:cubicBezTo>
                  <a:close/>
                  <a:moveTo>
                    <a:pt x="416" y="441"/>
                  </a:moveTo>
                  <a:cubicBezTo>
                    <a:pt x="452" y="441"/>
                    <a:pt x="482" y="412"/>
                    <a:pt x="482" y="375"/>
                  </a:cubicBezTo>
                  <a:cubicBezTo>
                    <a:pt x="482" y="338"/>
                    <a:pt x="452" y="309"/>
                    <a:pt x="416" y="309"/>
                  </a:cubicBezTo>
                  <a:cubicBezTo>
                    <a:pt x="379" y="309"/>
                    <a:pt x="350" y="338"/>
                    <a:pt x="350" y="375"/>
                  </a:cubicBezTo>
                  <a:cubicBezTo>
                    <a:pt x="350" y="412"/>
                    <a:pt x="379" y="441"/>
                    <a:pt x="416" y="4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400" kern="0">
                <a:solidFill>
                  <a:srgbClr val="000000"/>
                </a:solidFill>
                <a:cs typeface="Arial"/>
                <a:sym typeface="Arial"/>
              </a:endParaRPr>
            </a:p>
          </p:txBody>
        </p:sp>
      </p:grpSp>
      <p:grpSp>
        <p:nvGrpSpPr>
          <p:cNvPr id="66640" name="Group 264"/>
          <p:cNvGrpSpPr>
            <a:grpSpLocks/>
          </p:cNvGrpSpPr>
          <p:nvPr/>
        </p:nvGrpSpPr>
        <p:grpSpPr bwMode="auto">
          <a:xfrm>
            <a:off x="7442200" y="4510088"/>
            <a:ext cx="250825" cy="252412"/>
            <a:chOff x="6571533" y="6737435"/>
            <a:chExt cx="612775" cy="612775"/>
          </a:xfrm>
        </p:grpSpPr>
        <p:sp>
          <p:nvSpPr>
            <p:cNvPr id="239" name="Oval 238">
              <a:extLst>
                <a:ext uri="{FF2B5EF4-FFF2-40B4-BE49-F238E27FC236}"/>
              </a:extLst>
            </p:cNvPr>
            <p:cNvSpPr/>
            <p:nvPr/>
          </p:nvSpPr>
          <p:spPr bwMode="ltGray">
            <a:xfrm>
              <a:off x="6571533" y="6737435"/>
              <a:ext cx="612775" cy="612775"/>
            </a:xfrm>
            <a:prstGeom prst="ellipse">
              <a:avLst/>
            </a:prstGeom>
            <a:solidFill>
              <a:srgbClr val="E03C3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700" kern="0">
                <a:solidFill>
                  <a:srgbClr val="FFFFFF"/>
                </a:solidFill>
                <a:latin typeface="Georgia" charset="0"/>
              </a:endParaRPr>
            </a:p>
          </p:txBody>
        </p:sp>
        <p:sp>
          <p:nvSpPr>
            <p:cNvPr id="240" name="Freeform 860">
              <a:extLst>
                <a:ext uri="{FF2B5EF4-FFF2-40B4-BE49-F238E27FC236}"/>
              </a:extLst>
            </p:cNvPr>
            <p:cNvSpPr>
              <a:spLocks/>
            </p:cNvSpPr>
            <p:nvPr/>
          </p:nvSpPr>
          <p:spPr bwMode="auto">
            <a:xfrm>
              <a:off x="6784842" y="6791390"/>
              <a:ext cx="209429" cy="485596"/>
            </a:xfrm>
            <a:custGeom>
              <a:avLst/>
              <a:gdLst>
                <a:gd name="T0" fmla="*/ 1034 w 2496"/>
                <a:gd name="T1" fmla="*/ 261 h 5747"/>
                <a:gd name="T2" fmla="*/ 1113 w 2496"/>
                <a:gd name="T3" fmla="*/ 126 h 5747"/>
                <a:gd name="T4" fmla="*/ 1240 w 2496"/>
                <a:gd name="T5" fmla="*/ 29 h 5747"/>
                <a:gd name="T6" fmla="*/ 1316 w 2496"/>
                <a:gd name="T7" fmla="*/ 3 h 5747"/>
                <a:gd name="T8" fmla="*/ 1444 w 2496"/>
                <a:gd name="T9" fmla="*/ 14 h 5747"/>
                <a:gd name="T10" fmla="*/ 1613 w 2496"/>
                <a:gd name="T11" fmla="*/ 89 h 5747"/>
                <a:gd name="T12" fmla="*/ 1923 w 2496"/>
                <a:gd name="T13" fmla="*/ 318 h 5747"/>
                <a:gd name="T14" fmla="*/ 1973 w 2496"/>
                <a:gd name="T15" fmla="*/ 426 h 5747"/>
                <a:gd name="T16" fmla="*/ 1881 w 2496"/>
                <a:gd name="T17" fmla="*/ 488 h 5747"/>
                <a:gd name="T18" fmla="*/ 1772 w 2496"/>
                <a:gd name="T19" fmla="*/ 519 h 5747"/>
                <a:gd name="T20" fmla="*/ 1838 w 2496"/>
                <a:gd name="T21" fmla="*/ 714 h 5747"/>
                <a:gd name="T22" fmla="*/ 1707 w 2496"/>
                <a:gd name="T23" fmla="*/ 929 h 5747"/>
                <a:gd name="T24" fmla="*/ 1634 w 2496"/>
                <a:gd name="T25" fmla="*/ 985 h 5747"/>
                <a:gd name="T26" fmla="*/ 1536 w 2496"/>
                <a:gd name="T27" fmla="*/ 1054 h 5747"/>
                <a:gd name="T28" fmla="*/ 1709 w 2496"/>
                <a:gd name="T29" fmla="*/ 1230 h 5747"/>
                <a:gd name="T30" fmla="*/ 1701 w 2496"/>
                <a:gd name="T31" fmla="*/ 1766 h 5747"/>
                <a:gd name="T32" fmla="*/ 1713 w 2496"/>
                <a:gd name="T33" fmla="*/ 2087 h 5747"/>
                <a:gd name="T34" fmla="*/ 1771 w 2496"/>
                <a:gd name="T35" fmla="*/ 2169 h 5747"/>
                <a:gd name="T36" fmla="*/ 1859 w 2496"/>
                <a:gd name="T37" fmla="*/ 2248 h 5747"/>
                <a:gd name="T38" fmla="*/ 1948 w 2496"/>
                <a:gd name="T39" fmla="*/ 2293 h 5747"/>
                <a:gd name="T40" fmla="*/ 2031 w 2496"/>
                <a:gd name="T41" fmla="*/ 2364 h 5747"/>
                <a:gd name="T42" fmla="*/ 2092 w 2496"/>
                <a:gd name="T43" fmla="*/ 2541 h 5747"/>
                <a:gd name="T44" fmla="*/ 2096 w 2496"/>
                <a:gd name="T45" fmla="*/ 2615 h 5747"/>
                <a:gd name="T46" fmla="*/ 2074 w 2496"/>
                <a:gd name="T47" fmla="*/ 2731 h 5747"/>
                <a:gd name="T48" fmla="*/ 2288 w 2496"/>
                <a:gd name="T49" fmla="*/ 4205 h 5747"/>
                <a:gd name="T50" fmla="*/ 2300 w 2496"/>
                <a:gd name="T51" fmla="*/ 5091 h 5747"/>
                <a:gd name="T52" fmla="*/ 2082 w 2496"/>
                <a:gd name="T53" fmla="*/ 3551 h 5747"/>
                <a:gd name="T54" fmla="*/ 1928 w 2496"/>
                <a:gd name="T55" fmla="*/ 2607 h 5747"/>
                <a:gd name="T56" fmla="*/ 1826 w 2496"/>
                <a:gd name="T57" fmla="*/ 2857 h 5747"/>
                <a:gd name="T58" fmla="*/ 1827 w 2496"/>
                <a:gd name="T59" fmla="*/ 3555 h 5747"/>
                <a:gd name="T60" fmla="*/ 1838 w 2496"/>
                <a:gd name="T61" fmla="*/ 4014 h 5747"/>
                <a:gd name="T62" fmla="*/ 1866 w 2496"/>
                <a:gd name="T63" fmla="*/ 4544 h 5747"/>
                <a:gd name="T64" fmla="*/ 1759 w 2496"/>
                <a:gd name="T65" fmla="*/ 4521 h 5747"/>
                <a:gd name="T66" fmla="*/ 1688 w 2496"/>
                <a:gd name="T67" fmla="*/ 4536 h 5747"/>
                <a:gd name="T68" fmla="*/ 1485 w 2496"/>
                <a:gd name="T69" fmla="*/ 4552 h 5747"/>
                <a:gd name="T70" fmla="*/ 1364 w 2496"/>
                <a:gd name="T71" fmla="*/ 4737 h 5747"/>
                <a:gd name="T72" fmla="*/ 1322 w 2496"/>
                <a:gd name="T73" fmla="*/ 4927 h 5747"/>
                <a:gd name="T74" fmla="*/ 1270 w 2496"/>
                <a:gd name="T75" fmla="*/ 5190 h 5747"/>
                <a:gd name="T76" fmla="*/ 1250 w 2496"/>
                <a:gd name="T77" fmla="*/ 5454 h 5747"/>
                <a:gd name="T78" fmla="*/ 1504 w 2496"/>
                <a:gd name="T79" fmla="*/ 5513 h 5747"/>
                <a:gd name="T80" fmla="*/ 1633 w 2496"/>
                <a:gd name="T81" fmla="*/ 5746 h 5747"/>
                <a:gd name="T82" fmla="*/ 466 w 2496"/>
                <a:gd name="T83" fmla="*/ 5640 h 5747"/>
                <a:gd name="T84" fmla="*/ 483 w 2496"/>
                <a:gd name="T85" fmla="*/ 5158 h 5747"/>
                <a:gd name="T86" fmla="*/ 468 w 2496"/>
                <a:gd name="T87" fmla="*/ 4892 h 5747"/>
                <a:gd name="T88" fmla="*/ 468 w 2496"/>
                <a:gd name="T89" fmla="*/ 4770 h 5747"/>
                <a:gd name="T90" fmla="*/ 487 w 2496"/>
                <a:gd name="T91" fmla="*/ 4666 h 5747"/>
                <a:gd name="T92" fmla="*/ 490 w 2496"/>
                <a:gd name="T93" fmla="*/ 4380 h 5747"/>
                <a:gd name="T94" fmla="*/ 188 w 2496"/>
                <a:gd name="T95" fmla="*/ 4275 h 5747"/>
                <a:gd name="T96" fmla="*/ 103 w 2496"/>
                <a:gd name="T97" fmla="*/ 3499 h 5747"/>
                <a:gd name="T98" fmla="*/ 239 w 2496"/>
                <a:gd name="T99" fmla="*/ 2622 h 5747"/>
                <a:gd name="T100" fmla="*/ 310 w 2496"/>
                <a:gd name="T101" fmla="*/ 2263 h 5747"/>
                <a:gd name="T102" fmla="*/ 332 w 2496"/>
                <a:gd name="T103" fmla="*/ 1868 h 5747"/>
                <a:gd name="T104" fmla="*/ 403 w 2496"/>
                <a:gd name="T105" fmla="*/ 1333 h 5747"/>
                <a:gd name="T106" fmla="*/ 519 w 2496"/>
                <a:gd name="T107" fmla="*/ 1066 h 5747"/>
                <a:gd name="T108" fmla="*/ 625 w 2496"/>
                <a:gd name="T109" fmla="*/ 905 h 5747"/>
                <a:gd name="T110" fmla="*/ 786 w 2496"/>
                <a:gd name="T111" fmla="*/ 744 h 5747"/>
                <a:gd name="T112" fmla="*/ 979 w 2496"/>
                <a:gd name="T113" fmla="*/ 590 h 5747"/>
                <a:gd name="T114" fmla="*/ 1020 w 2496"/>
                <a:gd name="T115" fmla="*/ 499 h 5747"/>
                <a:gd name="T116" fmla="*/ 1021 w 2496"/>
                <a:gd name="T117" fmla="*/ 357 h 5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6" h="5747">
                  <a:moveTo>
                    <a:pt x="1022" y="340"/>
                  </a:moveTo>
                  <a:lnTo>
                    <a:pt x="1022" y="340"/>
                  </a:lnTo>
                  <a:lnTo>
                    <a:pt x="1022" y="326"/>
                  </a:lnTo>
                  <a:lnTo>
                    <a:pt x="1024" y="313"/>
                  </a:lnTo>
                  <a:lnTo>
                    <a:pt x="1028" y="287"/>
                  </a:lnTo>
                  <a:lnTo>
                    <a:pt x="1034" y="261"/>
                  </a:lnTo>
                  <a:lnTo>
                    <a:pt x="1043" y="235"/>
                  </a:lnTo>
                  <a:lnTo>
                    <a:pt x="1053" y="212"/>
                  </a:lnTo>
                  <a:lnTo>
                    <a:pt x="1066" y="189"/>
                  </a:lnTo>
                  <a:lnTo>
                    <a:pt x="1080" y="166"/>
                  </a:lnTo>
                  <a:lnTo>
                    <a:pt x="1096" y="145"/>
                  </a:lnTo>
                  <a:lnTo>
                    <a:pt x="1113" y="126"/>
                  </a:lnTo>
                  <a:lnTo>
                    <a:pt x="1132" y="106"/>
                  </a:lnTo>
                  <a:lnTo>
                    <a:pt x="1153" y="88"/>
                  </a:lnTo>
                  <a:lnTo>
                    <a:pt x="1173" y="71"/>
                  </a:lnTo>
                  <a:lnTo>
                    <a:pt x="1195" y="55"/>
                  </a:lnTo>
                  <a:lnTo>
                    <a:pt x="1218" y="41"/>
                  </a:lnTo>
                  <a:lnTo>
                    <a:pt x="1240" y="29"/>
                  </a:lnTo>
                  <a:lnTo>
                    <a:pt x="1264" y="17"/>
                  </a:lnTo>
                  <a:lnTo>
                    <a:pt x="1264" y="17"/>
                  </a:lnTo>
                  <a:lnTo>
                    <a:pt x="1277" y="13"/>
                  </a:lnTo>
                  <a:lnTo>
                    <a:pt x="1290" y="8"/>
                  </a:lnTo>
                  <a:lnTo>
                    <a:pt x="1303" y="5"/>
                  </a:lnTo>
                  <a:lnTo>
                    <a:pt x="1316" y="3"/>
                  </a:lnTo>
                  <a:lnTo>
                    <a:pt x="1328" y="1"/>
                  </a:lnTo>
                  <a:lnTo>
                    <a:pt x="1341" y="0"/>
                  </a:lnTo>
                  <a:lnTo>
                    <a:pt x="1367" y="0"/>
                  </a:lnTo>
                  <a:lnTo>
                    <a:pt x="1392" y="3"/>
                  </a:lnTo>
                  <a:lnTo>
                    <a:pt x="1418" y="7"/>
                  </a:lnTo>
                  <a:lnTo>
                    <a:pt x="1444" y="14"/>
                  </a:lnTo>
                  <a:lnTo>
                    <a:pt x="1468" y="21"/>
                  </a:lnTo>
                  <a:lnTo>
                    <a:pt x="1493" y="31"/>
                  </a:lnTo>
                  <a:lnTo>
                    <a:pt x="1518" y="40"/>
                  </a:lnTo>
                  <a:lnTo>
                    <a:pt x="1542" y="52"/>
                  </a:lnTo>
                  <a:lnTo>
                    <a:pt x="1566" y="64"/>
                  </a:lnTo>
                  <a:lnTo>
                    <a:pt x="1613" y="89"/>
                  </a:lnTo>
                  <a:lnTo>
                    <a:pt x="1658" y="114"/>
                  </a:lnTo>
                  <a:lnTo>
                    <a:pt x="1658" y="114"/>
                  </a:lnTo>
                  <a:lnTo>
                    <a:pt x="1704" y="146"/>
                  </a:lnTo>
                  <a:lnTo>
                    <a:pt x="1747" y="180"/>
                  </a:lnTo>
                  <a:lnTo>
                    <a:pt x="1836" y="248"/>
                  </a:lnTo>
                  <a:lnTo>
                    <a:pt x="1923" y="318"/>
                  </a:lnTo>
                  <a:lnTo>
                    <a:pt x="1968" y="351"/>
                  </a:lnTo>
                  <a:lnTo>
                    <a:pt x="2013" y="384"/>
                  </a:lnTo>
                  <a:lnTo>
                    <a:pt x="2013" y="384"/>
                  </a:lnTo>
                  <a:lnTo>
                    <a:pt x="2000" y="399"/>
                  </a:lnTo>
                  <a:lnTo>
                    <a:pt x="1987" y="412"/>
                  </a:lnTo>
                  <a:lnTo>
                    <a:pt x="1973" y="426"/>
                  </a:lnTo>
                  <a:lnTo>
                    <a:pt x="1960" y="438"/>
                  </a:lnTo>
                  <a:lnTo>
                    <a:pt x="1945" y="450"/>
                  </a:lnTo>
                  <a:lnTo>
                    <a:pt x="1930" y="461"/>
                  </a:lnTo>
                  <a:lnTo>
                    <a:pt x="1914" y="471"/>
                  </a:lnTo>
                  <a:lnTo>
                    <a:pt x="1898" y="481"/>
                  </a:lnTo>
                  <a:lnTo>
                    <a:pt x="1881" y="488"/>
                  </a:lnTo>
                  <a:lnTo>
                    <a:pt x="1864" y="496"/>
                  </a:lnTo>
                  <a:lnTo>
                    <a:pt x="1846" y="503"/>
                  </a:lnTo>
                  <a:lnTo>
                    <a:pt x="1827" y="508"/>
                  </a:lnTo>
                  <a:lnTo>
                    <a:pt x="1809" y="513"/>
                  </a:lnTo>
                  <a:lnTo>
                    <a:pt x="1791" y="517"/>
                  </a:lnTo>
                  <a:lnTo>
                    <a:pt x="1772" y="519"/>
                  </a:lnTo>
                  <a:lnTo>
                    <a:pt x="1753" y="521"/>
                  </a:lnTo>
                  <a:lnTo>
                    <a:pt x="1753" y="521"/>
                  </a:lnTo>
                  <a:lnTo>
                    <a:pt x="1775" y="569"/>
                  </a:lnTo>
                  <a:lnTo>
                    <a:pt x="1796" y="617"/>
                  </a:lnTo>
                  <a:lnTo>
                    <a:pt x="1838" y="714"/>
                  </a:lnTo>
                  <a:lnTo>
                    <a:pt x="1838" y="714"/>
                  </a:lnTo>
                  <a:lnTo>
                    <a:pt x="1750" y="743"/>
                  </a:lnTo>
                  <a:lnTo>
                    <a:pt x="1750" y="743"/>
                  </a:lnTo>
                  <a:lnTo>
                    <a:pt x="1737" y="796"/>
                  </a:lnTo>
                  <a:lnTo>
                    <a:pt x="1726" y="851"/>
                  </a:lnTo>
                  <a:lnTo>
                    <a:pt x="1714" y="904"/>
                  </a:lnTo>
                  <a:lnTo>
                    <a:pt x="1707" y="929"/>
                  </a:lnTo>
                  <a:lnTo>
                    <a:pt x="1698" y="956"/>
                  </a:lnTo>
                  <a:lnTo>
                    <a:pt x="1698" y="956"/>
                  </a:lnTo>
                  <a:lnTo>
                    <a:pt x="1689" y="961"/>
                  </a:lnTo>
                  <a:lnTo>
                    <a:pt x="1678" y="968"/>
                  </a:lnTo>
                  <a:lnTo>
                    <a:pt x="1657" y="976"/>
                  </a:lnTo>
                  <a:lnTo>
                    <a:pt x="1634" y="985"/>
                  </a:lnTo>
                  <a:lnTo>
                    <a:pt x="1612" y="991"/>
                  </a:lnTo>
                  <a:lnTo>
                    <a:pt x="1566" y="1003"/>
                  </a:lnTo>
                  <a:lnTo>
                    <a:pt x="1544" y="1009"/>
                  </a:lnTo>
                  <a:lnTo>
                    <a:pt x="1521" y="1017"/>
                  </a:lnTo>
                  <a:lnTo>
                    <a:pt x="1521" y="1017"/>
                  </a:lnTo>
                  <a:lnTo>
                    <a:pt x="1536" y="1054"/>
                  </a:lnTo>
                  <a:lnTo>
                    <a:pt x="1550" y="1091"/>
                  </a:lnTo>
                  <a:lnTo>
                    <a:pt x="1563" y="1130"/>
                  </a:lnTo>
                  <a:lnTo>
                    <a:pt x="1576" y="1168"/>
                  </a:lnTo>
                  <a:lnTo>
                    <a:pt x="1576" y="1168"/>
                  </a:lnTo>
                  <a:lnTo>
                    <a:pt x="1642" y="1200"/>
                  </a:lnTo>
                  <a:lnTo>
                    <a:pt x="1709" y="1230"/>
                  </a:lnTo>
                  <a:lnTo>
                    <a:pt x="1709" y="1230"/>
                  </a:lnTo>
                  <a:lnTo>
                    <a:pt x="1710" y="1284"/>
                  </a:lnTo>
                  <a:lnTo>
                    <a:pt x="1710" y="1338"/>
                  </a:lnTo>
                  <a:lnTo>
                    <a:pt x="1709" y="1444"/>
                  </a:lnTo>
                  <a:lnTo>
                    <a:pt x="1703" y="1659"/>
                  </a:lnTo>
                  <a:lnTo>
                    <a:pt x="1701" y="1766"/>
                  </a:lnTo>
                  <a:lnTo>
                    <a:pt x="1701" y="1820"/>
                  </a:lnTo>
                  <a:lnTo>
                    <a:pt x="1702" y="1873"/>
                  </a:lnTo>
                  <a:lnTo>
                    <a:pt x="1703" y="1927"/>
                  </a:lnTo>
                  <a:lnTo>
                    <a:pt x="1705" y="1981"/>
                  </a:lnTo>
                  <a:lnTo>
                    <a:pt x="1708" y="2034"/>
                  </a:lnTo>
                  <a:lnTo>
                    <a:pt x="1713" y="2087"/>
                  </a:lnTo>
                  <a:lnTo>
                    <a:pt x="1713" y="2087"/>
                  </a:lnTo>
                  <a:lnTo>
                    <a:pt x="1723" y="2104"/>
                  </a:lnTo>
                  <a:lnTo>
                    <a:pt x="1734" y="2121"/>
                  </a:lnTo>
                  <a:lnTo>
                    <a:pt x="1745" y="2137"/>
                  </a:lnTo>
                  <a:lnTo>
                    <a:pt x="1758" y="2153"/>
                  </a:lnTo>
                  <a:lnTo>
                    <a:pt x="1771" y="2169"/>
                  </a:lnTo>
                  <a:lnTo>
                    <a:pt x="1784" y="2183"/>
                  </a:lnTo>
                  <a:lnTo>
                    <a:pt x="1798" y="2198"/>
                  </a:lnTo>
                  <a:lnTo>
                    <a:pt x="1812" y="2211"/>
                  </a:lnTo>
                  <a:lnTo>
                    <a:pt x="1827" y="2225"/>
                  </a:lnTo>
                  <a:lnTo>
                    <a:pt x="1843" y="2236"/>
                  </a:lnTo>
                  <a:lnTo>
                    <a:pt x="1859" y="2248"/>
                  </a:lnTo>
                  <a:lnTo>
                    <a:pt x="1876" y="2259"/>
                  </a:lnTo>
                  <a:lnTo>
                    <a:pt x="1893" y="2268"/>
                  </a:lnTo>
                  <a:lnTo>
                    <a:pt x="1912" y="2278"/>
                  </a:lnTo>
                  <a:lnTo>
                    <a:pt x="1930" y="2285"/>
                  </a:lnTo>
                  <a:lnTo>
                    <a:pt x="1948" y="2293"/>
                  </a:lnTo>
                  <a:lnTo>
                    <a:pt x="1948" y="2293"/>
                  </a:lnTo>
                  <a:lnTo>
                    <a:pt x="1966" y="2301"/>
                  </a:lnTo>
                  <a:lnTo>
                    <a:pt x="1982" y="2311"/>
                  </a:lnTo>
                  <a:lnTo>
                    <a:pt x="1997" y="2322"/>
                  </a:lnTo>
                  <a:lnTo>
                    <a:pt x="2010" y="2334"/>
                  </a:lnTo>
                  <a:lnTo>
                    <a:pt x="2020" y="2348"/>
                  </a:lnTo>
                  <a:lnTo>
                    <a:pt x="2031" y="2364"/>
                  </a:lnTo>
                  <a:lnTo>
                    <a:pt x="2040" y="2380"/>
                  </a:lnTo>
                  <a:lnTo>
                    <a:pt x="2048" y="2397"/>
                  </a:lnTo>
                  <a:lnTo>
                    <a:pt x="2054" y="2414"/>
                  </a:lnTo>
                  <a:lnTo>
                    <a:pt x="2061" y="2433"/>
                  </a:lnTo>
                  <a:lnTo>
                    <a:pt x="2073" y="2470"/>
                  </a:lnTo>
                  <a:lnTo>
                    <a:pt x="2092" y="2541"/>
                  </a:lnTo>
                  <a:lnTo>
                    <a:pt x="2092" y="2541"/>
                  </a:lnTo>
                  <a:lnTo>
                    <a:pt x="2095" y="2556"/>
                  </a:lnTo>
                  <a:lnTo>
                    <a:pt x="2097" y="2571"/>
                  </a:lnTo>
                  <a:lnTo>
                    <a:pt x="2098" y="2585"/>
                  </a:lnTo>
                  <a:lnTo>
                    <a:pt x="2097" y="2600"/>
                  </a:lnTo>
                  <a:lnTo>
                    <a:pt x="2096" y="2615"/>
                  </a:lnTo>
                  <a:lnTo>
                    <a:pt x="2093" y="2629"/>
                  </a:lnTo>
                  <a:lnTo>
                    <a:pt x="2086" y="2659"/>
                  </a:lnTo>
                  <a:lnTo>
                    <a:pt x="2080" y="2687"/>
                  </a:lnTo>
                  <a:lnTo>
                    <a:pt x="2077" y="2702"/>
                  </a:lnTo>
                  <a:lnTo>
                    <a:pt x="2075" y="2716"/>
                  </a:lnTo>
                  <a:lnTo>
                    <a:pt x="2074" y="2731"/>
                  </a:lnTo>
                  <a:lnTo>
                    <a:pt x="2074" y="2746"/>
                  </a:lnTo>
                  <a:lnTo>
                    <a:pt x="2076" y="2761"/>
                  </a:lnTo>
                  <a:lnTo>
                    <a:pt x="2079" y="2776"/>
                  </a:lnTo>
                  <a:lnTo>
                    <a:pt x="2079" y="2776"/>
                  </a:lnTo>
                  <a:lnTo>
                    <a:pt x="2183" y="3490"/>
                  </a:lnTo>
                  <a:lnTo>
                    <a:pt x="2288" y="4205"/>
                  </a:lnTo>
                  <a:lnTo>
                    <a:pt x="2496" y="5635"/>
                  </a:lnTo>
                  <a:lnTo>
                    <a:pt x="2496" y="5635"/>
                  </a:lnTo>
                  <a:lnTo>
                    <a:pt x="2377" y="5651"/>
                  </a:lnTo>
                  <a:lnTo>
                    <a:pt x="2377" y="5651"/>
                  </a:lnTo>
                  <a:lnTo>
                    <a:pt x="2338" y="5371"/>
                  </a:lnTo>
                  <a:lnTo>
                    <a:pt x="2300" y="5091"/>
                  </a:lnTo>
                  <a:lnTo>
                    <a:pt x="2225" y="4531"/>
                  </a:lnTo>
                  <a:lnTo>
                    <a:pt x="2187" y="4250"/>
                  </a:lnTo>
                  <a:lnTo>
                    <a:pt x="2146" y="3971"/>
                  </a:lnTo>
                  <a:lnTo>
                    <a:pt x="2126" y="3830"/>
                  </a:lnTo>
                  <a:lnTo>
                    <a:pt x="2104" y="3690"/>
                  </a:lnTo>
                  <a:lnTo>
                    <a:pt x="2082" y="3551"/>
                  </a:lnTo>
                  <a:lnTo>
                    <a:pt x="2059" y="3411"/>
                  </a:lnTo>
                  <a:lnTo>
                    <a:pt x="2059" y="3411"/>
                  </a:lnTo>
                  <a:lnTo>
                    <a:pt x="1992" y="3010"/>
                  </a:lnTo>
                  <a:lnTo>
                    <a:pt x="1959" y="2809"/>
                  </a:lnTo>
                  <a:lnTo>
                    <a:pt x="1928" y="2607"/>
                  </a:lnTo>
                  <a:lnTo>
                    <a:pt x="1928" y="2607"/>
                  </a:lnTo>
                  <a:lnTo>
                    <a:pt x="1816" y="2579"/>
                  </a:lnTo>
                  <a:lnTo>
                    <a:pt x="1816" y="2579"/>
                  </a:lnTo>
                  <a:lnTo>
                    <a:pt x="1820" y="2648"/>
                  </a:lnTo>
                  <a:lnTo>
                    <a:pt x="1823" y="2717"/>
                  </a:lnTo>
                  <a:lnTo>
                    <a:pt x="1825" y="2788"/>
                  </a:lnTo>
                  <a:lnTo>
                    <a:pt x="1826" y="2857"/>
                  </a:lnTo>
                  <a:lnTo>
                    <a:pt x="1827" y="2997"/>
                  </a:lnTo>
                  <a:lnTo>
                    <a:pt x="1826" y="3136"/>
                  </a:lnTo>
                  <a:lnTo>
                    <a:pt x="1825" y="3276"/>
                  </a:lnTo>
                  <a:lnTo>
                    <a:pt x="1825" y="3415"/>
                  </a:lnTo>
                  <a:lnTo>
                    <a:pt x="1826" y="3485"/>
                  </a:lnTo>
                  <a:lnTo>
                    <a:pt x="1827" y="3555"/>
                  </a:lnTo>
                  <a:lnTo>
                    <a:pt x="1831" y="3624"/>
                  </a:lnTo>
                  <a:lnTo>
                    <a:pt x="1835" y="3694"/>
                  </a:lnTo>
                  <a:lnTo>
                    <a:pt x="1835" y="3694"/>
                  </a:lnTo>
                  <a:lnTo>
                    <a:pt x="1835" y="3800"/>
                  </a:lnTo>
                  <a:lnTo>
                    <a:pt x="1836" y="3907"/>
                  </a:lnTo>
                  <a:lnTo>
                    <a:pt x="1838" y="4014"/>
                  </a:lnTo>
                  <a:lnTo>
                    <a:pt x="1841" y="4120"/>
                  </a:lnTo>
                  <a:lnTo>
                    <a:pt x="1847" y="4226"/>
                  </a:lnTo>
                  <a:lnTo>
                    <a:pt x="1852" y="4332"/>
                  </a:lnTo>
                  <a:lnTo>
                    <a:pt x="1858" y="4439"/>
                  </a:lnTo>
                  <a:lnTo>
                    <a:pt x="1866" y="4544"/>
                  </a:lnTo>
                  <a:lnTo>
                    <a:pt x="1866" y="4544"/>
                  </a:lnTo>
                  <a:lnTo>
                    <a:pt x="1853" y="4543"/>
                  </a:lnTo>
                  <a:lnTo>
                    <a:pt x="1840" y="4540"/>
                  </a:lnTo>
                  <a:lnTo>
                    <a:pt x="1812" y="4533"/>
                  </a:lnTo>
                  <a:lnTo>
                    <a:pt x="1786" y="4526"/>
                  </a:lnTo>
                  <a:lnTo>
                    <a:pt x="1773" y="4523"/>
                  </a:lnTo>
                  <a:lnTo>
                    <a:pt x="1759" y="4521"/>
                  </a:lnTo>
                  <a:lnTo>
                    <a:pt x="1746" y="4519"/>
                  </a:lnTo>
                  <a:lnTo>
                    <a:pt x="1734" y="4519"/>
                  </a:lnTo>
                  <a:lnTo>
                    <a:pt x="1722" y="4521"/>
                  </a:lnTo>
                  <a:lnTo>
                    <a:pt x="1709" y="4524"/>
                  </a:lnTo>
                  <a:lnTo>
                    <a:pt x="1698" y="4528"/>
                  </a:lnTo>
                  <a:lnTo>
                    <a:pt x="1688" y="4536"/>
                  </a:lnTo>
                  <a:lnTo>
                    <a:pt x="1677" y="4547"/>
                  </a:lnTo>
                  <a:lnTo>
                    <a:pt x="1667" y="4559"/>
                  </a:lnTo>
                  <a:lnTo>
                    <a:pt x="1667" y="4559"/>
                  </a:lnTo>
                  <a:lnTo>
                    <a:pt x="1607" y="4557"/>
                  </a:lnTo>
                  <a:lnTo>
                    <a:pt x="1546" y="4555"/>
                  </a:lnTo>
                  <a:lnTo>
                    <a:pt x="1485" y="4552"/>
                  </a:lnTo>
                  <a:lnTo>
                    <a:pt x="1455" y="4552"/>
                  </a:lnTo>
                  <a:lnTo>
                    <a:pt x="1424" y="4551"/>
                  </a:lnTo>
                  <a:lnTo>
                    <a:pt x="1424" y="4551"/>
                  </a:lnTo>
                  <a:lnTo>
                    <a:pt x="1393" y="4644"/>
                  </a:lnTo>
                  <a:lnTo>
                    <a:pt x="1379" y="4690"/>
                  </a:lnTo>
                  <a:lnTo>
                    <a:pt x="1364" y="4737"/>
                  </a:lnTo>
                  <a:lnTo>
                    <a:pt x="1351" y="4784"/>
                  </a:lnTo>
                  <a:lnTo>
                    <a:pt x="1339" y="4831"/>
                  </a:lnTo>
                  <a:lnTo>
                    <a:pt x="1330" y="4879"/>
                  </a:lnTo>
                  <a:lnTo>
                    <a:pt x="1325" y="4903"/>
                  </a:lnTo>
                  <a:lnTo>
                    <a:pt x="1322" y="4927"/>
                  </a:lnTo>
                  <a:lnTo>
                    <a:pt x="1322" y="4927"/>
                  </a:lnTo>
                  <a:lnTo>
                    <a:pt x="1318" y="4960"/>
                  </a:lnTo>
                  <a:lnTo>
                    <a:pt x="1312" y="4994"/>
                  </a:lnTo>
                  <a:lnTo>
                    <a:pt x="1307" y="5026"/>
                  </a:lnTo>
                  <a:lnTo>
                    <a:pt x="1301" y="5059"/>
                  </a:lnTo>
                  <a:lnTo>
                    <a:pt x="1286" y="5125"/>
                  </a:lnTo>
                  <a:lnTo>
                    <a:pt x="1270" y="5190"/>
                  </a:lnTo>
                  <a:lnTo>
                    <a:pt x="1252" y="5254"/>
                  </a:lnTo>
                  <a:lnTo>
                    <a:pt x="1234" y="5319"/>
                  </a:lnTo>
                  <a:lnTo>
                    <a:pt x="1197" y="5448"/>
                  </a:lnTo>
                  <a:lnTo>
                    <a:pt x="1197" y="5448"/>
                  </a:lnTo>
                  <a:lnTo>
                    <a:pt x="1224" y="5451"/>
                  </a:lnTo>
                  <a:lnTo>
                    <a:pt x="1250" y="5454"/>
                  </a:lnTo>
                  <a:lnTo>
                    <a:pt x="1275" y="5458"/>
                  </a:lnTo>
                  <a:lnTo>
                    <a:pt x="1301" y="5462"/>
                  </a:lnTo>
                  <a:lnTo>
                    <a:pt x="1352" y="5473"/>
                  </a:lnTo>
                  <a:lnTo>
                    <a:pt x="1403" y="5486"/>
                  </a:lnTo>
                  <a:lnTo>
                    <a:pt x="1454" y="5500"/>
                  </a:lnTo>
                  <a:lnTo>
                    <a:pt x="1504" y="5513"/>
                  </a:lnTo>
                  <a:lnTo>
                    <a:pt x="1606" y="5541"/>
                  </a:lnTo>
                  <a:lnTo>
                    <a:pt x="1606" y="5541"/>
                  </a:lnTo>
                  <a:lnTo>
                    <a:pt x="1612" y="5592"/>
                  </a:lnTo>
                  <a:lnTo>
                    <a:pt x="1619" y="5643"/>
                  </a:lnTo>
                  <a:lnTo>
                    <a:pt x="1633" y="5746"/>
                  </a:lnTo>
                  <a:lnTo>
                    <a:pt x="1633" y="5746"/>
                  </a:lnTo>
                  <a:lnTo>
                    <a:pt x="1341" y="5747"/>
                  </a:lnTo>
                  <a:lnTo>
                    <a:pt x="1048" y="5747"/>
                  </a:lnTo>
                  <a:lnTo>
                    <a:pt x="755" y="5747"/>
                  </a:lnTo>
                  <a:lnTo>
                    <a:pt x="462" y="5747"/>
                  </a:lnTo>
                  <a:lnTo>
                    <a:pt x="462" y="5747"/>
                  </a:lnTo>
                  <a:lnTo>
                    <a:pt x="466" y="5640"/>
                  </a:lnTo>
                  <a:lnTo>
                    <a:pt x="471" y="5533"/>
                  </a:lnTo>
                  <a:lnTo>
                    <a:pt x="477" y="5426"/>
                  </a:lnTo>
                  <a:lnTo>
                    <a:pt x="481" y="5318"/>
                  </a:lnTo>
                  <a:lnTo>
                    <a:pt x="483" y="5265"/>
                  </a:lnTo>
                  <a:lnTo>
                    <a:pt x="483" y="5212"/>
                  </a:lnTo>
                  <a:lnTo>
                    <a:pt x="483" y="5158"/>
                  </a:lnTo>
                  <a:lnTo>
                    <a:pt x="483" y="5105"/>
                  </a:lnTo>
                  <a:lnTo>
                    <a:pt x="481" y="5052"/>
                  </a:lnTo>
                  <a:lnTo>
                    <a:pt x="478" y="4999"/>
                  </a:lnTo>
                  <a:lnTo>
                    <a:pt x="473" y="4945"/>
                  </a:lnTo>
                  <a:lnTo>
                    <a:pt x="468" y="4892"/>
                  </a:lnTo>
                  <a:lnTo>
                    <a:pt x="468" y="4892"/>
                  </a:lnTo>
                  <a:lnTo>
                    <a:pt x="466" y="4872"/>
                  </a:lnTo>
                  <a:lnTo>
                    <a:pt x="464" y="4851"/>
                  </a:lnTo>
                  <a:lnTo>
                    <a:pt x="464" y="4831"/>
                  </a:lnTo>
                  <a:lnTo>
                    <a:pt x="464" y="4811"/>
                  </a:lnTo>
                  <a:lnTo>
                    <a:pt x="466" y="4791"/>
                  </a:lnTo>
                  <a:lnTo>
                    <a:pt x="468" y="4770"/>
                  </a:lnTo>
                  <a:lnTo>
                    <a:pt x="471" y="4750"/>
                  </a:lnTo>
                  <a:lnTo>
                    <a:pt x="476" y="4731"/>
                  </a:lnTo>
                  <a:lnTo>
                    <a:pt x="476" y="4731"/>
                  </a:lnTo>
                  <a:lnTo>
                    <a:pt x="481" y="4709"/>
                  </a:lnTo>
                  <a:lnTo>
                    <a:pt x="484" y="4687"/>
                  </a:lnTo>
                  <a:lnTo>
                    <a:pt x="487" y="4666"/>
                  </a:lnTo>
                  <a:lnTo>
                    <a:pt x="490" y="4644"/>
                  </a:lnTo>
                  <a:lnTo>
                    <a:pt x="493" y="4600"/>
                  </a:lnTo>
                  <a:lnTo>
                    <a:pt x="494" y="4556"/>
                  </a:lnTo>
                  <a:lnTo>
                    <a:pt x="494" y="4512"/>
                  </a:lnTo>
                  <a:lnTo>
                    <a:pt x="493" y="4468"/>
                  </a:lnTo>
                  <a:lnTo>
                    <a:pt x="490" y="4380"/>
                  </a:lnTo>
                  <a:lnTo>
                    <a:pt x="490" y="4380"/>
                  </a:lnTo>
                  <a:lnTo>
                    <a:pt x="431" y="4356"/>
                  </a:lnTo>
                  <a:lnTo>
                    <a:pt x="371" y="4333"/>
                  </a:lnTo>
                  <a:lnTo>
                    <a:pt x="310" y="4312"/>
                  </a:lnTo>
                  <a:lnTo>
                    <a:pt x="250" y="4293"/>
                  </a:lnTo>
                  <a:lnTo>
                    <a:pt x="188" y="4275"/>
                  </a:lnTo>
                  <a:lnTo>
                    <a:pt x="126" y="4259"/>
                  </a:lnTo>
                  <a:lnTo>
                    <a:pt x="63" y="4245"/>
                  </a:lnTo>
                  <a:lnTo>
                    <a:pt x="0" y="4232"/>
                  </a:lnTo>
                  <a:lnTo>
                    <a:pt x="0" y="4232"/>
                  </a:lnTo>
                  <a:lnTo>
                    <a:pt x="51" y="3865"/>
                  </a:lnTo>
                  <a:lnTo>
                    <a:pt x="103" y="3499"/>
                  </a:lnTo>
                  <a:lnTo>
                    <a:pt x="157" y="3133"/>
                  </a:lnTo>
                  <a:lnTo>
                    <a:pt x="211" y="2767"/>
                  </a:lnTo>
                  <a:lnTo>
                    <a:pt x="211" y="2767"/>
                  </a:lnTo>
                  <a:lnTo>
                    <a:pt x="217" y="2731"/>
                  </a:lnTo>
                  <a:lnTo>
                    <a:pt x="223" y="2695"/>
                  </a:lnTo>
                  <a:lnTo>
                    <a:pt x="239" y="2622"/>
                  </a:lnTo>
                  <a:lnTo>
                    <a:pt x="272" y="2479"/>
                  </a:lnTo>
                  <a:lnTo>
                    <a:pt x="287" y="2408"/>
                  </a:lnTo>
                  <a:lnTo>
                    <a:pt x="294" y="2372"/>
                  </a:lnTo>
                  <a:lnTo>
                    <a:pt x="301" y="2336"/>
                  </a:lnTo>
                  <a:lnTo>
                    <a:pt x="306" y="2299"/>
                  </a:lnTo>
                  <a:lnTo>
                    <a:pt x="310" y="2263"/>
                  </a:lnTo>
                  <a:lnTo>
                    <a:pt x="314" y="2227"/>
                  </a:lnTo>
                  <a:lnTo>
                    <a:pt x="316" y="2191"/>
                  </a:lnTo>
                  <a:lnTo>
                    <a:pt x="316" y="2191"/>
                  </a:lnTo>
                  <a:lnTo>
                    <a:pt x="319" y="2083"/>
                  </a:lnTo>
                  <a:lnTo>
                    <a:pt x="324" y="1975"/>
                  </a:lnTo>
                  <a:lnTo>
                    <a:pt x="332" y="1868"/>
                  </a:lnTo>
                  <a:lnTo>
                    <a:pt x="341" y="1760"/>
                  </a:lnTo>
                  <a:lnTo>
                    <a:pt x="353" y="1653"/>
                  </a:lnTo>
                  <a:lnTo>
                    <a:pt x="368" y="1547"/>
                  </a:lnTo>
                  <a:lnTo>
                    <a:pt x="384" y="1440"/>
                  </a:lnTo>
                  <a:lnTo>
                    <a:pt x="403" y="1333"/>
                  </a:lnTo>
                  <a:lnTo>
                    <a:pt x="403" y="1333"/>
                  </a:lnTo>
                  <a:lnTo>
                    <a:pt x="416" y="1294"/>
                  </a:lnTo>
                  <a:lnTo>
                    <a:pt x="431" y="1256"/>
                  </a:lnTo>
                  <a:lnTo>
                    <a:pt x="448" y="1217"/>
                  </a:lnTo>
                  <a:lnTo>
                    <a:pt x="465" y="1179"/>
                  </a:lnTo>
                  <a:lnTo>
                    <a:pt x="501" y="1104"/>
                  </a:lnTo>
                  <a:lnTo>
                    <a:pt x="519" y="1066"/>
                  </a:lnTo>
                  <a:lnTo>
                    <a:pt x="536" y="1029"/>
                  </a:lnTo>
                  <a:lnTo>
                    <a:pt x="536" y="1029"/>
                  </a:lnTo>
                  <a:lnTo>
                    <a:pt x="557" y="997"/>
                  </a:lnTo>
                  <a:lnTo>
                    <a:pt x="578" y="965"/>
                  </a:lnTo>
                  <a:lnTo>
                    <a:pt x="601" y="935"/>
                  </a:lnTo>
                  <a:lnTo>
                    <a:pt x="625" y="905"/>
                  </a:lnTo>
                  <a:lnTo>
                    <a:pt x="649" y="876"/>
                  </a:lnTo>
                  <a:lnTo>
                    <a:pt x="675" y="848"/>
                  </a:lnTo>
                  <a:lnTo>
                    <a:pt x="702" y="821"/>
                  </a:lnTo>
                  <a:lnTo>
                    <a:pt x="729" y="795"/>
                  </a:lnTo>
                  <a:lnTo>
                    <a:pt x="757" y="770"/>
                  </a:lnTo>
                  <a:lnTo>
                    <a:pt x="786" y="744"/>
                  </a:lnTo>
                  <a:lnTo>
                    <a:pt x="815" y="719"/>
                  </a:lnTo>
                  <a:lnTo>
                    <a:pt x="844" y="695"/>
                  </a:lnTo>
                  <a:lnTo>
                    <a:pt x="904" y="648"/>
                  </a:lnTo>
                  <a:lnTo>
                    <a:pt x="965" y="603"/>
                  </a:lnTo>
                  <a:lnTo>
                    <a:pt x="965" y="603"/>
                  </a:lnTo>
                  <a:lnTo>
                    <a:pt x="979" y="590"/>
                  </a:lnTo>
                  <a:lnTo>
                    <a:pt x="990" y="578"/>
                  </a:lnTo>
                  <a:lnTo>
                    <a:pt x="1000" y="563"/>
                  </a:lnTo>
                  <a:lnTo>
                    <a:pt x="1008" y="548"/>
                  </a:lnTo>
                  <a:lnTo>
                    <a:pt x="1013" y="532"/>
                  </a:lnTo>
                  <a:lnTo>
                    <a:pt x="1017" y="516"/>
                  </a:lnTo>
                  <a:lnTo>
                    <a:pt x="1020" y="499"/>
                  </a:lnTo>
                  <a:lnTo>
                    <a:pt x="1021" y="481"/>
                  </a:lnTo>
                  <a:lnTo>
                    <a:pt x="1022" y="464"/>
                  </a:lnTo>
                  <a:lnTo>
                    <a:pt x="1022" y="445"/>
                  </a:lnTo>
                  <a:lnTo>
                    <a:pt x="1022" y="409"/>
                  </a:lnTo>
                  <a:lnTo>
                    <a:pt x="1021" y="374"/>
                  </a:lnTo>
                  <a:lnTo>
                    <a:pt x="1021" y="357"/>
                  </a:lnTo>
                  <a:lnTo>
                    <a:pt x="1022" y="340"/>
                  </a:lnTo>
                  <a:lnTo>
                    <a:pt x="1022" y="340"/>
                  </a:lnTo>
                  <a:close/>
                </a:path>
              </a:pathLst>
            </a:custGeom>
            <a:solidFill>
              <a:srgbClr val="FFFFFF"/>
            </a:solidFill>
            <a:ln w="0">
              <a:noFill/>
              <a:prstDash val="solid"/>
              <a:round/>
              <a:headEnd/>
              <a:tailEnd/>
            </a:ln>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ea typeface="Arial"/>
                <a:cs typeface="Arial"/>
                <a:sym typeface="Arial"/>
              </a:endParaRPr>
            </a:p>
          </p:txBody>
        </p:sp>
      </p:grpSp>
      <p:grpSp>
        <p:nvGrpSpPr>
          <p:cNvPr id="66641" name="Group 267"/>
          <p:cNvGrpSpPr>
            <a:grpSpLocks/>
          </p:cNvGrpSpPr>
          <p:nvPr/>
        </p:nvGrpSpPr>
        <p:grpSpPr bwMode="auto">
          <a:xfrm>
            <a:off x="7434263" y="4865688"/>
            <a:ext cx="252412" cy="252412"/>
            <a:chOff x="7274139" y="4494604"/>
            <a:chExt cx="252000" cy="252000"/>
          </a:xfrm>
        </p:grpSpPr>
        <p:sp>
          <p:nvSpPr>
            <p:cNvPr id="242" name="Oval 241">
              <a:extLst>
                <a:ext uri="{FF2B5EF4-FFF2-40B4-BE49-F238E27FC236}"/>
              </a:extLst>
            </p:cNvPr>
            <p:cNvSpPr/>
            <p:nvPr/>
          </p:nvSpPr>
          <p:spPr bwMode="ltGray">
            <a:xfrm>
              <a:off x="7274139" y="4494604"/>
              <a:ext cx="252000" cy="252000"/>
            </a:xfrm>
            <a:prstGeom prst="ellipse">
              <a:avLst/>
            </a:prstGeom>
            <a:solidFill>
              <a:srgbClr val="E03C31"/>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243" name="Freeform 74">
              <a:extLst>
                <a:ext uri="{FF2B5EF4-FFF2-40B4-BE49-F238E27FC236}"/>
              </a:extLst>
            </p:cNvPr>
            <p:cNvSpPr>
              <a:spLocks noEditPoints="1"/>
            </p:cNvSpPr>
            <p:nvPr/>
          </p:nvSpPr>
          <p:spPr bwMode="auto">
            <a:xfrm>
              <a:off x="7315347" y="4535812"/>
              <a:ext cx="169585" cy="169585"/>
            </a:xfrm>
            <a:custGeom>
              <a:avLst/>
              <a:gdLst>
                <a:gd name="T0" fmla="*/ 11309184 w 307"/>
                <a:gd name="T1" fmla="*/ 144614908 h 331"/>
                <a:gd name="T2" fmla="*/ 9693666 w 307"/>
                <a:gd name="T3" fmla="*/ 197065977 h 331"/>
                <a:gd name="T4" fmla="*/ 42005143 w 307"/>
                <a:gd name="T5" fmla="*/ 245020873 h 331"/>
                <a:gd name="T6" fmla="*/ 54929845 w 307"/>
                <a:gd name="T7" fmla="*/ 164846145 h 331"/>
                <a:gd name="T8" fmla="*/ 145401649 w 307"/>
                <a:gd name="T9" fmla="*/ 74180688 h 331"/>
                <a:gd name="T10" fmla="*/ 147017167 w 307"/>
                <a:gd name="T11" fmla="*/ 90665457 h 331"/>
                <a:gd name="T12" fmla="*/ 164788980 w 307"/>
                <a:gd name="T13" fmla="*/ 90665457 h 331"/>
                <a:gd name="T14" fmla="*/ 166404499 w 307"/>
                <a:gd name="T15" fmla="*/ 74180688 h 331"/>
                <a:gd name="T16" fmla="*/ 175289849 w 307"/>
                <a:gd name="T17" fmla="*/ 41960856 h 331"/>
                <a:gd name="T18" fmla="*/ 139747335 w 307"/>
                <a:gd name="T19" fmla="*/ 39712769 h 331"/>
                <a:gd name="T20" fmla="*/ 166404499 w 307"/>
                <a:gd name="T21" fmla="*/ 74180688 h 331"/>
                <a:gd name="T22" fmla="*/ 81586453 w 307"/>
                <a:gd name="T23" fmla="*/ 74180688 h 331"/>
                <a:gd name="T24" fmla="*/ 83201971 w 307"/>
                <a:gd name="T25" fmla="*/ 90665457 h 331"/>
                <a:gd name="T26" fmla="*/ 100973784 w 307"/>
                <a:gd name="T27" fmla="*/ 90665457 h 331"/>
                <a:gd name="T28" fmla="*/ 102589303 w 307"/>
                <a:gd name="T29" fmla="*/ 74180688 h 331"/>
                <a:gd name="T30" fmla="*/ 111474653 w 307"/>
                <a:gd name="T31" fmla="*/ 41960856 h 331"/>
                <a:gd name="T32" fmla="*/ 75124380 w 307"/>
                <a:gd name="T33" fmla="*/ 39712769 h 331"/>
                <a:gd name="T34" fmla="*/ 102589303 w 307"/>
                <a:gd name="T35" fmla="*/ 74180688 h 331"/>
                <a:gd name="T36" fmla="*/ 142170613 w 307"/>
                <a:gd name="T37" fmla="*/ 137121971 h 331"/>
                <a:gd name="T38" fmla="*/ 139747335 w 307"/>
                <a:gd name="T39" fmla="*/ 105651330 h 331"/>
                <a:gd name="T40" fmla="*/ 123591596 w 307"/>
                <a:gd name="T41" fmla="*/ 86918989 h 331"/>
                <a:gd name="T42" fmla="*/ 108243617 w 307"/>
                <a:gd name="T43" fmla="*/ 105651330 h 331"/>
                <a:gd name="T44" fmla="*/ 105820339 w 307"/>
                <a:gd name="T45" fmla="*/ 137121971 h 331"/>
                <a:gd name="T46" fmla="*/ 115513449 w 307"/>
                <a:gd name="T47" fmla="*/ 143116011 h 331"/>
                <a:gd name="T48" fmla="*/ 134093021 w 307"/>
                <a:gd name="T49" fmla="*/ 126631757 h 331"/>
                <a:gd name="T50" fmla="*/ 139747335 w 307"/>
                <a:gd name="T51" fmla="*/ 144614908 h 331"/>
                <a:gd name="T52" fmla="*/ 138131817 w 307"/>
                <a:gd name="T53" fmla="*/ 197065977 h 331"/>
                <a:gd name="T54" fmla="*/ 170443294 w 307"/>
                <a:gd name="T55" fmla="*/ 245020873 h 331"/>
                <a:gd name="T56" fmla="*/ 183367997 w 307"/>
                <a:gd name="T57" fmla="*/ 164846145 h 331"/>
                <a:gd name="T58" fmla="*/ 92087878 w 307"/>
                <a:gd name="T59" fmla="*/ 139369543 h 331"/>
                <a:gd name="T60" fmla="*/ 64622955 w 307"/>
                <a:gd name="T61" fmla="*/ 194068700 h 331"/>
                <a:gd name="T62" fmla="*/ 79970935 w 307"/>
                <a:gd name="T63" fmla="*/ 248018150 h 331"/>
                <a:gd name="T64" fmla="*/ 116321764 w 307"/>
                <a:gd name="T65" fmla="*/ 197065977 h 331"/>
                <a:gd name="T66" fmla="*/ 71085584 w 307"/>
                <a:gd name="T67" fmla="*/ 140868440 h 331"/>
                <a:gd name="T68" fmla="*/ 69469510 w 307"/>
                <a:gd name="T69" fmla="*/ 120637202 h 331"/>
                <a:gd name="T70" fmla="*/ 76739898 w 307"/>
                <a:gd name="T71" fmla="*/ 92163838 h 331"/>
                <a:gd name="T72" fmla="*/ 40389625 w 307"/>
                <a:gd name="T73" fmla="*/ 94411925 h 331"/>
                <a:gd name="T74" fmla="*/ 49274976 w 307"/>
                <a:gd name="T75" fmla="*/ 126631757 h 331"/>
                <a:gd name="T76" fmla="*/ 50890494 w 307"/>
                <a:gd name="T77" fmla="*/ 143116011 h 331"/>
                <a:gd name="T78" fmla="*/ 70277825 w 307"/>
                <a:gd name="T79" fmla="*/ 126631757 h 331"/>
                <a:gd name="T80" fmla="*/ 220526029 w 307"/>
                <a:gd name="T81" fmla="*/ 139369543 h 331"/>
                <a:gd name="T82" fmla="*/ 193061106 w 307"/>
                <a:gd name="T83" fmla="*/ 164846145 h 331"/>
                <a:gd name="T84" fmla="*/ 205985809 w 307"/>
                <a:gd name="T85" fmla="*/ 245020873 h 331"/>
                <a:gd name="T86" fmla="*/ 238297286 w 307"/>
                <a:gd name="T87" fmla="*/ 197065977 h 331"/>
                <a:gd name="T88" fmla="*/ 199523735 w 307"/>
                <a:gd name="T89" fmla="*/ 140868440 h 331"/>
                <a:gd name="T90" fmla="*/ 197908217 w 307"/>
                <a:gd name="T91" fmla="*/ 120637202 h 331"/>
                <a:gd name="T92" fmla="*/ 205178049 w 307"/>
                <a:gd name="T93" fmla="*/ 92163838 h 331"/>
                <a:gd name="T94" fmla="*/ 168827776 w 307"/>
                <a:gd name="T95" fmla="*/ 94411925 h 331"/>
                <a:gd name="T96" fmla="*/ 177713127 w 307"/>
                <a:gd name="T97" fmla="*/ 126631757 h 331"/>
                <a:gd name="T98" fmla="*/ 179329201 w 307"/>
                <a:gd name="T99" fmla="*/ 143116011 h 331"/>
                <a:gd name="T100" fmla="*/ 199523735 w 307"/>
                <a:gd name="T101" fmla="*/ 140868440 h 331"/>
                <a:gd name="T102" fmla="*/ 140555094 w 307"/>
                <a:gd name="T103" fmla="*/ 67436942 h 331"/>
                <a:gd name="T104" fmla="*/ 59776400 w 307"/>
                <a:gd name="T105" fmla="*/ 52451070 h 331"/>
                <a:gd name="T106" fmla="*/ 204370290 w 307"/>
                <a:gd name="T107" fmla="*/ 67436942 h 331"/>
                <a:gd name="T108" fmla="*/ 109051376 w 307"/>
                <a:gd name="T109" fmla="*/ 120637202 h 331"/>
                <a:gd name="T110" fmla="*/ 27464923 w 307"/>
                <a:gd name="T111" fmla="*/ 104902139 h 331"/>
                <a:gd name="T112" fmla="*/ 172866572 w 307"/>
                <a:gd name="T113" fmla="*/ 120637202 h 331"/>
                <a:gd name="T114" fmla="*/ 92087878 w 307"/>
                <a:gd name="T115" fmla="*/ 0 h 331"/>
                <a:gd name="T116" fmla="*/ 155903074 w 307"/>
                <a:gd name="T117" fmla="*/ 0 h 331"/>
                <a:gd name="T118" fmla="*/ 237489527 w 307"/>
                <a:gd name="T119" fmla="*/ 120637202 h 33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7" h="331">
                  <a:moveTo>
                    <a:pt x="55" y="193"/>
                  </a:moveTo>
                  <a:cubicBezTo>
                    <a:pt x="49" y="189"/>
                    <a:pt x="42" y="186"/>
                    <a:pt x="34" y="186"/>
                  </a:cubicBezTo>
                  <a:cubicBezTo>
                    <a:pt x="34" y="186"/>
                    <a:pt x="34" y="186"/>
                    <a:pt x="34" y="186"/>
                  </a:cubicBezTo>
                  <a:cubicBezTo>
                    <a:pt x="34" y="186"/>
                    <a:pt x="34" y="186"/>
                    <a:pt x="34" y="186"/>
                  </a:cubicBezTo>
                  <a:cubicBezTo>
                    <a:pt x="26" y="186"/>
                    <a:pt x="19" y="189"/>
                    <a:pt x="14" y="193"/>
                  </a:cubicBezTo>
                  <a:cubicBezTo>
                    <a:pt x="12" y="194"/>
                    <a:pt x="11" y="195"/>
                    <a:pt x="10" y="196"/>
                  </a:cubicBezTo>
                  <a:cubicBezTo>
                    <a:pt x="4" y="203"/>
                    <a:pt x="0" y="211"/>
                    <a:pt x="0" y="220"/>
                  </a:cubicBezTo>
                  <a:cubicBezTo>
                    <a:pt x="0" y="259"/>
                    <a:pt x="0" y="259"/>
                    <a:pt x="0" y="259"/>
                  </a:cubicBezTo>
                  <a:cubicBezTo>
                    <a:pt x="0" y="261"/>
                    <a:pt x="2" y="263"/>
                    <a:pt x="4" y="263"/>
                  </a:cubicBezTo>
                  <a:cubicBezTo>
                    <a:pt x="12" y="263"/>
                    <a:pt x="12" y="263"/>
                    <a:pt x="12" y="263"/>
                  </a:cubicBezTo>
                  <a:cubicBezTo>
                    <a:pt x="14" y="263"/>
                    <a:pt x="16" y="265"/>
                    <a:pt x="16" y="267"/>
                  </a:cubicBezTo>
                  <a:cubicBezTo>
                    <a:pt x="16" y="327"/>
                    <a:pt x="16" y="327"/>
                    <a:pt x="16" y="327"/>
                  </a:cubicBezTo>
                  <a:cubicBezTo>
                    <a:pt x="16" y="329"/>
                    <a:pt x="18" y="331"/>
                    <a:pt x="20" y="331"/>
                  </a:cubicBezTo>
                  <a:cubicBezTo>
                    <a:pt x="48" y="331"/>
                    <a:pt x="48" y="331"/>
                    <a:pt x="48" y="331"/>
                  </a:cubicBezTo>
                  <a:cubicBezTo>
                    <a:pt x="51" y="331"/>
                    <a:pt x="52" y="329"/>
                    <a:pt x="52" y="327"/>
                  </a:cubicBezTo>
                  <a:cubicBezTo>
                    <a:pt x="52" y="267"/>
                    <a:pt x="52" y="267"/>
                    <a:pt x="52" y="267"/>
                  </a:cubicBezTo>
                  <a:cubicBezTo>
                    <a:pt x="52" y="265"/>
                    <a:pt x="54" y="263"/>
                    <a:pt x="56" y="263"/>
                  </a:cubicBezTo>
                  <a:cubicBezTo>
                    <a:pt x="64" y="263"/>
                    <a:pt x="64" y="263"/>
                    <a:pt x="64" y="263"/>
                  </a:cubicBezTo>
                  <a:cubicBezTo>
                    <a:pt x="66" y="263"/>
                    <a:pt x="68" y="261"/>
                    <a:pt x="68" y="259"/>
                  </a:cubicBezTo>
                  <a:cubicBezTo>
                    <a:pt x="68" y="220"/>
                    <a:pt x="68" y="220"/>
                    <a:pt x="68" y="220"/>
                  </a:cubicBezTo>
                  <a:cubicBezTo>
                    <a:pt x="68" y="211"/>
                    <a:pt x="65" y="203"/>
                    <a:pt x="58" y="196"/>
                  </a:cubicBezTo>
                  <a:cubicBezTo>
                    <a:pt x="57" y="195"/>
                    <a:pt x="56" y="194"/>
                    <a:pt x="55" y="193"/>
                  </a:cubicBezTo>
                  <a:close/>
                  <a:moveTo>
                    <a:pt x="180" y="83"/>
                  </a:moveTo>
                  <a:cubicBezTo>
                    <a:pt x="182" y="91"/>
                    <a:pt x="182" y="91"/>
                    <a:pt x="182" y="91"/>
                  </a:cubicBezTo>
                  <a:cubicBezTo>
                    <a:pt x="182" y="91"/>
                    <a:pt x="180" y="99"/>
                    <a:pt x="180" y="99"/>
                  </a:cubicBezTo>
                  <a:cubicBezTo>
                    <a:pt x="179" y="103"/>
                    <a:pt x="177" y="107"/>
                    <a:pt x="173" y="111"/>
                  </a:cubicBezTo>
                  <a:cubicBezTo>
                    <a:pt x="172" y="112"/>
                    <a:pt x="171" y="112"/>
                    <a:pt x="171" y="113"/>
                  </a:cubicBezTo>
                  <a:cubicBezTo>
                    <a:pt x="173" y="114"/>
                    <a:pt x="176" y="116"/>
                    <a:pt x="178" y="118"/>
                  </a:cubicBezTo>
                  <a:cubicBezTo>
                    <a:pt x="179" y="118"/>
                    <a:pt x="179" y="118"/>
                    <a:pt x="179" y="118"/>
                  </a:cubicBezTo>
                  <a:cubicBezTo>
                    <a:pt x="182" y="121"/>
                    <a:pt x="182" y="121"/>
                    <a:pt x="182" y="121"/>
                  </a:cubicBezTo>
                  <a:cubicBezTo>
                    <a:pt x="182" y="121"/>
                    <a:pt x="182" y="121"/>
                    <a:pt x="182" y="121"/>
                  </a:cubicBezTo>
                  <a:cubicBezTo>
                    <a:pt x="182" y="121"/>
                    <a:pt x="182" y="121"/>
                    <a:pt x="182" y="121"/>
                  </a:cubicBezTo>
                  <a:cubicBezTo>
                    <a:pt x="188" y="127"/>
                    <a:pt x="191" y="133"/>
                    <a:pt x="193" y="140"/>
                  </a:cubicBezTo>
                  <a:cubicBezTo>
                    <a:pt x="194" y="140"/>
                    <a:pt x="194" y="140"/>
                    <a:pt x="194" y="140"/>
                  </a:cubicBezTo>
                  <a:cubicBezTo>
                    <a:pt x="195" y="133"/>
                    <a:pt x="199" y="127"/>
                    <a:pt x="204" y="121"/>
                  </a:cubicBezTo>
                  <a:cubicBezTo>
                    <a:pt x="207" y="118"/>
                    <a:pt x="207" y="118"/>
                    <a:pt x="207" y="118"/>
                  </a:cubicBezTo>
                  <a:cubicBezTo>
                    <a:pt x="207" y="118"/>
                    <a:pt x="208" y="118"/>
                    <a:pt x="208" y="118"/>
                  </a:cubicBezTo>
                  <a:cubicBezTo>
                    <a:pt x="211" y="116"/>
                    <a:pt x="213" y="114"/>
                    <a:pt x="216" y="113"/>
                  </a:cubicBezTo>
                  <a:cubicBezTo>
                    <a:pt x="215" y="112"/>
                    <a:pt x="214" y="112"/>
                    <a:pt x="213" y="111"/>
                  </a:cubicBezTo>
                  <a:cubicBezTo>
                    <a:pt x="210" y="107"/>
                    <a:pt x="207" y="103"/>
                    <a:pt x="206" y="99"/>
                  </a:cubicBezTo>
                  <a:cubicBezTo>
                    <a:pt x="206" y="99"/>
                    <a:pt x="205" y="91"/>
                    <a:pt x="205" y="91"/>
                  </a:cubicBezTo>
                  <a:cubicBezTo>
                    <a:pt x="206" y="83"/>
                    <a:pt x="206" y="83"/>
                    <a:pt x="206" y="83"/>
                  </a:cubicBezTo>
                  <a:cubicBezTo>
                    <a:pt x="207" y="78"/>
                    <a:pt x="210" y="74"/>
                    <a:pt x="213" y="71"/>
                  </a:cubicBezTo>
                  <a:cubicBezTo>
                    <a:pt x="216" y="68"/>
                    <a:pt x="219" y="66"/>
                    <a:pt x="223" y="64"/>
                  </a:cubicBezTo>
                  <a:cubicBezTo>
                    <a:pt x="222" y="61"/>
                    <a:pt x="220" y="59"/>
                    <a:pt x="217" y="56"/>
                  </a:cubicBezTo>
                  <a:cubicBezTo>
                    <a:pt x="216" y="55"/>
                    <a:pt x="215" y="54"/>
                    <a:pt x="214" y="53"/>
                  </a:cubicBezTo>
                  <a:cubicBezTo>
                    <a:pt x="208" y="48"/>
                    <a:pt x="201" y="46"/>
                    <a:pt x="193" y="46"/>
                  </a:cubicBezTo>
                  <a:cubicBezTo>
                    <a:pt x="193" y="46"/>
                    <a:pt x="193" y="46"/>
                    <a:pt x="193" y="46"/>
                  </a:cubicBezTo>
                  <a:cubicBezTo>
                    <a:pt x="193" y="46"/>
                    <a:pt x="193" y="46"/>
                    <a:pt x="193" y="46"/>
                  </a:cubicBezTo>
                  <a:cubicBezTo>
                    <a:pt x="185" y="46"/>
                    <a:pt x="179" y="48"/>
                    <a:pt x="173" y="53"/>
                  </a:cubicBezTo>
                  <a:cubicBezTo>
                    <a:pt x="171" y="54"/>
                    <a:pt x="170" y="55"/>
                    <a:pt x="169" y="56"/>
                  </a:cubicBezTo>
                  <a:cubicBezTo>
                    <a:pt x="167" y="59"/>
                    <a:pt x="165" y="61"/>
                    <a:pt x="163" y="64"/>
                  </a:cubicBezTo>
                  <a:cubicBezTo>
                    <a:pt x="167" y="66"/>
                    <a:pt x="170" y="68"/>
                    <a:pt x="173" y="71"/>
                  </a:cubicBezTo>
                  <a:cubicBezTo>
                    <a:pt x="177" y="74"/>
                    <a:pt x="179" y="78"/>
                    <a:pt x="180" y="83"/>
                  </a:cubicBezTo>
                  <a:close/>
                  <a:moveTo>
                    <a:pt x="206" y="99"/>
                  </a:moveTo>
                  <a:cubicBezTo>
                    <a:pt x="206" y="99"/>
                    <a:pt x="206" y="99"/>
                    <a:pt x="206" y="99"/>
                  </a:cubicBezTo>
                  <a:cubicBezTo>
                    <a:pt x="206" y="99"/>
                    <a:pt x="206" y="99"/>
                    <a:pt x="206" y="99"/>
                  </a:cubicBezTo>
                  <a:close/>
                  <a:moveTo>
                    <a:pt x="101" y="83"/>
                  </a:moveTo>
                  <a:cubicBezTo>
                    <a:pt x="102" y="91"/>
                    <a:pt x="102" y="91"/>
                    <a:pt x="102" y="91"/>
                  </a:cubicBezTo>
                  <a:cubicBezTo>
                    <a:pt x="102" y="91"/>
                    <a:pt x="101" y="99"/>
                    <a:pt x="101" y="99"/>
                  </a:cubicBezTo>
                  <a:cubicBezTo>
                    <a:pt x="100" y="103"/>
                    <a:pt x="97" y="107"/>
                    <a:pt x="94" y="111"/>
                  </a:cubicBezTo>
                  <a:cubicBezTo>
                    <a:pt x="93" y="112"/>
                    <a:pt x="92" y="112"/>
                    <a:pt x="91" y="113"/>
                  </a:cubicBezTo>
                  <a:cubicBezTo>
                    <a:pt x="94" y="114"/>
                    <a:pt x="96" y="116"/>
                    <a:pt x="99" y="118"/>
                  </a:cubicBezTo>
                  <a:cubicBezTo>
                    <a:pt x="99" y="118"/>
                    <a:pt x="99" y="118"/>
                    <a:pt x="99" y="118"/>
                  </a:cubicBezTo>
                  <a:cubicBezTo>
                    <a:pt x="103" y="121"/>
                    <a:pt x="103" y="121"/>
                    <a:pt x="103" y="121"/>
                  </a:cubicBezTo>
                  <a:cubicBezTo>
                    <a:pt x="103" y="121"/>
                    <a:pt x="103" y="121"/>
                    <a:pt x="103" y="121"/>
                  </a:cubicBezTo>
                  <a:cubicBezTo>
                    <a:pt x="103" y="121"/>
                    <a:pt x="103" y="121"/>
                    <a:pt x="103" y="121"/>
                  </a:cubicBezTo>
                  <a:cubicBezTo>
                    <a:pt x="108" y="127"/>
                    <a:pt x="112" y="133"/>
                    <a:pt x="113" y="140"/>
                  </a:cubicBezTo>
                  <a:cubicBezTo>
                    <a:pt x="114" y="140"/>
                    <a:pt x="114" y="140"/>
                    <a:pt x="114" y="140"/>
                  </a:cubicBezTo>
                  <a:cubicBezTo>
                    <a:pt x="116" y="133"/>
                    <a:pt x="119" y="127"/>
                    <a:pt x="125" y="121"/>
                  </a:cubicBezTo>
                  <a:cubicBezTo>
                    <a:pt x="128" y="118"/>
                    <a:pt x="128" y="118"/>
                    <a:pt x="128" y="118"/>
                  </a:cubicBezTo>
                  <a:cubicBezTo>
                    <a:pt x="128" y="118"/>
                    <a:pt x="128" y="118"/>
                    <a:pt x="129" y="118"/>
                  </a:cubicBezTo>
                  <a:cubicBezTo>
                    <a:pt x="131" y="116"/>
                    <a:pt x="134" y="114"/>
                    <a:pt x="136" y="113"/>
                  </a:cubicBezTo>
                  <a:cubicBezTo>
                    <a:pt x="135" y="112"/>
                    <a:pt x="134" y="112"/>
                    <a:pt x="134" y="111"/>
                  </a:cubicBezTo>
                  <a:cubicBezTo>
                    <a:pt x="130" y="107"/>
                    <a:pt x="128" y="103"/>
                    <a:pt x="127" y="99"/>
                  </a:cubicBezTo>
                  <a:cubicBezTo>
                    <a:pt x="127" y="99"/>
                    <a:pt x="125" y="91"/>
                    <a:pt x="125" y="91"/>
                  </a:cubicBezTo>
                  <a:cubicBezTo>
                    <a:pt x="127" y="83"/>
                    <a:pt x="127" y="83"/>
                    <a:pt x="127" y="83"/>
                  </a:cubicBezTo>
                  <a:cubicBezTo>
                    <a:pt x="128" y="78"/>
                    <a:pt x="130" y="74"/>
                    <a:pt x="133" y="71"/>
                  </a:cubicBezTo>
                  <a:cubicBezTo>
                    <a:pt x="136" y="68"/>
                    <a:pt x="140" y="66"/>
                    <a:pt x="144" y="64"/>
                  </a:cubicBezTo>
                  <a:cubicBezTo>
                    <a:pt x="142" y="61"/>
                    <a:pt x="140" y="59"/>
                    <a:pt x="138" y="56"/>
                  </a:cubicBezTo>
                  <a:cubicBezTo>
                    <a:pt x="137" y="55"/>
                    <a:pt x="135" y="54"/>
                    <a:pt x="134" y="53"/>
                  </a:cubicBezTo>
                  <a:cubicBezTo>
                    <a:pt x="128" y="48"/>
                    <a:pt x="122" y="46"/>
                    <a:pt x="114" y="46"/>
                  </a:cubicBezTo>
                  <a:cubicBezTo>
                    <a:pt x="114" y="46"/>
                    <a:pt x="114" y="46"/>
                    <a:pt x="114" y="46"/>
                  </a:cubicBezTo>
                  <a:cubicBezTo>
                    <a:pt x="114" y="46"/>
                    <a:pt x="114" y="46"/>
                    <a:pt x="114" y="46"/>
                  </a:cubicBezTo>
                  <a:cubicBezTo>
                    <a:pt x="106" y="46"/>
                    <a:pt x="99" y="48"/>
                    <a:pt x="93" y="53"/>
                  </a:cubicBezTo>
                  <a:cubicBezTo>
                    <a:pt x="92" y="54"/>
                    <a:pt x="91" y="55"/>
                    <a:pt x="90" y="56"/>
                  </a:cubicBezTo>
                  <a:cubicBezTo>
                    <a:pt x="87" y="59"/>
                    <a:pt x="85" y="61"/>
                    <a:pt x="84" y="64"/>
                  </a:cubicBezTo>
                  <a:cubicBezTo>
                    <a:pt x="87" y="66"/>
                    <a:pt x="91" y="68"/>
                    <a:pt x="94" y="71"/>
                  </a:cubicBezTo>
                  <a:cubicBezTo>
                    <a:pt x="97" y="74"/>
                    <a:pt x="100" y="78"/>
                    <a:pt x="101" y="83"/>
                  </a:cubicBezTo>
                  <a:close/>
                  <a:moveTo>
                    <a:pt x="127" y="99"/>
                  </a:moveTo>
                  <a:cubicBezTo>
                    <a:pt x="127" y="99"/>
                    <a:pt x="127" y="99"/>
                    <a:pt x="127" y="99"/>
                  </a:cubicBezTo>
                  <a:cubicBezTo>
                    <a:pt x="127" y="99"/>
                    <a:pt x="127" y="99"/>
                    <a:pt x="127" y="99"/>
                  </a:cubicBezTo>
                  <a:close/>
                  <a:moveTo>
                    <a:pt x="168" y="188"/>
                  </a:moveTo>
                  <a:cubicBezTo>
                    <a:pt x="168" y="188"/>
                    <a:pt x="168" y="188"/>
                    <a:pt x="168" y="188"/>
                  </a:cubicBezTo>
                  <a:cubicBezTo>
                    <a:pt x="171" y="186"/>
                    <a:pt x="173" y="184"/>
                    <a:pt x="176" y="183"/>
                  </a:cubicBezTo>
                  <a:cubicBezTo>
                    <a:pt x="175" y="182"/>
                    <a:pt x="174" y="182"/>
                    <a:pt x="173" y="181"/>
                  </a:cubicBezTo>
                  <a:cubicBezTo>
                    <a:pt x="170" y="177"/>
                    <a:pt x="168" y="173"/>
                    <a:pt x="166" y="169"/>
                  </a:cubicBezTo>
                  <a:cubicBezTo>
                    <a:pt x="166" y="169"/>
                    <a:pt x="165" y="161"/>
                    <a:pt x="165" y="161"/>
                  </a:cubicBezTo>
                  <a:cubicBezTo>
                    <a:pt x="166" y="153"/>
                    <a:pt x="166" y="153"/>
                    <a:pt x="166" y="153"/>
                  </a:cubicBezTo>
                  <a:cubicBezTo>
                    <a:pt x="168" y="148"/>
                    <a:pt x="170" y="144"/>
                    <a:pt x="173" y="141"/>
                  </a:cubicBezTo>
                  <a:cubicBezTo>
                    <a:pt x="176" y="138"/>
                    <a:pt x="180" y="136"/>
                    <a:pt x="183" y="134"/>
                  </a:cubicBezTo>
                  <a:cubicBezTo>
                    <a:pt x="182" y="131"/>
                    <a:pt x="180" y="129"/>
                    <a:pt x="177" y="126"/>
                  </a:cubicBezTo>
                  <a:cubicBezTo>
                    <a:pt x="176" y="125"/>
                    <a:pt x="175" y="124"/>
                    <a:pt x="174" y="123"/>
                  </a:cubicBezTo>
                  <a:cubicBezTo>
                    <a:pt x="168" y="119"/>
                    <a:pt x="161" y="116"/>
                    <a:pt x="154" y="116"/>
                  </a:cubicBezTo>
                  <a:cubicBezTo>
                    <a:pt x="154" y="116"/>
                    <a:pt x="153" y="116"/>
                    <a:pt x="153" y="116"/>
                  </a:cubicBezTo>
                  <a:cubicBezTo>
                    <a:pt x="153" y="116"/>
                    <a:pt x="153" y="116"/>
                    <a:pt x="153" y="116"/>
                  </a:cubicBezTo>
                  <a:cubicBezTo>
                    <a:pt x="146" y="116"/>
                    <a:pt x="139" y="119"/>
                    <a:pt x="133" y="123"/>
                  </a:cubicBezTo>
                  <a:cubicBezTo>
                    <a:pt x="132" y="124"/>
                    <a:pt x="131" y="125"/>
                    <a:pt x="129" y="126"/>
                  </a:cubicBezTo>
                  <a:cubicBezTo>
                    <a:pt x="127" y="129"/>
                    <a:pt x="125" y="131"/>
                    <a:pt x="124" y="134"/>
                  </a:cubicBezTo>
                  <a:cubicBezTo>
                    <a:pt x="127" y="136"/>
                    <a:pt x="131" y="138"/>
                    <a:pt x="134" y="141"/>
                  </a:cubicBezTo>
                  <a:cubicBezTo>
                    <a:pt x="137" y="144"/>
                    <a:pt x="139" y="148"/>
                    <a:pt x="141" y="153"/>
                  </a:cubicBezTo>
                  <a:cubicBezTo>
                    <a:pt x="142" y="161"/>
                    <a:pt x="142" y="161"/>
                    <a:pt x="142" y="161"/>
                  </a:cubicBezTo>
                  <a:cubicBezTo>
                    <a:pt x="142" y="161"/>
                    <a:pt x="141" y="169"/>
                    <a:pt x="141" y="169"/>
                  </a:cubicBezTo>
                  <a:cubicBezTo>
                    <a:pt x="139" y="173"/>
                    <a:pt x="137" y="177"/>
                    <a:pt x="134" y="181"/>
                  </a:cubicBezTo>
                  <a:cubicBezTo>
                    <a:pt x="133" y="182"/>
                    <a:pt x="132" y="182"/>
                    <a:pt x="131" y="183"/>
                  </a:cubicBezTo>
                  <a:cubicBezTo>
                    <a:pt x="133" y="184"/>
                    <a:pt x="136" y="186"/>
                    <a:pt x="139" y="188"/>
                  </a:cubicBezTo>
                  <a:cubicBezTo>
                    <a:pt x="139" y="188"/>
                    <a:pt x="139" y="188"/>
                    <a:pt x="139" y="188"/>
                  </a:cubicBezTo>
                  <a:cubicBezTo>
                    <a:pt x="143" y="191"/>
                    <a:pt x="143" y="191"/>
                    <a:pt x="143" y="191"/>
                  </a:cubicBezTo>
                  <a:cubicBezTo>
                    <a:pt x="142" y="191"/>
                    <a:pt x="142" y="191"/>
                    <a:pt x="142" y="191"/>
                  </a:cubicBezTo>
                  <a:cubicBezTo>
                    <a:pt x="143" y="191"/>
                    <a:pt x="143" y="191"/>
                    <a:pt x="143" y="191"/>
                  </a:cubicBezTo>
                  <a:cubicBezTo>
                    <a:pt x="148" y="197"/>
                    <a:pt x="152" y="203"/>
                    <a:pt x="153" y="211"/>
                  </a:cubicBezTo>
                  <a:cubicBezTo>
                    <a:pt x="155" y="203"/>
                    <a:pt x="159" y="197"/>
                    <a:pt x="164" y="191"/>
                  </a:cubicBezTo>
                  <a:lnTo>
                    <a:pt x="168" y="188"/>
                  </a:lnTo>
                  <a:close/>
                  <a:moveTo>
                    <a:pt x="166" y="169"/>
                  </a:moveTo>
                  <a:cubicBezTo>
                    <a:pt x="166" y="169"/>
                    <a:pt x="166" y="169"/>
                    <a:pt x="166" y="169"/>
                  </a:cubicBezTo>
                  <a:close/>
                  <a:moveTo>
                    <a:pt x="214" y="193"/>
                  </a:moveTo>
                  <a:cubicBezTo>
                    <a:pt x="208" y="189"/>
                    <a:pt x="201" y="186"/>
                    <a:pt x="193" y="186"/>
                  </a:cubicBezTo>
                  <a:cubicBezTo>
                    <a:pt x="193" y="186"/>
                    <a:pt x="193" y="186"/>
                    <a:pt x="193" y="186"/>
                  </a:cubicBezTo>
                  <a:cubicBezTo>
                    <a:pt x="193" y="186"/>
                    <a:pt x="193" y="186"/>
                    <a:pt x="193" y="186"/>
                  </a:cubicBezTo>
                  <a:cubicBezTo>
                    <a:pt x="185" y="186"/>
                    <a:pt x="179" y="189"/>
                    <a:pt x="173" y="193"/>
                  </a:cubicBezTo>
                  <a:cubicBezTo>
                    <a:pt x="171" y="194"/>
                    <a:pt x="170" y="195"/>
                    <a:pt x="169" y="196"/>
                  </a:cubicBezTo>
                  <a:cubicBezTo>
                    <a:pt x="163" y="203"/>
                    <a:pt x="159" y="211"/>
                    <a:pt x="159" y="220"/>
                  </a:cubicBezTo>
                  <a:cubicBezTo>
                    <a:pt x="159" y="259"/>
                    <a:pt x="159" y="259"/>
                    <a:pt x="159" y="259"/>
                  </a:cubicBezTo>
                  <a:cubicBezTo>
                    <a:pt x="159" y="261"/>
                    <a:pt x="161" y="263"/>
                    <a:pt x="163" y="263"/>
                  </a:cubicBezTo>
                  <a:cubicBezTo>
                    <a:pt x="171" y="263"/>
                    <a:pt x="171" y="263"/>
                    <a:pt x="171" y="263"/>
                  </a:cubicBezTo>
                  <a:cubicBezTo>
                    <a:pt x="173" y="263"/>
                    <a:pt x="175" y="265"/>
                    <a:pt x="175" y="267"/>
                  </a:cubicBezTo>
                  <a:cubicBezTo>
                    <a:pt x="175" y="327"/>
                    <a:pt x="175" y="327"/>
                    <a:pt x="175" y="327"/>
                  </a:cubicBezTo>
                  <a:cubicBezTo>
                    <a:pt x="175" y="329"/>
                    <a:pt x="177" y="331"/>
                    <a:pt x="179" y="331"/>
                  </a:cubicBezTo>
                  <a:cubicBezTo>
                    <a:pt x="207" y="331"/>
                    <a:pt x="207" y="331"/>
                    <a:pt x="207" y="331"/>
                  </a:cubicBezTo>
                  <a:cubicBezTo>
                    <a:pt x="210" y="331"/>
                    <a:pt x="211" y="329"/>
                    <a:pt x="211" y="327"/>
                  </a:cubicBezTo>
                  <a:cubicBezTo>
                    <a:pt x="211" y="267"/>
                    <a:pt x="211" y="267"/>
                    <a:pt x="211" y="267"/>
                  </a:cubicBezTo>
                  <a:cubicBezTo>
                    <a:pt x="211" y="265"/>
                    <a:pt x="213" y="263"/>
                    <a:pt x="216" y="263"/>
                  </a:cubicBezTo>
                  <a:cubicBezTo>
                    <a:pt x="223" y="263"/>
                    <a:pt x="223" y="263"/>
                    <a:pt x="223" y="263"/>
                  </a:cubicBezTo>
                  <a:cubicBezTo>
                    <a:pt x="225" y="263"/>
                    <a:pt x="227" y="261"/>
                    <a:pt x="227" y="259"/>
                  </a:cubicBezTo>
                  <a:cubicBezTo>
                    <a:pt x="227" y="220"/>
                    <a:pt x="227" y="220"/>
                    <a:pt x="227" y="220"/>
                  </a:cubicBezTo>
                  <a:cubicBezTo>
                    <a:pt x="227" y="211"/>
                    <a:pt x="224" y="203"/>
                    <a:pt x="217" y="196"/>
                  </a:cubicBezTo>
                  <a:cubicBezTo>
                    <a:pt x="216" y="195"/>
                    <a:pt x="215" y="194"/>
                    <a:pt x="214" y="193"/>
                  </a:cubicBezTo>
                  <a:close/>
                  <a:moveTo>
                    <a:pt x="134" y="193"/>
                  </a:moveTo>
                  <a:cubicBezTo>
                    <a:pt x="128" y="189"/>
                    <a:pt x="122" y="186"/>
                    <a:pt x="114" y="186"/>
                  </a:cubicBezTo>
                  <a:cubicBezTo>
                    <a:pt x="114" y="186"/>
                    <a:pt x="114" y="186"/>
                    <a:pt x="114" y="186"/>
                  </a:cubicBezTo>
                  <a:cubicBezTo>
                    <a:pt x="114" y="186"/>
                    <a:pt x="114" y="186"/>
                    <a:pt x="114" y="186"/>
                  </a:cubicBezTo>
                  <a:cubicBezTo>
                    <a:pt x="106" y="186"/>
                    <a:pt x="99" y="189"/>
                    <a:pt x="93" y="193"/>
                  </a:cubicBezTo>
                  <a:cubicBezTo>
                    <a:pt x="92" y="194"/>
                    <a:pt x="91" y="195"/>
                    <a:pt x="90" y="196"/>
                  </a:cubicBezTo>
                  <a:cubicBezTo>
                    <a:pt x="83" y="203"/>
                    <a:pt x="80" y="211"/>
                    <a:pt x="80" y="220"/>
                  </a:cubicBezTo>
                  <a:cubicBezTo>
                    <a:pt x="80" y="259"/>
                    <a:pt x="80" y="259"/>
                    <a:pt x="80" y="259"/>
                  </a:cubicBezTo>
                  <a:cubicBezTo>
                    <a:pt x="80" y="261"/>
                    <a:pt x="82" y="263"/>
                    <a:pt x="84" y="263"/>
                  </a:cubicBezTo>
                  <a:cubicBezTo>
                    <a:pt x="91" y="263"/>
                    <a:pt x="91" y="263"/>
                    <a:pt x="91" y="263"/>
                  </a:cubicBezTo>
                  <a:cubicBezTo>
                    <a:pt x="94" y="263"/>
                    <a:pt x="95" y="265"/>
                    <a:pt x="95" y="267"/>
                  </a:cubicBezTo>
                  <a:cubicBezTo>
                    <a:pt x="95" y="327"/>
                    <a:pt x="95" y="327"/>
                    <a:pt x="95" y="327"/>
                  </a:cubicBezTo>
                  <a:cubicBezTo>
                    <a:pt x="95" y="329"/>
                    <a:pt x="97" y="331"/>
                    <a:pt x="99" y="331"/>
                  </a:cubicBezTo>
                  <a:cubicBezTo>
                    <a:pt x="128" y="331"/>
                    <a:pt x="128" y="331"/>
                    <a:pt x="128" y="331"/>
                  </a:cubicBezTo>
                  <a:cubicBezTo>
                    <a:pt x="130" y="331"/>
                    <a:pt x="132" y="329"/>
                    <a:pt x="132" y="327"/>
                  </a:cubicBezTo>
                  <a:cubicBezTo>
                    <a:pt x="132" y="267"/>
                    <a:pt x="132" y="267"/>
                    <a:pt x="132" y="267"/>
                  </a:cubicBezTo>
                  <a:cubicBezTo>
                    <a:pt x="132" y="265"/>
                    <a:pt x="134" y="263"/>
                    <a:pt x="136" y="263"/>
                  </a:cubicBezTo>
                  <a:cubicBezTo>
                    <a:pt x="144" y="263"/>
                    <a:pt x="144" y="263"/>
                    <a:pt x="144" y="263"/>
                  </a:cubicBezTo>
                  <a:cubicBezTo>
                    <a:pt x="146" y="263"/>
                    <a:pt x="148" y="261"/>
                    <a:pt x="148" y="259"/>
                  </a:cubicBezTo>
                  <a:cubicBezTo>
                    <a:pt x="148" y="220"/>
                    <a:pt x="148" y="220"/>
                    <a:pt x="148" y="220"/>
                  </a:cubicBezTo>
                  <a:cubicBezTo>
                    <a:pt x="148" y="211"/>
                    <a:pt x="144" y="203"/>
                    <a:pt x="138" y="196"/>
                  </a:cubicBezTo>
                  <a:cubicBezTo>
                    <a:pt x="137" y="195"/>
                    <a:pt x="135" y="194"/>
                    <a:pt x="134" y="193"/>
                  </a:cubicBezTo>
                  <a:close/>
                  <a:moveTo>
                    <a:pt x="88" y="188"/>
                  </a:moveTo>
                  <a:cubicBezTo>
                    <a:pt x="88" y="188"/>
                    <a:pt x="89" y="188"/>
                    <a:pt x="89" y="188"/>
                  </a:cubicBezTo>
                  <a:cubicBezTo>
                    <a:pt x="91" y="186"/>
                    <a:pt x="94" y="184"/>
                    <a:pt x="97" y="183"/>
                  </a:cubicBezTo>
                  <a:cubicBezTo>
                    <a:pt x="96" y="182"/>
                    <a:pt x="95" y="182"/>
                    <a:pt x="94" y="181"/>
                  </a:cubicBezTo>
                  <a:cubicBezTo>
                    <a:pt x="90" y="177"/>
                    <a:pt x="88" y="173"/>
                    <a:pt x="87" y="169"/>
                  </a:cubicBezTo>
                  <a:cubicBezTo>
                    <a:pt x="87" y="169"/>
                    <a:pt x="86" y="161"/>
                    <a:pt x="86" y="161"/>
                  </a:cubicBezTo>
                  <a:cubicBezTo>
                    <a:pt x="87" y="153"/>
                    <a:pt x="87" y="153"/>
                    <a:pt x="87" y="153"/>
                  </a:cubicBezTo>
                  <a:cubicBezTo>
                    <a:pt x="88" y="148"/>
                    <a:pt x="90" y="144"/>
                    <a:pt x="94" y="141"/>
                  </a:cubicBezTo>
                  <a:cubicBezTo>
                    <a:pt x="97" y="138"/>
                    <a:pt x="100" y="136"/>
                    <a:pt x="104" y="134"/>
                  </a:cubicBezTo>
                  <a:cubicBezTo>
                    <a:pt x="102" y="131"/>
                    <a:pt x="100" y="129"/>
                    <a:pt x="98" y="126"/>
                  </a:cubicBezTo>
                  <a:cubicBezTo>
                    <a:pt x="97" y="125"/>
                    <a:pt x="96" y="124"/>
                    <a:pt x="95" y="123"/>
                  </a:cubicBezTo>
                  <a:cubicBezTo>
                    <a:pt x="89" y="119"/>
                    <a:pt x="82" y="116"/>
                    <a:pt x="74" y="116"/>
                  </a:cubicBezTo>
                  <a:cubicBezTo>
                    <a:pt x="74" y="116"/>
                    <a:pt x="74" y="116"/>
                    <a:pt x="74" y="116"/>
                  </a:cubicBezTo>
                  <a:cubicBezTo>
                    <a:pt x="74" y="116"/>
                    <a:pt x="74" y="116"/>
                    <a:pt x="74" y="116"/>
                  </a:cubicBezTo>
                  <a:cubicBezTo>
                    <a:pt x="66" y="116"/>
                    <a:pt x="59" y="119"/>
                    <a:pt x="53" y="123"/>
                  </a:cubicBezTo>
                  <a:cubicBezTo>
                    <a:pt x="52" y="124"/>
                    <a:pt x="51" y="125"/>
                    <a:pt x="50" y="126"/>
                  </a:cubicBezTo>
                  <a:cubicBezTo>
                    <a:pt x="47" y="129"/>
                    <a:pt x="46" y="131"/>
                    <a:pt x="44" y="134"/>
                  </a:cubicBezTo>
                  <a:cubicBezTo>
                    <a:pt x="48" y="136"/>
                    <a:pt x="51" y="138"/>
                    <a:pt x="54" y="141"/>
                  </a:cubicBezTo>
                  <a:cubicBezTo>
                    <a:pt x="57" y="144"/>
                    <a:pt x="60" y="148"/>
                    <a:pt x="61" y="153"/>
                  </a:cubicBezTo>
                  <a:cubicBezTo>
                    <a:pt x="62" y="161"/>
                    <a:pt x="62" y="161"/>
                    <a:pt x="62" y="161"/>
                  </a:cubicBezTo>
                  <a:cubicBezTo>
                    <a:pt x="62" y="161"/>
                    <a:pt x="61" y="169"/>
                    <a:pt x="61" y="169"/>
                  </a:cubicBezTo>
                  <a:cubicBezTo>
                    <a:pt x="60" y="173"/>
                    <a:pt x="57" y="177"/>
                    <a:pt x="54" y="181"/>
                  </a:cubicBezTo>
                  <a:cubicBezTo>
                    <a:pt x="53" y="182"/>
                    <a:pt x="52" y="182"/>
                    <a:pt x="51" y="183"/>
                  </a:cubicBezTo>
                  <a:cubicBezTo>
                    <a:pt x="54" y="184"/>
                    <a:pt x="57" y="186"/>
                    <a:pt x="59" y="188"/>
                  </a:cubicBezTo>
                  <a:cubicBezTo>
                    <a:pt x="60" y="188"/>
                    <a:pt x="60" y="188"/>
                    <a:pt x="60" y="188"/>
                  </a:cubicBezTo>
                  <a:cubicBezTo>
                    <a:pt x="63" y="191"/>
                    <a:pt x="63" y="191"/>
                    <a:pt x="63" y="191"/>
                  </a:cubicBezTo>
                  <a:cubicBezTo>
                    <a:pt x="63" y="191"/>
                    <a:pt x="63" y="191"/>
                    <a:pt x="63" y="191"/>
                  </a:cubicBezTo>
                  <a:cubicBezTo>
                    <a:pt x="69" y="197"/>
                    <a:pt x="72" y="203"/>
                    <a:pt x="74" y="211"/>
                  </a:cubicBezTo>
                  <a:cubicBezTo>
                    <a:pt x="76" y="203"/>
                    <a:pt x="79" y="197"/>
                    <a:pt x="85" y="191"/>
                  </a:cubicBezTo>
                  <a:lnTo>
                    <a:pt x="88" y="188"/>
                  </a:lnTo>
                  <a:close/>
                  <a:moveTo>
                    <a:pt x="87" y="169"/>
                  </a:moveTo>
                  <a:cubicBezTo>
                    <a:pt x="87" y="169"/>
                    <a:pt x="87" y="169"/>
                    <a:pt x="87" y="169"/>
                  </a:cubicBezTo>
                  <a:cubicBezTo>
                    <a:pt x="87" y="169"/>
                    <a:pt x="87" y="169"/>
                    <a:pt x="87" y="169"/>
                  </a:cubicBezTo>
                  <a:close/>
                  <a:moveTo>
                    <a:pt x="297" y="196"/>
                  </a:moveTo>
                  <a:cubicBezTo>
                    <a:pt x="296" y="195"/>
                    <a:pt x="295" y="194"/>
                    <a:pt x="293" y="193"/>
                  </a:cubicBezTo>
                  <a:cubicBezTo>
                    <a:pt x="287" y="189"/>
                    <a:pt x="281" y="186"/>
                    <a:pt x="273" y="186"/>
                  </a:cubicBezTo>
                  <a:cubicBezTo>
                    <a:pt x="273" y="186"/>
                    <a:pt x="273" y="186"/>
                    <a:pt x="273" y="186"/>
                  </a:cubicBezTo>
                  <a:cubicBezTo>
                    <a:pt x="273" y="186"/>
                    <a:pt x="273" y="186"/>
                    <a:pt x="273" y="186"/>
                  </a:cubicBezTo>
                  <a:cubicBezTo>
                    <a:pt x="265" y="186"/>
                    <a:pt x="258" y="189"/>
                    <a:pt x="252" y="193"/>
                  </a:cubicBezTo>
                  <a:cubicBezTo>
                    <a:pt x="251" y="194"/>
                    <a:pt x="250" y="195"/>
                    <a:pt x="249" y="196"/>
                  </a:cubicBezTo>
                  <a:cubicBezTo>
                    <a:pt x="242" y="203"/>
                    <a:pt x="239" y="211"/>
                    <a:pt x="239" y="220"/>
                  </a:cubicBezTo>
                  <a:cubicBezTo>
                    <a:pt x="239" y="259"/>
                    <a:pt x="239" y="259"/>
                    <a:pt x="239" y="259"/>
                  </a:cubicBezTo>
                  <a:cubicBezTo>
                    <a:pt x="239" y="261"/>
                    <a:pt x="241" y="263"/>
                    <a:pt x="243" y="263"/>
                  </a:cubicBezTo>
                  <a:cubicBezTo>
                    <a:pt x="250" y="263"/>
                    <a:pt x="250" y="263"/>
                    <a:pt x="250" y="263"/>
                  </a:cubicBezTo>
                  <a:cubicBezTo>
                    <a:pt x="253" y="263"/>
                    <a:pt x="255" y="265"/>
                    <a:pt x="255" y="267"/>
                  </a:cubicBezTo>
                  <a:cubicBezTo>
                    <a:pt x="255" y="327"/>
                    <a:pt x="255" y="327"/>
                    <a:pt x="255" y="327"/>
                  </a:cubicBezTo>
                  <a:cubicBezTo>
                    <a:pt x="255" y="329"/>
                    <a:pt x="256" y="331"/>
                    <a:pt x="259" y="331"/>
                  </a:cubicBezTo>
                  <a:cubicBezTo>
                    <a:pt x="287" y="331"/>
                    <a:pt x="287" y="331"/>
                    <a:pt x="287" y="331"/>
                  </a:cubicBezTo>
                  <a:cubicBezTo>
                    <a:pt x="289" y="331"/>
                    <a:pt x="291" y="329"/>
                    <a:pt x="291" y="327"/>
                  </a:cubicBezTo>
                  <a:cubicBezTo>
                    <a:pt x="291" y="267"/>
                    <a:pt x="291" y="267"/>
                    <a:pt x="291" y="267"/>
                  </a:cubicBezTo>
                  <a:cubicBezTo>
                    <a:pt x="291" y="265"/>
                    <a:pt x="293" y="263"/>
                    <a:pt x="295" y="263"/>
                  </a:cubicBezTo>
                  <a:cubicBezTo>
                    <a:pt x="303" y="263"/>
                    <a:pt x="303" y="263"/>
                    <a:pt x="303" y="263"/>
                  </a:cubicBezTo>
                  <a:cubicBezTo>
                    <a:pt x="305" y="263"/>
                    <a:pt x="307" y="261"/>
                    <a:pt x="307" y="259"/>
                  </a:cubicBezTo>
                  <a:cubicBezTo>
                    <a:pt x="307" y="220"/>
                    <a:pt x="307" y="220"/>
                    <a:pt x="307" y="220"/>
                  </a:cubicBezTo>
                  <a:cubicBezTo>
                    <a:pt x="307" y="211"/>
                    <a:pt x="303" y="203"/>
                    <a:pt x="297" y="196"/>
                  </a:cubicBezTo>
                  <a:close/>
                  <a:moveTo>
                    <a:pt x="247" y="188"/>
                  </a:moveTo>
                  <a:cubicBezTo>
                    <a:pt x="247" y="188"/>
                    <a:pt x="248" y="188"/>
                    <a:pt x="248" y="188"/>
                  </a:cubicBezTo>
                  <a:cubicBezTo>
                    <a:pt x="250" y="186"/>
                    <a:pt x="253" y="184"/>
                    <a:pt x="256" y="183"/>
                  </a:cubicBezTo>
                  <a:cubicBezTo>
                    <a:pt x="255" y="182"/>
                    <a:pt x="254" y="182"/>
                    <a:pt x="253" y="181"/>
                  </a:cubicBezTo>
                  <a:cubicBezTo>
                    <a:pt x="249" y="177"/>
                    <a:pt x="247" y="173"/>
                    <a:pt x="246" y="169"/>
                  </a:cubicBezTo>
                  <a:cubicBezTo>
                    <a:pt x="246" y="169"/>
                    <a:pt x="245" y="161"/>
                    <a:pt x="245" y="161"/>
                  </a:cubicBezTo>
                  <a:cubicBezTo>
                    <a:pt x="246" y="153"/>
                    <a:pt x="246" y="153"/>
                    <a:pt x="246" y="153"/>
                  </a:cubicBezTo>
                  <a:cubicBezTo>
                    <a:pt x="247" y="148"/>
                    <a:pt x="249" y="144"/>
                    <a:pt x="253" y="141"/>
                  </a:cubicBezTo>
                  <a:cubicBezTo>
                    <a:pt x="256" y="138"/>
                    <a:pt x="259" y="136"/>
                    <a:pt x="263" y="134"/>
                  </a:cubicBezTo>
                  <a:cubicBezTo>
                    <a:pt x="261" y="131"/>
                    <a:pt x="259" y="129"/>
                    <a:pt x="257" y="126"/>
                  </a:cubicBezTo>
                  <a:cubicBezTo>
                    <a:pt x="256" y="125"/>
                    <a:pt x="255" y="124"/>
                    <a:pt x="254" y="123"/>
                  </a:cubicBezTo>
                  <a:cubicBezTo>
                    <a:pt x="248" y="119"/>
                    <a:pt x="241" y="116"/>
                    <a:pt x="233" y="116"/>
                  </a:cubicBezTo>
                  <a:cubicBezTo>
                    <a:pt x="233" y="116"/>
                    <a:pt x="233" y="116"/>
                    <a:pt x="233" y="116"/>
                  </a:cubicBezTo>
                  <a:cubicBezTo>
                    <a:pt x="233" y="116"/>
                    <a:pt x="233" y="116"/>
                    <a:pt x="233" y="116"/>
                  </a:cubicBezTo>
                  <a:cubicBezTo>
                    <a:pt x="225" y="116"/>
                    <a:pt x="218" y="119"/>
                    <a:pt x="212" y="123"/>
                  </a:cubicBezTo>
                  <a:cubicBezTo>
                    <a:pt x="211" y="124"/>
                    <a:pt x="210" y="125"/>
                    <a:pt x="209" y="126"/>
                  </a:cubicBezTo>
                  <a:cubicBezTo>
                    <a:pt x="207" y="129"/>
                    <a:pt x="205" y="131"/>
                    <a:pt x="203" y="134"/>
                  </a:cubicBezTo>
                  <a:cubicBezTo>
                    <a:pt x="207" y="136"/>
                    <a:pt x="210" y="138"/>
                    <a:pt x="213" y="141"/>
                  </a:cubicBezTo>
                  <a:cubicBezTo>
                    <a:pt x="217" y="144"/>
                    <a:pt x="219" y="148"/>
                    <a:pt x="220" y="153"/>
                  </a:cubicBezTo>
                  <a:cubicBezTo>
                    <a:pt x="221" y="161"/>
                    <a:pt x="221" y="161"/>
                    <a:pt x="221" y="161"/>
                  </a:cubicBezTo>
                  <a:cubicBezTo>
                    <a:pt x="221" y="161"/>
                    <a:pt x="220" y="169"/>
                    <a:pt x="220" y="169"/>
                  </a:cubicBezTo>
                  <a:cubicBezTo>
                    <a:pt x="219" y="173"/>
                    <a:pt x="217" y="177"/>
                    <a:pt x="213" y="181"/>
                  </a:cubicBezTo>
                  <a:cubicBezTo>
                    <a:pt x="212" y="182"/>
                    <a:pt x="211" y="182"/>
                    <a:pt x="210" y="183"/>
                  </a:cubicBezTo>
                  <a:cubicBezTo>
                    <a:pt x="213" y="184"/>
                    <a:pt x="216" y="186"/>
                    <a:pt x="218" y="188"/>
                  </a:cubicBezTo>
                  <a:cubicBezTo>
                    <a:pt x="219" y="188"/>
                    <a:pt x="219" y="188"/>
                    <a:pt x="219" y="188"/>
                  </a:cubicBezTo>
                  <a:cubicBezTo>
                    <a:pt x="222" y="191"/>
                    <a:pt x="222" y="191"/>
                    <a:pt x="222" y="191"/>
                  </a:cubicBezTo>
                  <a:cubicBezTo>
                    <a:pt x="222" y="191"/>
                    <a:pt x="222" y="191"/>
                    <a:pt x="222" y="191"/>
                  </a:cubicBezTo>
                  <a:cubicBezTo>
                    <a:pt x="222" y="191"/>
                    <a:pt x="222" y="191"/>
                    <a:pt x="222" y="191"/>
                  </a:cubicBezTo>
                  <a:cubicBezTo>
                    <a:pt x="228" y="197"/>
                    <a:pt x="231" y="203"/>
                    <a:pt x="233" y="211"/>
                  </a:cubicBezTo>
                  <a:cubicBezTo>
                    <a:pt x="235" y="203"/>
                    <a:pt x="238" y="197"/>
                    <a:pt x="244" y="191"/>
                  </a:cubicBezTo>
                  <a:lnTo>
                    <a:pt x="247" y="188"/>
                  </a:lnTo>
                  <a:close/>
                  <a:moveTo>
                    <a:pt x="246" y="169"/>
                  </a:moveTo>
                  <a:cubicBezTo>
                    <a:pt x="246" y="169"/>
                    <a:pt x="246" y="169"/>
                    <a:pt x="246" y="169"/>
                  </a:cubicBezTo>
                  <a:close/>
                  <a:moveTo>
                    <a:pt x="133" y="90"/>
                  </a:moveTo>
                  <a:cubicBezTo>
                    <a:pt x="133" y="102"/>
                    <a:pt x="142" y="111"/>
                    <a:pt x="154" y="111"/>
                  </a:cubicBezTo>
                  <a:cubicBezTo>
                    <a:pt x="165" y="111"/>
                    <a:pt x="174" y="102"/>
                    <a:pt x="174" y="90"/>
                  </a:cubicBezTo>
                  <a:cubicBezTo>
                    <a:pt x="174" y="79"/>
                    <a:pt x="165" y="70"/>
                    <a:pt x="154" y="70"/>
                  </a:cubicBezTo>
                  <a:cubicBezTo>
                    <a:pt x="142" y="70"/>
                    <a:pt x="133" y="79"/>
                    <a:pt x="133" y="90"/>
                  </a:cubicBezTo>
                  <a:close/>
                  <a:moveTo>
                    <a:pt x="74" y="111"/>
                  </a:moveTo>
                  <a:cubicBezTo>
                    <a:pt x="86" y="111"/>
                    <a:pt x="95" y="102"/>
                    <a:pt x="95" y="90"/>
                  </a:cubicBezTo>
                  <a:cubicBezTo>
                    <a:pt x="95" y="79"/>
                    <a:pt x="86" y="70"/>
                    <a:pt x="74" y="70"/>
                  </a:cubicBezTo>
                  <a:cubicBezTo>
                    <a:pt x="63" y="70"/>
                    <a:pt x="54" y="79"/>
                    <a:pt x="54" y="90"/>
                  </a:cubicBezTo>
                  <a:cubicBezTo>
                    <a:pt x="54" y="102"/>
                    <a:pt x="63" y="111"/>
                    <a:pt x="74" y="111"/>
                  </a:cubicBezTo>
                  <a:close/>
                  <a:moveTo>
                    <a:pt x="212" y="90"/>
                  </a:moveTo>
                  <a:cubicBezTo>
                    <a:pt x="212" y="102"/>
                    <a:pt x="221" y="111"/>
                    <a:pt x="233" y="111"/>
                  </a:cubicBezTo>
                  <a:cubicBezTo>
                    <a:pt x="244" y="111"/>
                    <a:pt x="253" y="102"/>
                    <a:pt x="253" y="90"/>
                  </a:cubicBezTo>
                  <a:cubicBezTo>
                    <a:pt x="253" y="79"/>
                    <a:pt x="244" y="70"/>
                    <a:pt x="233" y="70"/>
                  </a:cubicBezTo>
                  <a:cubicBezTo>
                    <a:pt x="221" y="70"/>
                    <a:pt x="212" y="79"/>
                    <a:pt x="212" y="90"/>
                  </a:cubicBezTo>
                  <a:close/>
                  <a:moveTo>
                    <a:pt x="93" y="161"/>
                  </a:moveTo>
                  <a:cubicBezTo>
                    <a:pt x="93" y="172"/>
                    <a:pt x="103" y="181"/>
                    <a:pt x="114" y="181"/>
                  </a:cubicBezTo>
                  <a:cubicBezTo>
                    <a:pt x="125" y="181"/>
                    <a:pt x="135" y="172"/>
                    <a:pt x="135" y="161"/>
                  </a:cubicBezTo>
                  <a:cubicBezTo>
                    <a:pt x="135" y="149"/>
                    <a:pt x="125" y="140"/>
                    <a:pt x="114" y="140"/>
                  </a:cubicBezTo>
                  <a:cubicBezTo>
                    <a:pt x="103" y="140"/>
                    <a:pt x="93" y="149"/>
                    <a:pt x="93" y="161"/>
                  </a:cubicBezTo>
                  <a:close/>
                  <a:moveTo>
                    <a:pt x="34" y="181"/>
                  </a:moveTo>
                  <a:cubicBezTo>
                    <a:pt x="46" y="181"/>
                    <a:pt x="55" y="172"/>
                    <a:pt x="55" y="161"/>
                  </a:cubicBezTo>
                  <a:cubicBezTo>
                    <a:pt x="55" y="149"/>
                    <a:pt x="46" y="140"/>
                    <a:pt x="34" y="140"/>
                  </a:cubicBezTo>
                  <a:cubicBezTo>
                    <a:pt x="23" y="140"/>
                    <a:pt x="14" y="149"/>
                    <a:pt x="14" y="161"/>
                  </a:cubicBezTo>
                  <a:cubicBezTo>
                    <a:pt x="14" y="172"/>
                    <a:pt x="23" y="181"/>
                    <a:pt x="34" y="181"/>
                  </a:cubicBezTo>
                  <a:close/>
                  <a:moveTo>
                    <a:pt x="172" y="161"/>
                  </a:moveTo>
                  <a:cubicBezTo>
                    <a:pt x="172" y="172"/>
                    <a:pt x="182" y="181"/>
                    <a:pt x="193" y="181"/>
                  </a:cubicBezTo>
                  <a:cubicBezTo>
                    <a:pt x="204" y="181"/>
                    <a:pt x="214" y="172"/>
                    <a:pt x="214" y="161"/>
                  </a:cubicBezTo>
                  <a:cubicBezTo>
                    <a:pt x="214" y="149"/>
                    <a:pt x="204" y="140"/>
                    <a:pt x="193" y="140"/>
                  </a:cubicBezTo>
                  <a:cubicBezTo>
                    <a:pt x="182" y="140"/>
                    <a:pt x="172" y="149"/>
                    <a:pt x="172" y="161"/>
                  </a:cubicBezTo>
                  <a:close/>
                  <a:moveTo>
                    <a:pt x="114" y="42"/>
                  </a:moveTo>
                  <a:cubicBezTo>
                    <a:pt x="125" y="42"/>
                    <a:pt x="135" y="32"/>
                    <a:pt x="135" y="21"/>
                  </a:cubicBezTo>
                  <a:cubicBezTo>
                    <a:pt x="135" y="9"/>
                    <a:pt x="125" y="0"/>
                    <a:pt x="114" y="0"/>
                  </a:cubicBezTo>
                  <a:cubicBezTo>
                    <a:pt x="103" y="0"/>
                    <a:pt x="93" y="9"/>
                    <a:pt x="93" y="21"/>
                  </a:cubicBezTo>
                  <a:cubicBezTo>
                    <a:pt x="93" y="32"/>
                    <a:pt x="103" y="42"/>
                    <a:pt x="114" y="42"/>
                  </a:cubicBezTo>
                  <a:close/>
                  <a:moveTo>
                    <a:pt x="193" y="42"/>
                  </a:moveTo>
                  <a:cubicBezTo>
                    <a:pt x="204" y="42"/>
                    <a:pt x="214" y="32"/>
                    <a:pt x="214" y="21"/>
                  </a:cubicBezTo>
                  <a:cubicBezTo>
                    <a:pt x="214" y="9"/>
                    <a:pt x="204" y="0"/>
                    <a:pt x="193" y="0"/>
                  </a:cubicBezTo>
                  <a:cubicBezTo>
                    <a:pt x="182" y="0"/>
                    <a:pt x="172" y="9"/>
                    <a:pt x="172" y="21"/>
                  </a:cubicBezTo>
                  <a:cubicBezTo>
                    <a:pt x="172" y="32"/>
                    <a:pt x="182" y="42"/>
                    <a:pt x="193" y="42"/>
                  </a:cubicBezTo>
                  <a:close/>
                  <a:moveTo>
                    <a:pt x="253" y="161"/>
                  </a:moveTo>
                  <a:cubicBezTo>
                    <a:pt x="253" y="172"/>
                    <a:pt x="262" y="181"/>
                    <a:pt x="273" y="181"/>
                  </a:cubicBezTo>
                  <a:cubicBezTo>
                    <a:pt x="285" y="181"/>
                    <a:pt x="294" y="172"/>
                    <a:pt x="294" y="161"/>
                  </a:cubicBezTo>
                  <a:cubicBezTo>
                    <a:pt x="294" y="149"/>
                    <a:pt x="285" y="140"/>
                    <a:pt x="273" y="140"/>
                  </a:cubicBezTo>
                  <a:cubicBezTo>
                    <a:pt x="262" y="140"/>
                    <a:pt x="253" y="149"/>
                    <a:pt x="253" y="1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sz="1400" kern="0">
                <a:solidFill>
                  <a:srgbClr val="000000"/>
                </a:solidFill>
                <a:cs typeface="Arial"/>
                <a:sym typeface="Arial"/>
              </a:endParaRPr>
            </a:p>
          </p:txBody>
        </p:sp>
      </p:grpSp>
      <p:pic>
        <p:nvPicPr>
          <p:cNvPr id="66642" name="Picture 12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19138" y="2205038"/>
            <a:ext cx="7527925" cy="115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 Placeholder 8">
            <a:extLst>
              <a:ext uri="{FF2B5EF4-FFF2-40B4-BE49-F238E27FC236}"/>
            </a:extLst>
          </p:cNvPr>
          <p:cNvSpPr txBox="1">
            <a:spLocks/>
          </p:cNvSpPr>
          <p:nvPr/>
        </p:nvSpPr>
        <p:spPr bwMode="auto">
          <a:xfrm>
            <a:off x="244475" y="1628775"/>
            <a:ext cx="6842125"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ADABA1"/>
                </a:solidFill>
                <a:miter lim="800000"/>
                <a:headEnd/>
                <a:tailEnd/>
              </a14:hiddenLine>
            </a:ext>
          </a:extLst>
        </p:spPr>
        <p:txBody>
          <a:bodyPr lIns="0" tIns="0" rIns="0" bIns="0">
            <a:spAutoFit/>
          </a:bodyPr>
          <a:lstStyle>
            <a:lvl1pPr>
              <a:defRPr sz="1300">
                <a:solidFill>
                  <a:srgbClr val="000000"/>
                </a:solidFill>
                <a:latin typeface="Arial" charset="0"/>
                <a:ea typeface="Arial" charset="0"/>
                <a:cs typeface="Arial" charset="0"/>
                <a:sym typeface="Arial" charset="0"/>
              </a:defRPr>
            </a:lvl1pPr>
            <a:lvl2pPr marL="741363" indent="-233363">
              <a:defRPr sz="1300">
                <a:solidFill>
                  <a:srgbClr val="000000"/>
                </a:solidFill>
                <a:latin typeface="Arial" charset="0"/>
                <a:ea typeface="Arial" charset="0"/>
                <a:cs typeface="Arial" charset="0"/>
                <a:sym typeface="Arial" charset="0"/>
              </a:defRPr>
            </a:lvl2pPr>
            <a:lvl3pPr marL="1141413" indent="-176213">
              <a:defRPr sz="1300">
                <a:solidFill>
                  <a:srgbClr val="000000"/>
                </a:solidFill>
                <a:latin typeface="Arial" charset="0"/>
                <a:ea typeface="Arial" charset="0"/>
                <a:cs typeface="Arial" charset="0"/>
                <a:sym typeface="Arial" charset="0"/>
              </a:defRPr>
            </a:lvl3pPr>
            <a:lvl4pPr marL="1598613" indent="-176213">
              <a:defRPr sz="1300">
                <a:solidFill>
                  <a:srgbClr val="000000"/>
                </a:solidFill>
                <a:latin typeface="Arial" charset="0"/>
                <a:ea typeface="Arial" charset="0"/>
                <a:cs typeface="Arial" charset="0"/>
                <a:sym typeface="Arial" charset="0"/>
              </a:defRPr>
            </a:lvl4pPr>
            <a:lvl5pPr marL="2055813" indent="-176213">
              <a:defRPr sz="1300">
                <a:solidFill>
                  <a:srgbClr val="000000"/>
                </a:solidFill>
                <a:latin typeface="Arial" charset="0"/>
                <a:ea typeface="Arial" charset="0"/>
                <a:cs typeface="Arial" charset="0"/>
                <a:sym typeface="Arial" charset="0"/>
              </a:defRPr>
            </a:lvl5pPr>
            <a:lvl6pPr marL="25130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6pPr>
            <a:lvl7pPr marL="29702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7pPr>
            <a:lvl8pPr marL="34274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8pPr>
            <a:lvl9pPr marL="3884613" indent="-176213" eaLnBrk="0" fontAlgn="base" hangingPunct="0">
              <a:spcBef>
                <a:spcPct val="0"/>
              </a:spcBef>
              <a:spcAft>
                <a:spcPct val="0"/>
              </a:spcAft>
              <a:defRPr sz="1300">
                <a:solidFill>
                  <a:srgbClr val="000000"/>
                </a:solidFill>
                <a:latin typeface="Arial" charset="0"/>
                <a:ea typeface="Arial" charset="0"/>
                <a:cs typeface="Arial" charset="0"/>
                <a:sym typeface="Arial" charset="0"/>
              </a:defRPr>
            </a:lvl9pPr>
          </a:lstStyle>
          <a:p>
            <a:pPr>
              <a:lnSpc>
                <a:spcPct val="90000"/>
              </a:lnSpc>
              <a:buClr>
                <a:srgbClr val="000000"/>
              </a:buClr>
              <a:defRPr/>
            </a:pPr>
            <a:r>
              <a:rPr lang="en-GB" altLang="en-US" sz="1800" b="1" kern="0" dirty="0">
                <a:solidFill>
                  <a:schemeClr val="tx1"/>
                </a:solidFill>
                <a:latin typeface="Arial" panose="020B0604020202020204" pitchFamily="34" charset="0"/>
                <a:ea typeface="Calibri" charset="0"/>
                <a:cs typeface="Calibri" charset="0"/>
                <a:sym typeface="Calibri" charset="0"/>
              </a:rPr>
              <a:t>Model of Care Interventions</a:t>
            </a:r>
          </a:p>
        </p:txBody>
      </p:sp>
      <p:grpSp>
        <p:nvGrpSpPr>
          <p:cNvPr id="252" name="Group 51">
            <a:extLst>
              <a:ext uri="{FF2B5EF4-FFF2-40B4-BE49-F238E27FC236}"/>
            </a:extLst>
          </p:cNvPr>
          <p:cNvGrpSpPr/>
          <p:nvPr/>
        </p:nvGrpSpPr>
        <p:grpSpPr>
          <a:xfrm>
            <a:off x="6218178" y="3504017"/>
            <a:ext cx="906581" cy="927573"/>
            <a:chOff x="6003925" y="1822450"/>
            <a:chExt cx="1096963" cy="1122363"/>
          </a:xfrm>
          <a:solidFill>
            <a:schemeClr val="bg2"/>
          </a:solidFill>
        </p:grpSpPr>
        <p:sp>
          <p:nvSpPr>
            <p:cNvPr id="253" name="Freeform 37">
              <a:extLst>
                <a:ext uri="{FF2B5EF4-FFF2-40B4-BE49-F238E27FC236}"/>
              </a:extLst>
            </p:cNvPr>
            <p:cNvSpPr>
              <a:spLocks/>
            </p:cNvSpPr>
            <p:nvPr/>
          </p:nvSpPr>
          <p:spPr bwMode="auto">
            <a:xfrm>
              <a:off x="6087517" y="1822450"/>
              <a:ext cx="928312" cy="1122363"/>
            </a:xfrm>
            <a:custGeom>
              <a:avLst/>
              <a:gdLst>
                <a:gd name="T0" fmla="*/ 0 w 633"/>
                <a:gd name="T1" fmla="*/ 0 h 707"/>
                <a:gd name="T2" fmla="*/ 204 w 633"/>
                <a:gd name="T3" fmla="*/ 594 h 707"/>
                <a:gd name="T4" fmla="*/ 129 w 633"/>
                <a:gd name="T5" fmla="*/ 594 h 707"/>
                <a:gd name="T6" fmla="*/ 327 w 633"/>
                <a:gd name="T7" fmla="*/ 707 h 707"/>
                <a:gd name="T8" fmla="*/ 520 w 633"/>
                <a:gd name="T9" fmla="*/ 594 h 707"/>
                <a:gd name="T10" fmla="*/ 445 w 633"/>
                <a:gd name="T11" fmla="*/ 594 h 707"/>
                <a:gd name="T12" fmla="*/ 633 w 633"/>
                <a:gd name="T13" fmla="*/ 2 h 707"/>
                <a:gd name="T14" fmla="*/ 0 60000 65536"/>
                <a:gd name="T15" fmla="*/ 0 60000 65536"/>
                <a:gd name="T16" fmla="*/ 0 60000 65536"/>
                <a:gd name="T17" fmla="*/ 0 60000 65536"/>
                <a:gd name="T18" fmla="*/ 0 60000 65536"/>
                <a:gd name="T19" fmla="*/ 0 60000 65536"/>
                <a:gd name="T20" fmla="*/ 0 60000 65536"/>
                <a:gd name="T21" fmla="*/ 0 w 633"/>
                <a:gd name="T22" fmla="*/ 0 h 707"/>
                <a:gd name="T23" fmla="*/ 633 w 633"/>
                <a:gd name="T24" fmla="*/ 707 h 7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3" h="707">
                  <a:moveTo>
                    <a:pt x="0" y="0"/>
                  </a:moveTo>
                  <a:lnTo>
                    <a:pt x="204" y="594"/>
                  </a:lnTo>
                  <a:lnTo>
                    <a:pt x="129" y="594"/>
                  </a:lnTo>
                  <a:lnTo>
                    <a:pt x="327" y="707"/>
                  </a:lnTo>
                  <a:lnTo>
                    <a:pt x="520" y="594"/>
                  </a:lnTo>
                  <a:lnTo>
                    <a:pt x="445" y="594"/>
                  </a:lnTo>
                  <a:lnTo>
                    <a:pt x="633" y="2"/>
                  </a:lnTo>
                </a:path>
              </a:pathLst>
            </a:custGeom>
            <a:solidFill>
              <a:schemeClr val="accent1">
                <a:lumMod val="60000"/>
                <a:lumOff val="40000"/>
                <a:alpha val="23000"/>
              </a:schemeClr>
            </a:solidFill>
            <a:ln w="6350" cap="flat">
              <a:noFill/>
              <a:miter lim="800000"/>
              <a:headEnd/>
              <a:tailEnd/>
            </a:ln>
          </p:spPr>
          <p:txBody>
            <a:bodyPr wrap="none" lIns="90488" tIns="44450" rIns="90488" bIns="44450" anchor="ctr"/>
            <a:lstStyle/>
            <a:p>
              <a:pPr>
                <a:lnSpc>
                  <a:spcPct val="90000"/>
                </a:lnSpc>
                <a:defRPr/>
              </a:pPr>
              <a:endParaRPr lang="fr-FR" sz="1000" b="1"/>
            </a:p>
          </p:txBody>
        </p:sp>
        <p:sp>
          <p:nvSpPr>
            <p:cNvPr id="254" name="Rectangle 39">
              <a:extLst>
                <a:ext uri="{FF2B5EF4-FFF2-40B4-BE49-F238E27FC236}"/>
              </a:extLst>
            </p:cNvPr>
            <p:cNvSpPr>
              <a:spLocks noChangeArrowheads="1"/>
            </p:cNvSpPr>
            <p:nvPr/>
          </p:nvSpPr>
          <p:spPr bwMode="auto">
            <a:xfrm>
              <a:off x="6003925" y="1880828"/>
              <a:ext cx="1096963" cy="150813"/>
            </a:xfrm>
            <a:prstGeom prst="rect">
              <a:avLst/>
            </a:prstGeom>
            <a:solidFill>
              <a:schemeClr val="accent2"/>
            </a:solidFill>
            <a:ln w="6350" cap="flat">
              <a:noFill/>
              <a:miter lim="800000"/>
              <a:headEnd/>
              <a:tailEnd/>
            </a:ln>
          </p:spPr>
          <p:txBody>
            <a:bodyPr wrap="none" lIns="90488" tIns="44450" rIns="90488" bIns="44450" anchor="ctr"/>
            <a:lstStyle/>
            <a:p>
              <a:pPr algn="ctr">
                <a:lnSpc>
                  <a:spcPct val="90000"/>
                </a:lnSpc>
                <a:defRPr/>
              </a:pPr>
              <a:r>
                <a:rPr lang="de-DE" sz="1000" b="1" dirty="0"/>
                <a:t>E1</a:t>
              </a:r>
            </a:p>
          </p:txBody>
        </p:sp>
      </p:grpSp>
      <p:grpSp>
        <p:nvGrpSpPr>
          <p:cNvPr id="260" name="Group 51">
            <a:extLst>
              <a:ext uri="{FF2B5EF4-FFF2-40B4-BE49-F238E27FC236}"/>
            </a:extLst>
          </p:cNvPr>
          <p:cNvGrpSpPr/>
          <p:nvPr/>
        </p:nvGrpSpPr>
        <p:grpSpPr>
          <a:xfrm>
            <a:off x="4809490" y="3515471"/>
            <a:ext cx="906581" cy="927573"/>
            <a:chOff x="6003925" y="1822450"/>
            <a:chExt cx="1096963" cy="1122363"/>
          </a:xfrm>
          <a:solidFill>
            <a:schemeClr val="bg2"/>
          </a:solidFill>
        </p:grpSpPr>
        <p:sp>
          <p:nvSpPr>
            <p:cNvPr id="261" name="Freeform 37">
              <a:extLst>
                <a:ext uri="{FF2B5EF4-FFF2-40B4-BE49-F238E27FC236}"/>
              </a:extLst>
            </p:cNvPr>
            <p:cNvSpPr>
              <a:spLocks/>
            </p:cNvSpPr>
            <p:nvPr/>
          </p:nvSpPr>
          <p:spPr bwMode="auto">
            <a:xfrm>
              <a:off x="6087517" y="1822450"/>
              <a:ext cx="928312" cy="1122363"/>
            </a:xfrm>
            <a:custGeom>
              <a:avLst/>
              <a:gdLst>
                <a:gd name="T0" fmla="*/ 0 w 633"/>
                <a:gd name="T1" fmla="*/ 0 h 707"/>
                <a:gd name="T2" fmla="*/ 204 w 633"/>
                <a:gd name="T3" fmla="*/ 594 h 707"/>
                <a:gd name="T4" fmla="*/ 129 w 633"/>
                <a:gd name="T5" fmla="*/ 594 h 707"/>
                <a:gd name="T6" fmla="*/ 327 w 633"/>
                <a:gd name="T7" fmla="*/ 707 h 707"/>
                <a:gd name="T8" fmla="*/ 520 w 633"/>
                <a:gd name="T9" fmla="*/ 594 h 707"/>
                <a:gd name="T10" fmla="*/ 445 w 633"/>
                <a:gd name="T11" fmla="*/ 594 h 707"/>
                <a:gd name="T12" fmla="*/ 633 w 633"/>
                <a:gd name="T13" fmla="*/ 2 h 707"/>
                <a:gd name="T14" fmla="*/ 0 60000 65536"/>
                <a:gd name="T15" fmla="*/ 0 60000 65536"/>
                <a:gd name="T16" fmla="*/ 0 60000 65536"/>
                <a:gd name="T17" fmla="*/ 0 60000 65536"/>
                <a:gd name="T18" fmla="*/ 0 60000 65536"/>
                <a:gd name="T19" fmla="*/ 0 60000 65536"/>
                <a:gd name="T20" fmla="*/ 0 60000 65536"/>
                <a:gd name="T21" fmla="*/ 0 w 633"/>
                <a:gd name="T22" fmla="*/ 0 h 707"/>
                <a:gd name="T23" fmla="*/ 633 w 633"/>
                <a:gd name="T24" fmla="*/ 707 h 7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3" h="707">
                  <a:moveTo>
                    <a:pt x="0" y="0"/>
                  </a:moveTo>
                  <a:lnTo>
                    <a:pt x="204" y="594"/>
                  </a:lnTo>
                  <a:lnTo>
                    <a:pt x="129" y="594"/>
                  </a:lnTo>
                  <a:lnTo>
                    <a:pt x="327" y="707"/>
                  </a:lnTo>
                  <a:lnTo>
                    <a:pt x="520" y="594"/>
                  </a:lnTo>
                  <a:lnTo>
                    <a:pt x="445" y="594"/>
                  </a:lnTo>
                  <a:lnTo>
                    <a:pt x="633" y="2"/>
                  </a:lnTo>
                </a:path>
              </a:pathLst>
            </a:custGeom>
            <a:solidFill>
              <a:srgbClr val="FFC000">
                <a:alpha val="50000"/>
              </a:srgbClr>
            </a:solidFill>
            <a:ln w="6350" cap="flat">
              <a:noFill/>
              <a:miter lim="800000"/>
              <a:headEnd/>
              <a:tailEnd/>
            </a:ln>
          </p:spPr>
          <p:txBody>
            <a:bodyPr wrap="none" lIns="90488" tIns="44450" rIns="90488" bIns="44450" anchor="ctr"/>
            <a:lstStyle/>
            <a:p>
              <a:pPr>
                <a:lnSpc>
                  <a:spcPct val="90000"/>
                </a:lnSpc>
                <a:defRPr/>
              </a:pPr>
              <a:endParaRPr lang="fr-FR" sz="1000" b="1"/>
            </a:p>
          </p:txBody>
        </p:sp>
        <p:sp>
          <p:nvSpPr>
            <p:cNvPr id="262" name="Rectangle 39">
              <a:extLst>
                <a:ext uri="{FF2B5EF4-FFF2-40B4-BE49-F238E27FC236}"/>
              </a:extLst>
            </p:cNvPr>
            <p:cNvSpPr>
              <a:spLocks noChangeArrowheads="1"/>
            </p:cNvSpPr>
            <p:nvPr/>
          </p:nvSpPr>
          <p:spPr bwMode="auto">
            <a:xfrm>
              <a:off x="6003925" y="1880828"/>
              <a:ext cx="1096963" cy="150813"/>
            </a:xfrm>
            <a:prstGeom prst="rect">
              <a:avLst/>
            </a:prstGeom>
            <a:solidFill>
              <a:schemeClr val="accent2"/>
            </a:solidFill>
            <a:ln w="6350" cap="flat">
              <a:noFill/>
              <a:miter lim="800000"/>
              <a:headEnd/>
              <a:tailEnd/>
            </a:ln>
          </p:spPr>
          <p:txBody>
            <a:bodyPr wrap="none" lIns="90488" tIns="44450" rIns="90488" bIns="44450" anchor="ctr"/>
            <a:lstStyle/>
            <a:p>
              <a:pPr algn="ctr">
                <a:lnSpc>
                  <a:spcPct val="90000"/>
                </a:lnSpc>
                <a:defRPr/>
              </a:pPr>
              <a:r>
                <a:rPr lang="de-DE" sz="1000" b="1" dirty="0"/>
                <a:t>W1</a:t>
              </a:r>
            </a:p>
          </p:txBody>
        </p:sp>
      </p:grpSp>
      <p:grpSp>
        <p:nvGrpSpPr>
          <p:cNvPr id="266" name="Group 51">
            <a:extLst>
              <a:ext uri="{FF2B5EF4-FFF2-40B4-BE49-F238E27FC236}"/>
            </a:extLst>
          </p:cNvPr>
          <p:cNvGrpSpPr/>
          <p:nvPr/>
        </p:nvGrpSpPr>
        <p:grpSpPr>
          <a:xfrm>
            <a:off x="1924571" y="3504016"/>
            <a:ext cx="914570" cy="927573"/>
            <a:chOff x="6003925" y="1822450"/>
            <a:chExt cx="1106630" cy="1122363"/>
          </a:xfrm>
          <a:solidFill>
            <a:schemeClr val="bg2"/>
          </a:solidFill>
        </p:grpSpPr>
        <p:sp>
          <p:nvSpPr>
            <p:cNvPr id="268" name="Freeform 37">
              <a:extLst>
                <a:ext uri="{FF2B5EF4-FFF2-40B4-BE49-F238E27FC236}"/>
              </a:extLst>
            </p:cNvPr>
            <p:cNvSpPr>
              <a:spLocks/>
            </p:cNvSpPr>
            <p:nvPr/>
          </p:nvSpPr>
          <p:spPr bwMode="auto">
            <a:xfrm>
              <a:off x="6087517" y="1822450"/>
              <a:ext cx="928312" cy="1122363"/>
            </a:xfrm>
            <a:custGeom>
              <a:avLst/>
              <a:gdLst>
                <a:gd name="T0" fmla="*/ 0 w 633"/>
                <a:gd name="T1" fmla="*/ 0 h 707"/>
                <a:gd name="T2" fmla="*/ 204 w 633"/>
                <a:gd name="T3" fmla="*/ 594 h 707"/>
                <a:gd name="T4" fmla="*/ 129 w 633"/>
                <a:gd name="T5" fmla="*/ 594 h 707"/>
                <a:gd name="T6" fmla="*/ 327 w 633"/>
                <a:gd name="T7" fmla="*/ 707 h 707"/>
                <a:gd name="T8" fmla="*/ 520 w 633"/>
                <a:gd name="T9" fmla="*/ 594 h 707"/>
                <a:gd name="T10" fmla="*/ 445 w 633"/>
                <a:gd name="T11" fmla="*/ 594 h 707"/>
                <a:gd name="T12" fmla="*/ 633 w 633"/>
                <a:gd name="T13" fmla="*/ 2 h 707"/>
                <a:gd name="T14" fmla="*/ 0 60000 65536"/>
                <a:gd name="T15" fmla="*/ 0 60000 65536"/>
                <a:gd name="T16" fmla="*/ 0 60000 65536"/>
                <a:gd name="T17" fmla="*/ 0 60000 65536"/>
                <a:gd name="T18" fmla="*/ 0 60000 65536"/>
                <a:gd name="T19" fmla="*/ 0 60000 65536"/>
                <a:gd name="T20" fmla="*/ 0 60000 65536"/>
                <a:gd name="T21" fmla="*/ 0 w 633"/>
                <a:gd name="T22" fmla="*/ 0 h 707"/>
                <a:gd name="T23" fmla="*/ 633 w 633"/>
                <a:gd name="T24" fmla="*/ 707 h 7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3" h="707">
                  <a:moveTo>
                    <a:pt x="0" y="0"/>
                  </a:moveTo>
                  <a:lnTo>
                    <a:pt x="204" y="594"/>
                  </a:lnTo>
                  <a:lnTo>
                    <a:pt x="129" y="594"/>
                  </a:lnTo>
                  <a:lnTo>
                    <a:pt x="327" y="707"/>
                  </a:lnTo>
                  <a:lnTo>
                    <a:pt x="520" y="594"/>
                  </a:lnTo>
                  <a:lnTo>
                    <a:pt x="445" y="594"/>
                  </a:lnTo>
                  <a:lnTo>
                    <a:pt x="633" y="2"/>
                  </a:lnTo>
                </a:path>
              </a:pathLst>
            </a:custGeom>
            <a:solidFill>
              <a:schemeClr val="accent5">
                <a:lumMod val="60000"/>
                <a:lumOff val="40000"/>
                <a:alpha val="41000"/>
              </a:schemeClr>
            </a:solidFill>
            <a:ln w="6350" cap="flat">
              <a:noFill/>
              <a:miter lim="800000"/>
              <a:headEnd/>
              <a:tailEnd/>
            </a:ln>
          </p:spPr>
          <p:txBody>
            <a:bodyPr wrap="none" lIns="90488" tIns="44450" rIns="90488" bIns="44450" anchor="ctr"/>
            <a:lstStyle/>
            <a:p>
              <a:pPr>
                <a:lnSpc>
                  <a:spcPct val="90000"/>
                </a:lnSpc>
                <a:defRPr/>
              </a:pPr>
              <a:endParaRPr lang="fr-FR" sz="1000" b="1" dirty="0"/>
            </a:p>
          </p:txBody>
        </p:sp>
        <p:sp>
          <p:nvSpPr>
            <p:cNvPr id="269" name="Rectangle 39">
              <a:extLst>
                <a:ext uri="{FF2B5EF4-FFF2-40B4-BE49-F238E27FC236}"/>
              </a:extLst>
            </p:cNvPr>
            <p:cNvSpPr>
              <a:spLocks noChangeArrowheads="1"/>
            </p:cNvSpPr>
            <p:nvPr/>
          </p:nvSpPr>
          <p:spPr bwMode="auto">
            <a:xfrm>
              <a:off x="6003925" y="1880828"/>
              <a:ext cx="1096963" cy="150813"/>
            </a:xfrm>
            <a:prstGeom prst="rect">
              <a:avLst/>
            </a:prstGeom>
            <a:solidFill>
              <a:schemeClr val="accent2"/>
            </a:solidFill>
            <a:ln w="6350" cap="flat">
              <a:noFill/>
              <a:miter lim="800000"/>
              <a:headEnd/>
              <a:tailEnd/>
            </a:ln>
          </p:spPr>
          <p:txBody>
            <a:bodyPr wrap="none" lIns="90488" tIns="44450" rIns="90488" bIns="44450" anchor="ctr"/>
            <a:lstStyle/>
            <a:p>
              <a:pPr algn="ctr">
                <a:lnSpc>
                  <a:spcPct val="90000"/>
                </a:lnSpc>
                <a:defRPr/>
              </a:pPr>
              <a:r>
                <a:rPr lang="de-DE" sz="1000" b="1" dirty="0"/>
                <a:t>C1</a:t>
              </a:r>
            </a:p>
          </p:txBody>
        </p:sp>
        <p:sp>
          <p:nvSpPr>
            <p:cNvPr id="271" name="Rectangle 39">
              <a:extLst>
                <a:ext uri="{FF2B5EF4-FFF2-40B4-BE49-F238E27FC236}"/>
              </a:extLst>
            </p:cNvPr>
            <p:cNvSpPr>
              <a:spLocks noChangeArrowheads="1"/>
            </p:cNvSpPr>
            <p:nvPr/>
          </p:nvSpPr>
          <p:spPr bwMode="auto">
            <a:xfrm>
              <a:off x="6013592" y="2093295"/>
              <a:ext cx="1096963" cy="150813"/>
            </a:xfrm>
            <a:prstGeom prst="rect">
              <a:avLst/>
            </a:prstGeom>
            <a:solidFill>
              <a:schemeClr val="accent2"/>
            </a:solidFill>
            <a:ln w="6350" cap="flat">
              <a:noFill/>
              <a:miter lim="800000"/>
              <a:headEnd/>
              <a:tailEnd/>
            </a:ln>
          </p:spPr>
          <p:txBody>
            <a:bodyPr wrap="none" lIns="90488" tIns="44450" rIns="90488" bIns="44450" anchor="ctr"/>
            <a:lstStyle/>
            <a:p>
              <a:pPr algn="ctr">
                <a:lnSpc>
                  <a:spcPct val="90000"/>
                </a:lnSpc>
                <a:defRPr/>
              </a:pPr>
              <a:r>
                <a:rPr lang="de-DE" sz="1000" b="1" dirty="0"/>
                <a:t>C2</a:t>
              </a:r>
            </a:p>
          </p:txBody>
        </p:sp>
      </p:grpSp>
      <p:sp>
        <p:nvSpPr>
          <p:cNvPr id="270" name="Rectangle 269">
            <a:extLst>
              <a:ext uri="{FF2B5EF4-FFF2-40B4-BE49-F238E27FC236}"/>
            </a:extLst>
          </p:cNvPr>
          <p:cNvSpPr/>
          <p:nvPr/>
        </p:nvSpPr>
        <p:spPr>
          <a:xfrm>
            <a:off x="71438" y="1885950"/>
            <a:ext cx="8748712" cy="1539875"/>
          </a:xfrm>
          <a:prstGeom prst="rect">
            <a:avLst/>
          </a:prstGeom>
          <a:solidFill>
            <a:schemeClr val="bg1">
              <a:alpha val="87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a:lnSpc>
                <a:spcPct val="90000"/>
              </a:lnSpc>
              <a:spcBef>
                <a:spcPts val="900"/>
              </a:spcBef>
              <a:defRPr/>
            </a:pPr>
            <a:endParaRPr lang="en-US" sz="1400" dirty="0" err="1">
              <a:solidFill>
                <a:schemeClr val="bg1"/>
              </a:solidFill>
              <a:latin typeface="Arial" pitchFamily="34" charset="0"/>
              <a:cs typeface="Arial" pitchFamily="34" charset="0"/>
            </a:endParaRPr>
          </a:p>
        </p:txBody>
      </p:sp>
      <p:sp>
        <p:nvSpPr>
          <p:cNvPr id="272" name="Rectangle 271">
            <a:extLst>
              <a:ext uri="{FF2B5EF4-FFF2-40B4-BE49-F238E27FC236}"/>
            </a:extLst>
          </p:cNvPr>
          <p:cNvSpPr/>
          <p:nvPr/>
        </p:nvSpPr>
        <p:spPr>
          <a:xfrm>
            <a:off x="106363" y="3833813"/>
            <a:ext cx="1579562" cy="2770187"/>
          </a:xfrm>
          <a:prstGeom prst="rect">
            <a:avLst/>
          </a:prstGeom>
          <a:solidFill>
            <a:schemeClr val="bg1">
              <a:alpha val="87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a:lnSpc>
                <a:spcPct val="90000"/>
              </a:lnSpc>
              <a:spcBef>
                <a:spcPts val="900"/>
              </a:spcBef>
              <a:defRPr/>
            </a:pPr>
            <a:endParaRPr lang="en-US" sz="1400" dirty="0" err="1">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244475" y="152400"/>
            <a:ext cx="7604125" cy="996950"/>
          </a:xfrm>
        </p:spPr>
        <p:txBody>
          <a:bodyPr>
            <a:normAutofit fontScale="90000"/>
          </a:bodyPr>
          <a:lstStyle/>
          <a:p>
            <a:pPr fontAlgn="auto">
              <a:spcAft>
                <a:spcPts val="0"/>
              </a:spcAft>
              <a:defRPr/>
            </a:pPr>
            <a:r>
              <a:rPr lang="en-US" sz="2800" smtClean="0">
                <a:solidFill>
                  <a:schemeClr val="tx1">
                    <a:lumMod val="75000"/>
                    <a:lumOff val="25000"/>
                  </a:schemeClr>
                </a:solidFill>
              </a:rPr>
              <a:t>MoC aim is to create comprehensive Integrated Care Systems for holistic care delivery based on the Model of Care </a:t>
            </a:r>
          </a:p>
        </p:txBody>
      </p:sp>
      <p:sp>
        <p:nvSpPr>
          <p:cNvPr id="67587" name="TextBox 2"/>
          <p:cNvSpPr txBox="1">
            <a:spLocks noChangeArrowheads="1"/>
          </p:cNvSpPr>
          <p:nvPr/>
        </p:nvSpPr>
        <p:spPr bwMode="auto">
          <a:xfrm>
            <a:off x="6335713" y="2228850"/>
            <a:ext cx="2449512" cy="364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50000"/>
              </a:lnSpc>
              <a:spcBef>
                <a:spcPts val="600"/>
              </a:spcBef>
              <a:spcAft>
                <a:spcPct val="0"/>
              </a:spcAft>
              <a:buClr>
                <a:schemeClr val="bg2"/>
              </a:buClr>
              <a:buSzTx/>
              <a:buFontTx/>
              <a:buNone/>
            </a:pPr>
            <a:r>
              <a:rPr lang="en-US" sz="1600">
                <a:solidFill>
                  <a:schemeClr val="tx1"/>
                </a:solidFill>
                <a:latin typeface="Garamond" panose="02020404030301010803" pitchFamily="18" charset="0"/>
              </a:rPr>
              <a:t>Model of Care </a:t>
            </a:r>
            <a:r>
              <a:rPr lang="en-US" sz="1600" b="1">
                <a:solidFill>
                  <a:schemeClr val="bg2"/>
                </a:solidFill>
                <a:latin typeface="Garamond" panose="02020404030301010803" pitchFamily="18" charset="0"/>
              </a:rPr>
              <a:t>interventions</a:t>
            </a:r>
            <a:r>
              <a:rPr lang="en-US" sz="1600">
                <a:solidFill>
                  <a:schemeClr val="tx1"/>
                </a:solidFill>
                <a:latin typeface="Garamond" panose="02020404030301010803" pitchFamily="18" charset="0"/>
              </a:rPr>
              <a:t> will be responsible for </a:t>
            </a:r>
            <a:r>
              <a:rPr lang="en-US" sz="1600" b="1">
                <a:solidFill>
                  <a:schemeClr val="bg2"/>
                </a:solidFill>
                <a:latin typeface="Garamond" panose="02020404030301010803" pitchFamily="18" charset="0"/>
              </a:rPr>
              <a:t>delivery </a:t>
            </a:r>
            <a:r>
              <a:rPr lang="en-US" sz="1600">
                <a:solidFill>
                  <a:schemeClr val="tx1"/>
                </a:solidFill>
                <a:latin typeface="Garamond" panose="02020404030301010803" pitchFamily="18" charset="0"/>
              </a:rPr>
              <a:t>of</a:t>
            </a:r>
            <a:r>
              <a:rPr lang="en-US" sz="1600" b="1">
                <a:solidFill>
                  <a:schemeClr val="bg2"/>
                </a:solidFill>
                <a:latin typeface="Garamond" panose="02020404030301010803" pitchFamily="18" charset="0"/>
              </a:rPr>
              <a:t> </a:t>
            </a:r>
            <a:r>
              <a:rPr lang="en-US" sz="1600">
                <a:solidFill>
                  <a:schemeClr val="tx1"/>
                </a:solidFill>
                <a:latin typeface="Garamond" panose="02020404030301010803" pitchFamily="18" charset="0"/>
              </a:rPr>
              <a:t>all </a:t>
            </a:r>
            <a:r>
              <a:rPr lang="en-US" sz="1600" b="1">
                <a:solidFill>
                  <a:schemeClr val="bg2"/>
                </a:solidFill>
                <a:latin typeface="Garamond" panose="02020404030301010803" pitchFamily="18" charset="0"/>
              </a:rPr>
              <a:t>health services </a:t>
            </a:r>
            <a:r>
              <a:rPr lang="en-US" sz="1600">
                <a:solidFill>
                  <a:schemeClr val="tx1"/>
                </a:solidFill>
                <a:latin typeface="Garamond" panose="02020404030301010803" pitchFamily="18" charset="0"/>
              </a:rPr>
              <a:t>from preventive to curative to a </a:t>
            </a:r>
            <a:r>
              <a:rPr lang="en-US" sz="1600" b="1">
                <a:solidFill>
                  <a:schemeClr val="bg2"/>
                </a:solidFill>
                <a:latin typeface="Garamond" panose="02020404030301010803" pitchFamily="18" charset="0"/>
              </a:rPr>
              <a:t>defined</a:t>
            </a:r>
            <a:r>
              <a:rPr lang="en-US" sz="1600">
                <a:solidFill>
                  <a:schemeClr val="tx1"/>
                </a:solidFill>
                <a:latin typeface="Garamond" panose="02020404030301010803" pitchFamily="18" charset="0"/>
              </a:rPr>
              <a:t> </a:t>
            </a:r>
            <a:r>
              <a:rPr lang="en-US" sz="1600" b="1">
                <a:solidFill>
                  <a:schemeClr val="bg2"/>
                </a:solidFill>
                <a:latin typeface="Garamond" panose="02020404030301010803" pitchFamily="18" charset="0"/>
              </a:rPr>
              <a:t>population</a:t>
            </a:r>
            <a:r>
              <a:rPr lang="en-US" sz="1600">
                <a:solidFill>
                  <a:schemeClr val="tx1"/>
                </a:solidFill>
                <a:latin typeface="Garamond" panose="02020404030301010803" pitchFamily="18" charset="0"/>
              </a:rPr>
              <a:t> according to their </a:t>
            </a:r>
            <a:r>
              <a:rPr lang="en-US" sz="1600" b="1">
                <a:solidFill>
                  <a:schemeClr val="bg2"/>
                </a:solidFill>
                <a:latin typeface="Garamond" panose="02020404030301010803" pitchFamily="18" charset="0"/>
              </a:rPr>
              <a:t>needs </a:t>
            </a:r>
            <a:r>
              <a:rPr lang="en-US" sz="1600">
                <a:solidFill>
                  <a:schemeClr val="tx1"/>
                </a:solidFill>
                <a:latin typeface="Garamond" panose="02020404030301010803" pitchFamily="18" charset="0"/>
              </a:rPr>
              <a:t>over time</a:t>
            </a:r>
            <a:r>
              <a:rPr lang="en-US" sz="1600" b="1">
                <a:solidFill>
                  <a:schemeClr val="bg2"/>
                </a:solidFill>
                <a:latin typeface="Garamond" panose="02020404030301010803" pitchFamily="18" charset="0"/>
              </a:rPr>
              <a:t> </a:t>
            </a:r>
            <a:r>
              <a:rPr lang="en-US" sz="1600">
                <a:solidFill>
                  <a:schemeClr val="tx1"/>
                </a:solidFill>
                <a:latin typeface="Garamond" panose="02020404030301010803" pitchFamily="18" charset="0"/>
              </a:rPr>
              <a:t>and across different</a:t>
            </a:r>
            <a:r>
              <a:rPr lang="en-US" sz="1600" b="1">
                <a:solidFill>
                  <a:schemeClr val="bg2"/>
                </a:solidFill>
                <a:latin typeface="Garamond" panose="02020404030301010803" pitchFamily="18" charset="0"/>
              </a:rPr>
              <a:t> levels </a:t>
            </a:r>
            <a:r>
              <a:rPr lang="en-US" sz="1600">
                <a:solidFill>
                  <a:schemeClr val="tx1"/>
                </a:solidFill>
                <a:latin typeface="Garamond" panose="02020404030301010803" pitchFamily="18" charset="0"/>
              </a:rPr>
              <a:t>of the health system</a:t>
            </a:r>
            <a:endParaRPr lang="en-US" sz="1600">
              <a:solidFill>
                <a:schemeClr val="tx1"/>
              </a:solidFill>
              <a:latin typeface="Arial" panose="020B0604020202020204" pitchFamily="34" charset="0"/>
            </a:endParaRPr>
          </a:p>
        </p:txBody>
      </p:sp>
      <p:sp>
        <p:nvSpPr>
          <p:cNvPr id="67588" name="TextBox 5"/>
          <p:cNvSpPr txBox="1">
            <a:spLocks noChangeArrowheads="1"/>
          </p:cNvSpPr>
          <p:nvPr/>
        </p:nvSpPr>
        <p:spPr bwMode="auto">
          <a:xfrm>
            <a:off x="244475" y="6369050"/>
            <a:ext cx="63992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b"/>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endParaRPr lang="ar-SA" sz="800">
              <a:solidFill>
                <a:schemeClr val="tx1"/>
              </a:solidFill>
              <a:latin typeface="Arial" panose="020B0604020202020204" pitchFamily="34" charset="0"/>
            </a:endParaRPr>
          </a:p>
        </p:txBody>
      </p:sp>
      <p:sp>
        <p:nvSpPr>
          <p:cNvPr id="67589" name="TextBox 6"/>
          <p:cNvSpPr txBox="1">
            <a:spLocks noChangeArrowheads="1"/>
          </p:cNvSpPr>
          <p:nvPr/>
        </p:nvSpPr>
        <p:spPr bwMode="auto">
          <a:xfrm>
            <a:off x="244475" y="1628775"/>
            <a:ext cx="6840538" cy="249238"/>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r>
              <a:rPr lang="en-US" sz="1800" b="1">
                <a:solidFill>
                  <a:schemeClr val="tx1"/>
                </a:solidFill>
                <a:latin typeface="Arial" panose="020B0604020202020204" pitchFamily="34" charset="0"/>
              </a:rPr>
              <a:t>How does MoC fit into Integrated Care Systems?</a:t>
            </a:r>
          </a:p>
        </p:txBody>
      </p:sp>
      <p:pic>
        <p:nvPicPr>
          <p:cNvPr id="67590" name="Picture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850" y="2439988"/>
            <a:ext cx="582612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3"/>
          <p:cNvSpPr>
            <a:spLocks noGrp="1"/>
          </p:cNvSpPr>
          <p:nvPr>
            <p:ph type="title"/>
          </p:nvPr>
        </p:nvSpPr>
        <p:spPr>
          <a:xfrm>
            <a:off x="244475" y="152400"/>
            <a:ext cx="7604125" cy="665163"/>
          </a:xfrm>
        </p:spPr>
        <p:txBody>
          <a:bodyPr>
            <a:normAutofit fontScale="90000"/>
          </a:bodyPr>
          <a:lstStyle/>
          <a:p>
            <a:pPr fontAlgn="auto">
              <a:spcAft>
                <a:spcPts val="0"/>
              </a:spcAft>
              <a:defRPr/>
            </a:pPr>
            <a:r>
              <a:rPr lang="en-GB" sz="2800" smtClean="0">
                <a:solidFill>
                  <a:schemeClr val="tx1">
                    <a:lumMod val="75000"/>
                    <a:lumOff val="25000"/>
                  </a:schemeClr>
                </a:solidFill>
              </a:rPr>
              <a:t>The objective of the MoC workstream </a:t>
            </a:r>
            <a:r>
              <a:rPr lang="en-US" sz="2800" smtClean="0">
                <a:solidFill>
                  <a:schemeClr val="tx1">
                    <a:lumMod val="75000"/>
                    <a:lumOff val="25000"/>
                  </a:schemeClr>
                </a:solidFill>
              </a:rPr>
              <a:t>is to </a:t>
            </a:r>
            <a:r>
              <a:rPr lang="en-US" altLang="zh-CN" sz="2800" smtClean="0">
                <a:solidFill>
                  <a:schemeClr val="tx1">
                    <a:lumMod val="75000"/>
                    <a:lumOff val="25000"/>
                  </a:schemeClr>
                </a:solidFill>
                <a:cs typeface="方正姚体"/>
              </a:rPr>
              <a:t>design and implement KSA’s future healthcare delivery system</a:t>
            </a:r>
            <a:endParaRPr lang="en-GB" sz="2800" smtClean="0">
              <a:solidFill>
                <a:schemeClr val="tx1">
                  <a:lumMod val="75000"/>
                  <a:lumOff val="25000"/>
                </a:schemeClr>
              </a:solidFill>
            </a:endParaRPr>
          </a:p>
        </p:txBody>
      </p:sp>
      <p:sp>
        <p:nvSpPr>
          <p:cNvPr id="14" name="Rectangle 13">
            <a:extLst>
              <a:ext uri="{FF2B5EF4-FFF2-40B4-BE49-F238E27FC236}"/>
            </a:extLst>
          </p:cNvPr>
          <p:cNvSpPr/>
          <p:nvPr/>
        </p:nvSpPr>
        <p:spPr>
          <a:xfrm rot="5400000">
            <a:off x="7662863" y="2854325"/>
            <a:ext cx="1739900" cy="355600"/>
          </a:xfrm>
          <a:prstGeom prst="rect">
            <a:avLst/>
          </a:prstGeom>
          <a:noFill/>
          <a:ln w="38100" cap="flat" cmpd="sng" algn="ctr">
            <a:solidFill>
              <a:schemeClr val="bg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nchor="ctr"/>
          <a:lstStyle/>
          <a:p>
            <a:pPr algn="ctr">
              <a:lnSpc>
                <a:spcPct val="90000"/>
              </a:lnSpc>
              <a:spcBef>
                <a:spcPts val="900"/>
              </a:spcBef>
              <a:defRPr/>
            </a:pPr>
            <a:r>
              <a:rPr lang="en-US" sz="1600" b="1" dirty="0">
                <a:solidFill>
                  <a:schemeClr val="tx1"/>
                </a:solidFill>
                <a:latin typeface="Arial" panose="020B0604020202020204" pitchFamily="34" charset="0"/>
                <a:cs typeface="Arial" pitchFamily="34" charset="0"/>
              </a:rPr>
              <a:t>Transformation</a:t>
            </a:r>
          </a:p>
        </p:txBody>
      </p:sp>
      <p:sp>
        <p:nvSpPr>
          <p:cNvPr id="16" name="Rectangle 15">
            <a:extLst>
              <a:ext uri="{FF2B5EF4-FFF2-40B4-BE49-F238E27FC236}"/>
            </a:extLst>
          </p:cNvPr>
          <p:cNvSpPr/>
          <p:nvPr/>
        </p:nvSpPr>
        <p:spPr>
          <a:xfrm rot="5400000">
            <a:off x="7736681" y="5337969"/>
            <a:ext cx="1582738" cy="355600"/>
          </a:xfrm>
          <a:prstGeom prst="rect">
            <a:avLst/>
          </a:prstGeom>
          <a:noFill/>
          <a:ln w="38100" cap="flat" cmpd="sng" algn="ctr">
            <a:solidFill>
              <a:schemeClr val="accent4"/>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nchor="ctr"/>
          <a:lstStyle/>
          <a:p>
            <a:pPr algn="ctr">
              <a:lnSpc>
                <a:spcPct val="90000"/>
              </a:lnSpc>
              <a:spcBef>
                <a:spcPts val="900"/>
              </a:spcBef>
              <a:defRPr/>
            </a:pPr>
            <a:r>
              <a:rPr lang="en-US" sz="1600" b="1" dirty="0">
                <a:solidFill>
                  <a:schemeClr val="tx1"/>
                </a:solidFill>
                <a:latin typeface="Arial" panose="020B0604020202020204" pitchFamily="34" charset="0"/>
                <a:cs typeface="Arial" pitchFamily="34" charset="0"/>
              </a:rPr>
              <a:t>End state</a:t>
            </a:r>
          </a:p>
        </p:txBody>
      </p:sp>
      <p:sp>
        <p:nvSpPr>
          <p:cNvPr id="5" name="Rectangle 4"/>
          <p:cNvSpPr/>
          <p:nvPr/>
        </p:nvSpPr>
        <p:spPr>
          <a:xfrm>
            <a:off x="4392613" y="2057400"/>
            <a:ext cx="3597275" cy="3556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nchor="ctr"/>
          <a:lstStyle/>
          <a:p>
            <a:pPr algn="ctr">
              <a:lnSpc>
                <a:spcPct val="90000"/>
              </a:lnSpc>
              <a:spcBef>
                <a:spcPts val="900"/>
              </a:spcBef>
              <a:defRPr/>
            </a:pPr>
            <a:r>
              <a:rPr lang="en-GB" sz="1600" b="1" dirty="0" err="1">
                <a:solidFill>
                  <a:schemeClr val="bg1"/>
                </a:solidFill>
                <a:latin typeface="Arial" panose="020B0604020202020204" pitchFamily="34" charset="0"/>
                <a:cs typeface="Arial" pitchFamily="34" charset="0"/>
              </a:rPr>
              <a:t>MoC</a:t>
            </a:r>
            <a:r>
              <a:rPr lang="en-GB" sz="1600" b="1" dirty="0">
                <a:solidFill>
                  <a:schemeClr val="bg1"/>
                </a:solidFill>
                <a:latin typeface="Arial" panose="020B0604020202020204" pitchFamily="34" charset="0"/>
                <a:cs typeface="Arial" pitchFamily="34" charset="0"/>
              </a:rPr>
              <a:t> implementation support</a:t>
            </a:r>
          </a:p>
        </p:txBody>
      </p:sp>
      <p:sp>
        <p:nvSpPr>
          <p:cNvPr id="6" name="Rectangle 5"/>
          <p:cNvSpPr/>
          <p:nvPr/>
        </p:nvSpPr>
        <p:spPr>
          <a:xfrm>
            <a:off x="4392613" y="2413000"/>
            <a:ext cx="3597275" cy="1844675"/>
          </a:xfrm>
          <a:prstGeom prst="rect">
            <a:avLst/>
          </a:prstGeom>
          <a:gradFill flip="none" rotWithShape="1">
            <a:gsLst>
              <a:gs pos="0">
                <a:schemeClr val="bg1"/>
              </a:gs>
              <a:gs pos="100000">
                <a:schemeClr val="tx2">
                  <a:lumMod val="10000"/>
                  <a:lumOff val="90000"/>
                </a:schemeClr>
              </a:gs>
              <a:gs pos="100000">
                <a:schemeClr val="accent1">
                  <a:lumMod val="45000"/>
                  <a:lumOff val="55000"/>
                </a:schemeClr>
              </a:gs>
              <a:gs pos="100000">
                <a:schemeClr val="accent1">
                  <a:lumMod val="30000"/>
                  <a:lumOff val="70000"/>
                </a:schemeClr>
              </a:gs>
            </a:gsLst>
            <a:lin ang="16200000" scaled="1"/>
            <a:tileRect/>
          </a:gra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lstStyle/>
          <a:p>
            <a:pPr marL="182880" indent="-109220">
              <a:lnSpc>
                <a:spcPct val="90000"/>
              </a:lnSpc>
              <a:spcBef>
                <a:spcPts val="1200"/>
              </a:spcBef>
              <a:buClr>
                <a:schemeClr val="bg2"/>
              </a:buClr>
              <a:buFontTx/>
              <a:buChar char="•"/>
              <a:defRPr/>
            </a:pPr>
            <a:r>
              <a:rPr lang="en-GB" sz="1400" dirty="0">
                <a:solidFill>
                  <a:schemeClr val="tx1"/>
                </a:solidFill>
                <a:latin typeface="Arial" pitchFamily="34" charset="0"/>
                <a:cs typeface="Arial" pitchFamily="34" charset="0"/>
              </a:rPr>
              <a:t>Pilot preparation and implementation</a:t>
            </a:r>
          </a:p>
          <a:p>
            <a:pPr marL="182880" indent="-109220">
              <a:lnSpc>
                <a:spcPct val="90000"/>
              </a:lnSpc>
              <a:spcBef>
                <a:spcPts val="1200"/>
              </a:spcBef>
              <a:buClr>
                <a:schemeClr val="bg2"/>
              </a:buClr>
              <a:buFontTx/>
              <a:buChar char="•"/>
              <a:defRPr/>
            </a:pPr>
            <a:r>
              <a:rPr lang="en-GB" sz="1400" dirty="0">
                <a:solidFill>
                  <a:schemeClr val="tx1"/>
                </a:solidFill>
                <a:latin typeface="Arial" pitchFamily="34" charset="0"/>
                <a:cs typeface="Arial" pitchFamily="34" charset="0"/>
              </a:rPr>
              <a:t>Rollout planning</a:t>
            </a:r>
          </a:p>
          <a:p>
            <a:pPr marL="182880" indent="-109220">
              <a:lnSpc>
                <a:spcPct val="90000"/>
              </a:lnSpc>
              <a:spcBef>
                <a:spcPts val="1200"/>
              </a:spcBef>
              <a:buClr>
                <a:schemeClr val="bg2"/>
              </a:buClr>
              <a:buFontTx/>
              <a:buChar char="•"/>
              <a:defRPr/>
            </a:pPr>
            <a:r>
              <a:rPr lang="en-GB" sz="1400" dirty="0">
                <a:solidFill>
                  <a:schemeClr val="tx1"/>
                </a:solidFill>
                <a:latin typeface="Arial" pitchFamily="34" charset="0"/>
                <a:cs typeface="Arial" pitchFamily="34" charset="0"/>
              </a:rPr>
              <a:t>National rollout</a:t>
            </a:r>
          </a:p>
          <a:p>
            <a:pPr marL="182880" indent="-109220">
              <a:lnSpc>
                <a:spcPct val="90000"/>
              </a:lnSpc>
              <a:spcBef>
                <a:spcPts val="1200"/>
              </a:spcBef>
              <a:buClr>
                <a:schemeClr val="bg2"/>
              </a:buClr>
              <a:buFontTx/>
              <a:buChar char="•"/>
              <a:defRPr/>
            </a:pPr>
            <a:r>
              <a:rPr lang="en-GB" sz="1400" dirty="0">
                <a:solidFill>
                  <a:schemeClr val="tx1"/>
                </a:solidFill>
                <a:latin typeface="Arial" pitchFamily="34" charset="0"/>
                <a:cs typeface="Arial" pitchFamily="34" charset="0"/>
              </a:rPr>
              <a:t>Continuous implementation tracking and validation</a:t>
            </a:r>
          </a:p>
        </p:txBody>
      </p:sp>
      <p:sp>
        <p:nvSpPr>
          <p:cNvPr id="9" name="Oval 8">
            <a:extLst>
              <a:ext uri="{FF2B5EF4-FFF2-40B4-BE49-F238E27FC236}"/>
            </a:extLst>
          </p:cNvPr>
          <p:cNvSpPr/>
          <p:nvPr/>
        </p:nvSpPr>
        <p:spPr>
          <a:xfrm>
            <a:off x="4430713" y="2087563"/>
            <a:ext cx="254000" cy="255587"/>
          </a:xfrm>
          <a:prstGeom prst="ellipse">
            <a:avLst/>
          </a:prstGeom>
          <a:solidFill>
            <a:schemeClr val="bg1"/>
          </a:solid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sz="1600" b="1" dirty="0">
                <a:solidFill>
                  <a:schemeClr val="tx1"/>
                </a:solidFill>
                <a:latin typeface="Arial" panose="020B0604020202020204" pitchFamily="34" charset="0"/>
                <a:cs typeface="Arial" pitchFamily="34" charset="0"/>
              </a:rPr>
              <a:t>2</a:t>
            </a:r>
          </a:p>
        </p:txBody>
      </p:sp>
      <p:sp>
        <p:nvSpPr>
          <p:cNvPr id="23" name="Rectangle 22">
            <a:extLst>
              <a:ext uri="{FF2B5EF4-FFF2-40B4-BE49-F238E27FC236}"/>
            </a:extLst>
          </p:cNvPr>
          <p:cNvSpPr/>
          <p:nvPr/>
        </p:nvSpPr>
        <p:spPr>
          <a:xfrm>
            <a:off x="4392613" y="4725988"/>
            <a:ext cx="3597275" cy="1811337"/>
          </a:xfrm>
          <a:prstGeom prst="rect">
            <a:avLst/>
          </a:prstGeom>
          <a:gradFill flip="none" rotWithShape="1">
            <a:gsLst>
              <a:gs pos="0">
                <a:schemeClr val="bg1"/>
              </a:gs>
              <a:gs pos="100000">
                <a:schemeClr val="accent3"/>
              </a:gs>
            </a:gsLst>
            <a:lin ang="16200000" scaled="1"/>
            <a:tileRect/>
          </a:gra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lstStyle/>
          <a:p>
            <a:pPr marL="270934" indent="-157520">
              <a:lnSpc>
                <a:spcPct val="90000"/>
              </a:lnSpc>
              <a:spcBef>
                <a:spcPts val="600"/>
              </a:spcBef>
              <a:buClr>
                <a:schemeClr val="bg2"/>
              </a:buClr>
              <a:buSzPct val="100000"/>
              <a:buFont typeface="Arial" panose="020B0604020202020204" pitchFamily="34" charset="0"/>
              <a:buChar char="–"/>
              <a:defRPr/>
            </a:pPr>
            <a:r>
              <a:rPr lang="en-GB" sz="1400" dirty="0">
                <a:solidFill>
                  <a:schemeClr val="tx1"/>
                </a:solidFill>
                <a:latin typeface="Arial" pitchFamily="34" charset="0"/>
                <a:cs typeface="Arial" pitchFamily="34" charset="0"/>
              </a:rPr>
              <a:t>Provider performance data and feedback gathering (KPI’s)</a:t>
            </a:r>
          </a:p>
          <a:p>
            <a:pPr marL="270934" indent="-157520">
              <a:lnSpc>
                <a:spcPct val="90000"/>
              </a:lnSpc>
              <a:spcBef>
                <a:spcPts val="600"/>
              </a:spcBef>
              <a:buClr>
                <a:schemeClr val="bg2"/>
              </a:buClr>
              <a:buSzPct val="100000"/>
              <a:buFont typeface="Arial" panose="020B0604020202020204" pitchFamily="34" charset="0"/>
              <a:buChar char="–"/>
              <a:defRPr/>
            </a:pPr>
            <a:r>
              <a:rPr lang="en-GB" sz="1400" dirty="0">
                <a:solidFill>
                  <a:schemeClr val="tx1"/>
                </a:solidFill>
                <a:latin typeface="Arial" pitchFamily="34" charset="0"/>
                <a:cs typeface="Arial" pitchFamily="34" charset="0"/>
              </a:rPr>
              <a:t>Inspection and monitoring of </a:t>
            </a:r>
            <a:r>
              <a:rPr lang="en-GB" sz="1400" dirty="0" err="1">
                <a:solidFill>
                  <a:schemeClr val="tx1"/>
                </a:solidFill>
                <a:latin typeface="Arial" pitchFamily="34" charset="0"/>
                <a:cs typeface="Arial" pitchFamily="34" charset="0"/>
              </a:rPr>
              <a:t>MoC</a:t>
            </a:r>
            <a:r>
              <a:rPr lang="en-GB" sz="1400" dirty="0">
                <a:solidFill>
                  <a:schemeClr val="tx1"/>
                </a:solidFill>
                <a:latin typeface="Arial" pitchFamily="34" charset="0"/>
                <a:cs typeface="Arial" pitchFamily="34" charset="0"/>
              </a:rPr>
              <a:t> pathways compliance at providers</a:t>
            </a:r>
          </a:p>
          <a:p>
            <a:pPr marL="270934" indent="-157520">
              <a:lnSpc>
                <a:spcPct val="90000"/>
              </a:lnSpc>
              <a:spcBef>
                <a:spcPts val="600"/>
              </a:spcBef>
              <a:buClr>
                <a:schemeClr val="bg2"/>
              </a:buClr>
              <a:buSzPct val="100000"/>
              <a:buFont typeface="Arial" panose="020B0604020202020204" pitchFamily="34" charset="0"/>
              <a:buChar char="–"/>
              <a:defRPr/>
            </a:pPr>
            <a:r>
              <a:rPr lang="en-GB" sz="1400" dirty="0" err="1">
                <a:solidFill>
                  <a:schemeClr val="tx1"/>
                </a:solidFill>
                <a:latin typeface="Arial" pitchFamily="34" charset="0"/>
                <a:cs typeface="Arial" pitchFamily="34" charset="0"/>
              </a:rPr>
              <a:t>MoC</a:t>
            </a:r>
            <a:r>
              <a:rPr lang="en-GB" sz="1400" dirty="0">
                <a:solidFill>
                  <a:schemeClr val="tx1"/>
                </a:solidFill>
                <a:latin typeface="Arial" pitchFamily="34" charset="0"/>
                <a:cs typeface="Arial" pitchFamily="34" charset="0"/>
              </a:rPr>
              <a:t> compliance licensing</a:t>
            </a:r>
          </a:p>
        </p:txBody>
      </p:sp>
      <p:sp>
        <p:nvSpPr>
          <p:cNvPr id="7" name="Rectangle 6"/>
          <p:cNvSpPr/>
          <p:nvPr/>
        </p:nvSpPr>
        <p:spPr>
          <a:xfrm>
            <a:off x="431800" y="2057400"/>
            <a:ext cx="3598863" cy="355600"/>
          </a:xfrm>
          <a:prstGeom prst="rect">
            <a:avLst/>
          </a:prstGeom>
          <a:solidFill>
            <a:schemeClr val="bg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nchor="ctr"/>
          <a:lstStyle/>
          <a:p>
            <a:pPr algn="ctr">
              <a:lnSpc>
                <a:spcPct val="90000"/>
              </a:lnSpc>
              <a:spcBef>
                <a:spcPts val="900"/>
              </a:spcBef>
              <a:defRPr/>
            </a:pPr>
            <a:r>
              <a:rPr lang="en-GB" sz="1600" b="1" dirty="0" err="1">
                <a:solidFill>
                  <a:schemeClr val="bg1"/>
                </a:solidFill>
                <a:latin typeface="Arial" panose="020B0604020202020204" pitchFamily="34" charset="0"/>
                <a:cs typeface="Arial" pitchFamily="34" charset="0"/>
              </a:rPr>
              <a:t>MoC</a:t>
            </a:r>
            <a:r>
              <a:rPr lang="en-GB" sz="1600" b="1" dirty="0">
                <a:solidFill>
                  <a:schemeClr val="bg1"/>
                </a:solidFill>
                <a:latin typeface="Arial" panose="020B0604020202020204" pitchFamily="34" charset="0"/>
                <a:cs typeface="Arial" pitchFamily="34" charset="0"/>
              </a:rPr>
              <a:t> design</a:t>
            </a:r>
          </a:p>
        </p:txBody>
      </p:sp>
      <p:sp>
        <p:nvSpPr>
          <p:cNvPr id="2" name="Oval 1">
            <a:extLst>
              <a:ext uri="{FF2B5EF4-FFF2-40B4-BE49-F238E27FC236}"/>
            </a:extLst>
          </p:cNvPr>
          <p:cNvSpPr/>
          <p:nvPr/>
        </p:nvSpPr>
        <p:spPr>
          <a:xfrm>
            <a:off x="476250" y="2087563"/>
            <a:ext cx="254000" cy="255587"/>
          </a:xfrm>
          <a:prstGeom prst="ellipse">
            <a:avLst/>
          </a:prstGeom>
          <a:solidFill>
            <a:schemeClr val="bg1"/>
          </a:solidFill>
          <a:ln w="6350"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sz="1600" b="1" dirty="0">
                <a:solidFill>
                  <a:schemeClr val="tx1"/>
                </a:solidFill>
                <a:latin typeface="Arial" panose="020B0604020202020204" pitchFamily="34" charset="0"/>
                <a:cs typeface="Arial" pitchFamily="34" charset="0"/>
              </a:rPr>
              <a:t>1</a:t>
            </a:r>
          </a:p>
        </p:txBody>
      </p:sp>
      <p:sp>
        <p:nvSpPr>
          <p:cNvPr id="19" name="Rectangle 18">
            <a:extLst>
              <a:ext uri="{FF2B5EF4-FFF2-40B4-BE49-F238E27FC236}"/>
            </a:extLst>
          </p:cNvPr>
          <p:cNvSpPr/>
          <p:nvPr/>
        </p:nvSpPr>
        <p:spPr>
          <a:xfrm>
            <a:off x="431800" y="4725988"/>
            <a:ext cx="3598863" cy="1811337"/>
          </a:xfrm>
          <a:prstGeom prst="rect">
            <a:avLst/>
          </a:prstGeom>
          <a:gradFill flip="none" rotWithShape="1">
            <a:gsLst>
              <a:gs pos="0">
                <a:schemeClr val="bg1"/>
              </a:gs>
              <a:gs pos="100000">
                <a:schemeClr val="accent3"/>
              </a:gs>
            </a:gsLst>
            <a:lin ang="16200000" scaled="1"/>
            <a:tileRect/>
          </a:gra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tIns="71120" rIns="71120" bIns="71120"/>
          <a:lstStyle/>
          <a:p>
            <a:pPr marL="270934" indent="-157520">
              <a:lnSpc>
                <a:spcPct val="90000"/>
              </a:lnSpc>
              <a:spcBef>
                <a:spcPts val="600"/>
              </a:spcBef>
              <a:buClr>
                <a:schemeClr val="bg2"/>
              </a:buClr>
              <a:buSzPct val="100000"/>
              <a:buFont typeface="Arial" panose="020B0604020202020204" pitchFamily="34" charset="0"/>
              <a:buChar char="–"/>
              <a:defRPr/>
            </a:pPr>
            <a:r>
              <a:rPr lang="en-GB" sz="1400" dirty="0">
                <a:solidFill>
                  <a:schemeClr val="tx1"/>
                </a:solidFill>
                <a:latin typeface="Arial" pitchFamily="34" charset="0"/>
                <a:cs typeface="Arial" pitchFamily="34" charset="0"/>
              </a:rPr>
              <a:t>Design performance data gathering</a:t>
            </a:r>
          </a:p>
          <a:p>
            <a:pPr marL="270934" indent="-157520">
              <a:lnSpc>
                <a:spcPct val="90000"/>
              </a:lnSpc>
              <a:spcBef>
                <a:spcPts val="600"/>
              </a:spcBef>
              <a:buClr>
                <a:schemeClr val="bg2"/>
              </a:buClr>
              <a:buSzPct val="100000"/>
              <a:buFont typeface="Arial" panose="020B0604020202020204" pitchFamily="34" charset="0"/>
              <a:buChar char="–"/>
              <a:defRPr/>
            </a:pPr>
            <a:r>
              <a:rPr lang="en-GB" sz="1400" dirty="0">
                <a:solidFill>
                  <a:schemeClr val="tx1"/>
                </a:solidFill>
                <a:latin typeface="Arial" pitchFamily="34" charset="0"/>
                <a:cs typeface="Arial" pitchFamily="34" charset="0"/>
              </a:rPr>
              <a:t>Gaps and improvements identification</a:t>
            </a:r>
          </a:p>
          <a:p>
            <a:pPr marL="270934" indent="-157520">
              <a:lnSpc>
                <a:spcPct val="90000"/>
              </a:lnSpc>
              <a:spcBef>
                <a:spcPts val="600"/>
              </a:spcBef>
              <a:buClr>
                <a:schemeClr val="bg2"/>
              </a:buClr>
              <a:buSzPct val="100000"/>
              <a:buFont typeface="Arial" panose="020B0604020202020204" pitchFamily="34" charset="0"/>
              <a:buChar char="–"/>
              <a:defRPr/>
            </a:pPr>
            <a:r>
              <a:rPr lang="en-GB" sz="1400" dirty="0">
                <a:solidFill>
                  <a:schemeClr val="tx1"/>
                </a:solidFill>
                <a:latin typeface="Arial" pitchFamily="34" charset="0"/>
                <a:cs typeface="Arial" pitchFamily="34" charset="0"/>
              </a:rPr>
              <a:t>Research, R&amp;D, Training &amp; Certification</a:t>
            </a:r>
          </a:p>
          <a:p>
            <a:pPr marL="270934" indent="-157520">
              <a:lnSpc>
                <a:spcPct val="90000"/>
              </a:lnSpc>
              <a:spcBef>
                <a:spcPts val="600"/>
              </a:spcBef>
              <a:buClr>
                <a:schemeClr val="bg2"/>
              </a:buClr>
              <a:buSzPct val="100000"/>
              <a:buFont typeface="Arial" panose="020B0604020202020204" pitchFamily="34" charset="0"/>
              <a:buChar char="–"/>
              <a:defRPr/>
            </a:pPr>
            <a:r>
              <a:rPr lang="en-GB" sz="1400" dirty="0">
                <a:solidFill>
                  <a:schemeClr val="tx1"/>
                </a:solidFill>
                <a:latin typeface="Arial" pitchFamily="34" charset="0"/>
                <a:cs typeface="Arial" pitchFamily="34" charset="0"/>
              </a:rPr>
              <a:t>Scheduled design revisions &amp; updates</a:t>
            </a:r>
          </a:p>
          <a:p>
            <a:pPr marL="270934" indent="-157520">
              <a:lnSpc>
                <a:spcPct val="90000"/>
              </a:lnSpc>
              <a:spcBef>
                <a:spcPts val="600"/>
              </a:spcBef>
              <a:buClr>
                <a:schemeClr val="bg2"/>
              </a:buClr>
              <a:buSzPct val="100000"/>
              <a:buFont typeface="Arial" panose="020B0604020202020204" pitchFamily="34" charset="0"/>
              <a:buChar char="–"/>
              <a:defRPr/>
            </a:pPr>
            <a:r>
              <a:rPr lang="en-GB" sz="1400" dirty="0" err="1">
                <a:solidFill>
                  <a:schemeClr val="tx1"/>
                </a:solidFill>
                <a:latin typeface="Arial" pitchFamily="34" charset="0"/>
                <a:cs typeface="Arial" pitchFamily="34" charset="0"/>
              </a:rPr>
              <a:t>MoC</a:t>
            </a:r>
            <a:r>
              <a:rPr lang="en-GB" sz="1400" dirty="0">
                <a:solidFill>
                  <a:schemeClr val="tx1"/>
                </a:solidFill>
                <a:latin typeface="Arial" pitchFamily="34" charset="0"/>
                <a:cs typeface="Arial" pitchFamily="34" charset="0"/>
              </a:rPr>
              <a:t> consultancy services</a:t>
            </a:r>
          </a:p>
          <a:p>
            <a:pPr marL="270934" indent="-157520">
              <a:lnSpc>
                <a:spcPct val="90000"/>
              </a:lnSpc>
              <a:spcBef>
                <a:spcPts val="600"/>
              </a:spcBef>
              <a:buClr>
                <a:schemeClr val="bg2"/>
              </a:buClr>
              <a:buSzPct val="100000"/>
              <a:buFont typeface="Arial" panose="020B0604020202020204" pitchFamily="34" charset="0"/>
              <a:buChar char="–"/>
              <a:defRPr/>
            </a:pPr>
            <a:r>
              <a:rPr lang="en-GB" sz="1400" dirty="0">
                <a:solidFill>
                  <a:schemeClr val="tx1"/>
                </a:solidFill>
                <a:latin typeface="Arial" pitchFamily="34" charset="0"/>
                <a:cs typeface="Arial" pitchFamily="34" charset="0"/>
              </a:rPr>
              <a:t>Advocating for implementation of design updates</a:t>
            </a:r>
          </a:p>
        </p:txBody>
      </p:sp>
      <p:sp>
        <p:nvSpPr>
          <p:cNvPr id="28" name="Rectangle 27">
            <a:extLst>
              <a:ext uri="{FF2B5EF4-FFF2-40B4-BE49-F238E27FC236}"/>
            </a:extLst>
          </p:cNvPr>
          <p:cNvSpPr/>
          <p:nvPr/>
        </p:nvSpPr>
        <p:spPr>
          <a:xfrm>
            <a:off x="431800" y="2413000"/>
            <a:ext cx="3598863" cy="1844675"/>
          </a:xfrm>
          <a:prstGeom prst="rect">
            <a:avLst/>
          </a:prstGeom>
          <a:gradFill flip="none" rotWithShape="1">
            <a:gsLst>
              <a:gs pos="0">
                <a:schemeClr val="bg1"/>
              </a:gs>
              <a:gs pos="100000">
                <a:schemeClr val="tx2">
                  <a:lumMod val="10000"/>
                  <a:lumOff val="90000"/>
                </a:schemeClr>
              </a:gs>
              <a:gs pos="100000">
                <a:schemeClr val="accent1">
                  <a:lumMod val="45000"/>
                  <a:lumOff val="55000"/>
                </a:schemeClr>
              </a:gs>
              <a:gs pos="100000">
                <a:schemeClr val="accent1">
                  <a:lumMod val="30000"/>
                  <a:lumOff val="70000"/>
                </a:schemeClr>
              </a:gs>
            </a:gsLst>
            <a:lin ang="16200000" scaled="1"/>
            <a:tileRect/>
          </a:gra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lstStyle/>
          <a:p>
            <a:pPr marL="182880" indent="-109220">
              <a:lnSpc>
                <a:spcPct val="90000"/>
              </a:lnSpc>
              <a:spcBef>
                <a:spcPts val="1200"/>
              </a:spcBef>
              <a:buClr>
                <a:schemeClr val="bg2"/>
              </a:buClr>
              <a:buFontTx/>
              <a:buChar char="•"/>
              <a:defRPr/>
            </a:pPr>
            <a:r>
              <a:rPr lang="en-GB" sz="1400" dirty="0">
                <a:solidFill>
                  <a:schemeClr val="tx1"/>
                </a:solidFill>
                <a:latin typeface="Arial" pitchFamily="34" charset="0"/>
                <a:cs typeface="Arial" pitchFamily="34" charset="0"/>
              </a:rPr>
              <a:t>Data gathering and conceptualization</a:t>
            </a:r>
          </a:p>
          <a:p>
            <a:pPr marL="182880" indent="-109220">
              <a:lnSpc>
                <a:spcPct val="90000"/>
              </a:lnSpc>
              <a:spcBef>
                <a:spcPts val="1200"/>
              </a:spcBef>
              <a:buClr>
                <a:schemeClr val="bg2"/>
              </a:buClr>
              <a:buFontTx/>
              <a:buChar char="•"/>
              <a:defRPr/>
            </a:pPr>
            <a:r>
              <a:rPr lang="en-GB" sz="1400" dirty="0" err="1">
                <a:solidFill>
                  <a:schemeClr val="tx1"/>
                </a:solidFill>
                <a:latin typeface="Arial" pitchFamily="34" charset="0"/>
                <a:cs typeface="Arial" pitchFamily="34" charset="0"/>
              </a:rPr>
              <a:t>MoC</a:t>
            </a:r>
            <a:r>
              <a:rPr lang="en-GB" sz="1400" dirty="0">
                <a:solidFill>
                  <a:schemeClr val="tx1"/>
                </a:solidFill>
                <a:latin typeface="Arial" pitchFamily="34" charset="0"/>
                <a:cs typeface="Arial" pitchFamily="34" charset="0"/>
              </a:rPr>
              <a:t> design</a:t>
            </a:r>
          </a:p>
          <a:p>
            <a:pPr marL="182880" indent="-109220">
              <a:lnSpc>
                <a:spcPct val="90000"/>
              </a:lnSpc>
              <a:spcBef>
                <a:spcPts val="1200"/>
              </a:spcBef>
              <a:buClr>
                <a:schemeClr val="bg2"/>
              </a:buClr>
              <a:buFontTx/>
              <a:buChar char="•"/>
              <a:defRPr/>
            </a:pPr>
            <a:r>
              <a:rPr lang="en-GB" sz="1400" dirty="0">
                <a:solidFill>
                  <a:schemeClr val="tx1"/>
                </a:solidFill>
                <a:latin typeface="Arial" pitchFamily="34" charset="0"/>
                <a:cs typeface="Arial" pitchFamily="34" charset="0"/>
              </a:rPr>
              <a:t>Consensus generation &amp; validation</a:t>
            </a:r>
          </a:p>
          <a:p>
            <a:pPr marL="182880" indent="-109220">
              <a:lnSpc>
                <a:spcPct val="90000"/>
              </a:lnSpc>
              <a:spcBef>
                <a:spcPts val="1200"/>
              </a:spcBef>
              <a:buClr>
                <a:schemeClr val="bg2"/>
              </a:buClr>
              <a:buFontTx/>
              <a:buChar char="•"/>
              <a:defRPr/>
            </a:pPr>
            <a:r>
              <a:rPr lang="en-GB" sz="1400" dirty="0">
                <a:solidFill>
                  <a:schemeClr val="tx1"/>
                </a:solidFill>
                <a:latin typeface="Arial" pitchFamily="34" charset="0"/>
                <a:cs typeface="Arial" pitchFamily="34" charset="0"/>
              </a:rPr>
              <a:t>Continuous design improvement</a:t>
            </a:r>
          </a:p>
        </p:txBody>
      </p:sp>
      <p:sp>
        <p:nvSpPr>
          <p:cNvPr id="26" name="Rectangle 25">
            <a:extLst>
              <a:ext uri="{FF2B5EF4-FFF2-40B4-BE49-F238E27FC236}"/>
            </a:extLst>
          </p:cNvPr>
          <p:cNvSpPr/>
          <p:nvPr/>
        </p:nvSpPr>
        <p:spPr>
          <a:xfrm>
            <a:off x="431800" y="3471863"/>
            <a:ext cx="7558088" cy="461962"/>
          </a:xfrm>
          <a:prstGeom prst="rect">
            <a:avLst/>
          </a:prstGeom>
          <a:noFill/>
          <a:ln w="38100" cap="flat">
            <a:solidFill>
              <a:schemeClr val="accent4"/>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a:lnSpc>
                <a:spcPct val="90000"/>
              </a:lnSpc>
              <a:spcBef>
                <a:spcPts val="900"/>
              </a:spcBef>
              <a:defRPr/>
            </a:pPr>
            <a:endParaRPr lang="en-US" sz="1400" dirty="0" err="1">
              <a:solidFill>
                <a:schemeClr val="bg1"/>
              </a:solidFill>
              <a:latin typeface="Arial" pitchFamily="34" charset="0"/>
              <a:cs typeface="Arial" pitchFamily="34" charset="0"/>
            </a:endParaRPr>
          </a:p>
        </p:txBody>
      </p:sp>
      <p:sp>
        <p:nvSpPr>
          <p:cNvPr id="27" name="Rectangle 26">
            <a:extLst>
              <a:ext uri="{FF2B5EF4-FFF2-40B4-BE49-F238E27FC236}"/>
            </a:extLst>
          </p:cNvPr>
          <p:cNvSpPr/>
          <p:nvPr/>
        </p:nvSpPr>
        <p:spPr>
          <a:xfrm>
            <a:off x="4392613" y="4359275"/>
            <a:ext cx="3597275" cy="355600"/>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nchor="ctr"/>
          <a:lstStyle/>
          <a:p>
            <a:pPr algn="ctr">
              <a:lnSpc>
                <a:spcPct val="90000"/>
              </a:lnSpc>
              <a:spcBef>
                <a:spcPts val="900"/>
              </a:spcBef>
              <a:defRPr/>
            </a:pPr>
            <a:r>
              <a:rPr lang="en-GB" sz="1600" b="1" dirty="0">
                <a:solidFill>
                  <a:schemeClr val="bg1"/>
                </a:solidFill>
                <a:latin typeface="Arial" panose="020B0604020202020204" pitchFamily="34" charset="0"/>
                <a:cs typeface="Arial" pitchFamily="34" charset="0"/>
              </a:rPr>
              <a:t>Continuous compliance monitoring</a:t>
            </a:r>
          </a:p>
        </p:txBody>
      </p:sp>
      <p:sp>
        <p:nvSpPr>
          <p:cNvPr id="29" name="Rectangle 28">
            <a:extLst>
              <a:ext uri="{FF2B5EF4-FFF2-40B4-BE49-F238E27FC236}"/>
            </a:extLst>
          </p:cNvPr>
          <p:cNvSpPr/>
          <p:nvPr/>
        </p:nvSpPr>
        <p:spPr>
          <a:xfrm>
            <a:off x="431800" y="4359275"/>
            <a:ext cx="3598863" cy="355600"/>
          </a:xfrm>
          <a:prstGeom prst="rect">
            <a:avLst/>
          </a:prstGeom>
          <a:solidFill>
            <a:schemeClr val="accent4"/>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nchor="ctr"/>
          <a:lstStyle/>
          <a:p>
            <a:pPr algn="ctr">
              <a:lnSpc>
                <a:spcPct val="90000"/>
              </a:lnSpc>
              <a:spcBef>
                <a:spcPts val="900"/>
              </a:spcBef>
              <a:defRPr/>
            </a:pPr>
            <a:r>
              <a:rPr lang="en-GB" sz="1600" b="1" dirty="0">
                <a:solidFill>
                  <a:schemeClr val="bg1"/>
                </a:solidFill>
                <a:latin typeface="Arial" panose="020B0604020202020204" pitchFamily="34" charset="0"/>
                <a:cs typeface="Arial" pitchFamily="34" charset="0"/>
              </a:rPr>
              <a:t>Continuous design improvement</a:t>
            </a:r>
          </a:p>
        </p:txBody>
      </p:sp>
      <p:sp>
        <p:nvSpPr>
          <p:cNvPr id="8" name="Isosceles Triangle 7">
            <a:extLst>
              <a:ext uri="{FF2B5EF4-FFF2-40B4-BE49-F238E27FC236}"/>
            </a:extLst>
          </p:cNvPr>
          <p:cNvSpPr/>
          <p:nvPr/>
        </p:nvSpPr>
        <p:spPr>
          <a:xfrm rot="10800000">
            <a:off x="3059113" y="4068763"/>
            <a:ext cx="2305050" cy="152400"/>
          </a:xfrm>
          <a:prstGeom prst="triangle">
            <a:avLst/>
          </a:prstGeom>
          <a:solidFill>
            <a:schemeClr val="accent4"/>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a:lnSpc>
                <a:spcPct val="90000"/>
              </a:lnSpc>
              <a:spcBef>
                <a:spcPts val="900"/>
              </a:spcBef>
              <a:defRPr/>
            </a:pPr>
            <a:endParaRPr lang="en-US" sz="16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9649" name="TextBox 20"/>
          <p:cNvSpPr txBox="1">
            <a:spLocks noChangeArrowheads="1"/>
          </p:cNvSpPr>
          <p:nvPr/>
        </p:nvSpPr>
        <p:spPr bwMode="auto">
          <a:xfrm>
            <a:off x="244475" y="1628775"/>
            <a:ext cx="6840538" cy="249238"/>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r>
              <a:rPr lang="en-US" sz="1800" b="1">
                <a:solidFill>
                  <a:schemeClr val="tx1"/>
                </a:solidFill>
                <a:latin typeface="Arial" panose="020B0604020202020204" pitchFamily="34" charset="0"/>
              </a:rPr>
              <a:t>Key activities of MoC workstream</a:t>
            </a:r>
          </a:p>
        </p:txBody>
      </p:sp>
      <p:sp>
        <p:nvSpPr>
          <p:cNvPr id="3" name="TextBox 2">
            <a:extLst>
              <a:ext uri="{FF2B5EF4-FFF2-40B4-BE49-F238E27FC236}"/>
            </a:extLst>
          </p:cNvPr>
          <p:cNvSpPr txBox="1"/>
          <p:nvPr/>
        </p:nvSpPr>
        <p:spPr>
          <a:xfrm>
            <a:off x="7323138" y="1628775"/>
            <a:ext cx="1566862" cy="301625"/>
          </a:xfrm>
          <a:prstGeom prst="rect">
            <a:avLst/>
          </a:prstGeom>
          <a:solidFill>
            <a:schemeClr val="accent2"/>
          </a:solidFill>
          <a:ln w="6350" cap="flat">
            <a:noFill/>
            <a:miter lim="800000"/>
          </a:ln>
        </p:spPr>
        <p:txBody>
          <a:bodyPr wrap="none" lIns="108014" tIns="54007" rIns="108014" bIns="54007">
            <a:spAutoFit/>
          </a:bodyPr>
          <a:lstStyle/>
          <a:p>
            <a:pPr algn="r">
              <a:lnSpc>
                <a:spcPct val="90000"/>
              </a:lnSpc>
              <a:buClr>
                <a:schemeClr val="bg2"/>
              </a:buClr>
              <a:defRPr/>
            </a:pPr>
            <a:r>
              <a:rPr lang="en-US" sz="1400" dirty="0">
                <a:solidFill>
                  <a:schemeClr val="accent4"/>
                </a:solidFill>
                <a:latin typeface="Arial" panose="020B0604020202020204" pitchFamily="34" charset="0"/>
              </a:rPr>
              <a:t>Work in progress</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82"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8" name="think-cell Slide" r:id="rId5" imgW="360" imgH="360" progId="TCLayout.ActiveDocument.1">
                  <p:embed/>
                </p:oleObj>
              </mc:Choice>
              <mc:Fallback>
                <p:oleObj name="think-cell Slide" r:id="rId5" imgW="360" imgH="360" progId="TCLayout.ActiveDocument.1">
                  <p:embed/>
                  <p:pic>
                    <p:nvPicPr>
                      <p:cNvPr id="0"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a:ext uri="{FF2B5EF4-FFF2-40B4-BE49-F238E27FC236}"/>
            </a:extLst>
          </p:cNvPr>
          <p:cNvSpPr>
            <a:spLocks noGrp="1"/>
          </p:cNvSpPr>
          <p:nvPr>
            <p:ph type="title"/>
          </p:nvPr>
        </p:nvSpPr>
        <p:spPr>
          <a:xfrm>
            <a:off x="350838" y="1047750"/>
            <a:ext cx="7567612" cy="665163"/>
          </a:xfrm>
        </p:spPr>
        <p:txBody>
          <a:bodyPr>
            <a:normAutofit fontScale="90000"/>
          </a:bodyPr>
          <a:lstStyle/>
          <a:p>
            <a:pPr fontAlgn="auto">
              <a:spcAft>
                <a:spcPts val="0"/>
              </a:spcAft>
              <a:defRPr/>
            </a:pPr>
            <a:r>
              <a:rPr lang="en-US" dirty="0">
                <a:solidFill>
                  <a:schemeClr val="tx1">
                    <a:lumMod val="75000"/>
                    <a:lumOff val="25000"/>
                  </a:schemeClr>
                </a:solidFill>
              </a:rPr>
              <a:t>We are currently nearing the end of Phase III and are preparing for Phase IV</a:t>
            </a:r>
          </a:p>
        </p:txBody>
      </p:sp>
      <p:sp>
        <p:nvSpPr>
          <p:cNvPr id="71684" name="TextBox 3"/>
          <p:cNvSpPr txBox="1">
            <a:spLocks noChangeArrowheads="1"/>
          </p:cNvSpPr>
          <p:nvPr/>
        </p:nvSpPr>
        <p:spPr bwMode="auto">
          <a:xfrm>
            <a:off x="244475" y="1628775"/>
            <a:ext cx="6840538" cy="249238"/>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ct val="0"/>
              </a:spcBef>
              <a:spcAft>
                <a:spcPct val="0"/>
              </a:spcAft>
              <a:buClr>
                <a:srgbClr val="048962"/>
              </a:buClr>
              <a:buSzTx/>
              <a:buFontTx/>
              <a:buNone/>
            </a:pPr>
            <a:r>
              <a:rPr lang="en-US" sz="1800" b="1">
                <a:solidFill>
                  <a:srgbClr val="000000"/>
                </a:solidFill>
                <a:latin typeface="Arial" panose="020B0604020202020204" pitchFamily="34" charset="0"/>
              </a:rPr>
              <a:t>MoC roadmap and progress so far</a:t>
            </a:r>
          </a:p>
        </p:txBody>
      </p:sp>
      <p:sp>
        <p:nvSpPr>
          <p:cNvPr id="71685" name="TextBox 5"/>
          <p:cNvSpPr txBox="1">
            <a:spLocks noChangeArrowheads="1"/>
          </p:cNvSpPr>
          <p:nvPr/>
        </p:nvSpPr>
        <p:spPr bwMode="auto">
          <a:xfrm>
            <a:off x="244475" y="6369050"/>
            <a:ext cx="63992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b"/>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ct val="0"/>
              </a:spcBef>
              <a:spcAft>
                <a:spcPct val="0"/>
              </a:spcAft>
              <a:buClr>
                <a:srgbClr val="048962"/>
              </a:buClr>
              <a:buSzTx/>
              <a:buFontTx/>
              <a:buNone/>
            </a:pPr>
            <a:r>
              <a:rPr lang="en-US" sz="800">
                <a:solidFill>
                  <a:srgbClr val="000000"/>
                </a:solidFill>
                <a:latin typeface="Arial" panose="020B0604020202020204" pitchFamily="34" charset="0"/>
              </a:rPr>
              <a:t>Source: Ministry of Health, A.T. Kearney</a:t>
            </a:r>
          </a:p>
        </p:txBody>
      </p:sp>
      <p:pic>
        <p:nvPicPr>
          <p:cNvPr id="9" name="Picture 65">
            <a:extLst>
              <a:ext uri="{FF2B5EF4-FFF2-40B4-BE49-F238E27FC236}"/>
            </a:extLst>
          </p:cNvPr>
          <p:cNvPicPr>
            <a:picLocks noChangeAspect="1" noChangeArrowheads="1"/>
          </p:cNvPicPr>
          <p:nvPr/>
        </p:nvPicPr>
        <p:blipFill rotWithShape="1">
          <a:blip r:embed="rId7" cstate="email">
            <a:duotone>
              <a:schemeClr val="bg2">
                <a:shade val="45000"/>
                <a:satMod val="135000"/>
              </a:schemeClr>
              <a:prstClr val="white"/>
            </a:duotone>
            <a:extLst>
              <a:ext uri="{28A0092B-C50C-407E-A947-70E740481C1C}">
                <a14:useLocalDpi xmlns:a14="http://schemas.microsoft.com/office/drawing/2010/main"/>
              </a:ext>
            </a:extLst>
          </a:blip>
          <a:srcRect l="24666"/>
          <a:stretch/>
        </p:blipFill>
        <p:spPr bwMode="gray">
          <a:xfrm>
            <a:off x="4492559" y="2497593"/>
            <a:ext cx="4398210" cy="3896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67">
            <a:extLst>
              <a:ext uri="{FF2B5EF4-FFF2-40B4-BE49-F238E27FC236}"/>
            </a:extLst>
          </p:cNvPr>
          <p:cNvSpPr>
            <a:spLocks/>
          </p:cNvSpPr>
          <p:nvPr/>
        </p:nvSpPr>
        <p:spPr bwMode="gray">
          <a:xfrm>
            <a:off x="6284913" y="2389188"/>
            <a:ext cx="1911350" cy="3979862"/>
          </a:xfrm>
          <a:custGeom>
            <a:avLst/>
            <a:gdLst/>
            <a:ahLst/>
            <a:cxnLst>
              <a:cxn ang="0">
                <a:pos x="0" y="2976"/>
              </a:cxn>
              <a:cxn ang="0">
                <a:pos x="278" y="2714"/>
              </a:cxn>
              <a:cxn ang="0">
                <a:pos x="551" y="2567"/>
              </a:cxn>
              <a:cxn ang="0">
                <a:pos x="723" y="2314"/>
              </a:cxn>
              <a:cxn ang="0">
                <a:pos x="758" y="2077"/>
              </a:cxn>
              <a:cxn ang="0">
                <a:pos x="849" y="1860"/>
              </a:cxn>
              <a:cxn ang="0">
                <a:pos x="995" y="1617"/>
              </a:cxn>
              <a:cxn ang="0">
                <a:pos x="970" y="1354"/>
              </a:cxn>
              <a:cxn ang="0">
                <a:pos x="909" y="996"/>
              </a:cxn>
              <a:cxn ang="0">
                <a:pos x="586" y="748"/>
              </a:cxn>
              <a:cxn ang="0">
                <a:pos x="677" y="379"/>
              </a:cxn>
              <a:cxn ang="0">
                <a:pos x="586" y="132"/>
              </a:cxn>
              <a:cxn ang="0">
                <a:pos x="404" y="0"/>
              </a:cxn>
            </a:cxnLst>
            <a:rect l="0" t="0" r="r" b="b"/>
            <a:pathLst>
              <a:path w="1015" h="2976">
                <a:moveTo>
                  <a:pt x="0" y="2976"/>
                </a:moveTo>
                <a:cubicBezTo>
                  <a:pt x="93" y="2879"/>
                  <a:pt x="186" y="2782"/>
                  <a:pt x="278" y="2714"/>
                </a:cubicBezTo>
                <a:cubicBezTo>
                  <a:pt x="370" y="2646"/>
                  <a:pt x="477" y="2634"/>
                  <a:pt x="551" y="2567"/>
                </a:cubicBezTo>
                <a:cubicBezTo>
                  <a:pt x="625" y="2500"/>
                  <a:pt x="689" y="2396"/>
                  <a:pt x="723" y="2314"/>
                </a:cubicBezTo>
                <a:cubicBezTo>
                  <a:pt x="757" y="2232"/>
                  <a:pt x="737" y="2153"/>
                  <a:pt x="758" y="2077"/>
                </a:cubicBezTo>
                <a:cubicBezTo>
                  <a:pt x="779" y="2001"/>
                  <a:pt x="810" y="1937"/>
                  <a:pt x="849" y="1860"/>
                </a:cubicBezTo>
                <a:cubicBezTo>
                  <a:pt x="888" y="1783"/>
                  <a:pt x="975" y="1701"/>
                  <a:pt x="995" y="1617"/>
                </a:cubicBezTo>
                <a:cubicBezTo>
                  <a:pt x="1015" y="1533"/>
                  <a:pt x="984" y="1457"/>
                  <a:pt x="970" y="1354"/>
                </a:cubicBezTo>
                <a:cubicBezTo>
                  <a:pt x="956" y="1251"/>
                  <a:pt x="973" y="1097"/>
                  <a:pt x="909" y="996"/>
                </a:cubicBezTo>
                <a:cubicBezTo>
                  <a:pt x="845" y="895"/>
                  <a:pt x="625" y="851"/>
                  <a:pt x="586" y="748"/>
                </a:cubicBezTo>
                <a:cubicBezTo>
                  <a:pt x="547" y="645"/>
                  <a:pt x="677" y="482"/>
                  <a:pt x="677" y="379"/>
                </a:cubicBezTo>
                <a:cubicBezTo>
                  <a:pt x="677" y="276"/>
                  <a:pt x="632" y="195"/>
                  <a:pt x="586" y="132"/>
                </a:cubicBezTo>
                <a:cubicBezTo>
                  <a:pt x="540" y="69"/>
                  <a:pt x="472" y="34"/>
                  <a:pt x="404" y="0"/>
                </a:cubicBezTo>
              </a:path>
            </a:pathLst>
          </a:custGeom>
          <a:noFill/>
          <a:ln w="38100">
            <a:solidFill>
              <a:schemeClr val="bg2"/>
            </a:solidFill>
            <a:round/>
            <a:headEnd/>
            <a:tailEnd/>
          </a:ln>
          <a:effectLst/>
        </p:spPr>
        <p:txBody>
          <a:bodyPr/>
          <a:lstStyle/>
          <a:p>
            <a:pPr eaLnBrk="1" fontAlgn="auto" hangingPunct="1">
              <a:lnSpc>
                <a:spcPct val="90000"/>
              </a:lnSpc>
              <a:spcBef>
                <a:spcPts val="0"/>
              </a:spcBef>
              <a:spcAft>
                <a:spcPts val="0"/>
              </a:spcAft>
              <a:defRPr/>
            </a:pPr>
            <a:endParaRPr lang="en-US" dirty="0">
              <a:solidFill>
                <a:srgbClr val="000000"/>
              </a:solidFill>
              <a:latin typeface="Arial"/>
              <a:cs typeface="+mn-cs"/>
            </a:endParaRPr>
          </a:p>
        </p:txBody>
      </p:sp>
      <p:sp>
        <p:nvSpPr>
          <p:cNvPr id="13" name="Oval 68">
            <a:extLst>
              <a:ext uri="{FF2B5EF4-FFF2-40B4-BE49-F238E27FC236}"/>
            </a:extLst>
          </p:cNvPr>
          <p:cNvSpPr>
            <a:spLocks noChangeArrowheads="1"/>
          </p:cNvSpPr>
          <p:nvPr/>
        </p:nvSpPr>
        <p:spPr bwMode="gray">
          <a:xfrm>
            <a:off x="6837363" y="2251075"/>
            <a:ext cx="457200" cy="457200"/>
          </a:xfrm>
          <a:prstGeom prst="ellipse">
            <a:avLst/>
          </a:prstGeom>
          <a:noFill/>
          <a:ln w="38100">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pic>
        <p:nvPicPr>
          <p:cNvPr id="14" name="Picture 96">
            <a:extLst>
              <a:ext uri="{FF2B5EF4-FFF2-40B4-BE49-F238E27FC236}"/>
            </a:extLst>
          </p:cNvPr>
          <p:cNvPicPr>
            <a:picLocks noChangeAspect="1" noChangeArrowheads="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rot="787327">
            <a:off x="7092860" y="1989860"/>
            <a:ext cx="326144" cy="545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Line 114">
            <a:extLst>
              <a:ext uri="{FF2B5EF4-FFF2-40B4-BE49-F238E27FC236}"/>
            </a:extLst>
          </p:cNvPr>
          <p:cNvSpPr>
            <a:spLocks noChangeShapeType="1"/>
          </p:cNvSpPr>
          <p:nvPr/>
        </p:nvSpPr>
        <p:spPr bwMode="gray">
          <a:xfrm flipH="1" flipV="1">
            <a:off x="244475" y="3490913"/>
            <a:ext cx="7107238" cy="19050"/>
          </a:xfrm>
          <a:prstGeom prst="line">
            <a:avLst/>
          </a:prstGeom>
          <a:noFill/>
          <a:ln w="12700">
            <a:solidFill>
              <a:schemeClr val="accent5"/>
            </a:solidFill>
            <a:prstDash val="dash"/>
            <a:round/>
            <a:headEnd/>
            <a:tailEnd/>
          </a:ln>
          <a:extLst>
            <a:ext uri="{909E8E84-426E-40DD-AFC4-6F175D3DCCD1}">
              <a14:hiddenFill xmlns:a14="http://schemas.microsoft.com/office/drawing/2010/main">
                <a:noFill/>
              </a14:hiddenFill>
            </a:ext>
          </a:extLst>
        </p:spPr>
        <p:txBody>
          <a:bodyPr wrap="none" anchor="ctr"/>
          <a:lstStyle/>
          <a:p>
            <a:pPr>
              <a:lnSpc>
                <a:spcPct val="90000"/>
              </a:lnSpc>
              <a:defRPr/>
            </a:pPr>
            <a:endParaRPr lang="en-US" dirty="0">
              <a:solidFill>
                <a:srgbClr val="000000"/>
              </a:solidFill>
              <a:latin typeface="Arial"/>
            </a:endParaRPr>
          </a:p>
        </p:txBody>
      </p:sp>
      <p:sp>
        <p:nvSpPr>
          <p:cNvPr id="19" name="Line 120">
            <a:extLst>
              <a:ext uri="{FF2B5EF4-FFF2-40B4-BE49-F238E27FC236}"/>
            </a:extLst>
          </p:cNvPr>
          <p:cNvSpPr>
            <a:spLocks noChangeShapeType="1"/>
          </p:cNvSpPr>
          <p:nvPr/>
        </p:nvSpPr>
        <p:spPr bwMode="gray">
          <a:xfrm flipH="1">
            <a:off x="244475" y="5589588"/>
            <a:ext cx="7397750" cy="0"/>
          </a:xfrm>
          <a:prstGeom prst="line">
            <a:avLst/>
          </a:prstGeom>
          <a:noFill/>
          <a:ln w="12700">
            <a:solidFill>
              <a:schemeClr val="bg2"/>
            </a:solidFill>
            <a:prstDash val="dash"/>
            <a:round/>
            <a:headEnd/>
            <a:tailEnd/>
          </a:ln>
          <a:extLst>
            <a:ext uri="{909E8E84-426E-40DD-AFC4-6F175D3DCCD1}">
              <a14:hiddenFill xmlns:a14="http://schemas.microsoft.com/office/drawing/2010/main">
                <a:noFill/>
              </a14:hiddenFill>
            </a:ext>
          </a:extLst>
        </p:spPr>
        <p:txBody>
          <a:bodyPr wrap="none" anchor="ctr"/>
          <a:lstStyle/>
          <a:p>
            <a:pPr eaLnBrk="1" fontAlgn="auto" hangingPunct="1">
              <a:lnSpc>
                <a:spcPct val="90000"/>
              </a:lnSpc>
              <a:spcBef>
                <a:spcPts val="0"/>
              </a:spcBef>
              <a:spcAft>
                <a:spcPts val="0"/>
              </a:spcAft>
              <a:defRPr/>
            </a:pPr>
            <a:endParaRPr lang="en-US" dirty="0">
              <a:solidFill>
                <a:srgbClr val="000000"/>
              </a:solidFill>
              <a:latin typeface="Arial"/>
              <a:cs typeface="+mn-cs"/>
            </a:endParaRPr>
          </a:p>
        </p:txBody>
      </p:sp>
      <p:sp>
        <p:nvSpPr>
          <p:cNvPr id="45" name="Line 120">
            <a:extLst>
              <a:ext uri="{FF2B5EF4-FFF2-40B4-BE49-F238E27FC236}"/>
            </a:extLst>
          </p:cNvPr>
          <p:cNvSpPr>
            <a:spLocks noChangeShapeType="1"/>
          </p:cNvSpPr>
          <p:nvPr/>
        </p:nvSpPr>
        <p:spPr bwMode="gray">
          <a:xfrm flipH="1">
            <a:off x="244475" y="4537075"/>
            <a:ext cx="7958138" cy="0"/>
          </a:xfrm>
          <a:prstGeom prst="line">
            <a:avLst/>
          </a:prstGeom>
          <a:noFill/>
          <a:ln w="12700">
            <a:solidFill>
              <a:schemeClr val="bg2"/>
            </a:solidFill>
            <a:prstDash val="dash"/>
            <a:round/>
            <a:headEnd/>
            <a:tailEnd/>
          </a:ln>
          <a:extLst>
            <a:ext uri="{909E8E84-426E-40DD-AFC4-6F175D3DCCD1}">
              <a14:hiddenFill xmlns:a14="http://schemas.microsoft.com/office/drawing/2010/main">
                <a:noFill/>
              </a14:hiddenFill>
            </a:ext>
          </a:extLst>
        </p:spPr>
        <p:txBody>
          <a:bodyPr wrap="none" anchor="ctr"/>
          <a:lstStyle/>
          <a:p>
            <a:pPr eaLnBrk="1" fontAlgn="auto" hangingPunct="1">
              <a:lnSpc>
                <a:spcPct val="90000"/>
              </a:lnSpc>
              <a:spcBef>
                <a:spcPts val="0"/>
              </a:spcBef>
              <a:spcAft>
                <a:spcPts val="0"/>
              </a:spcAft>
              <a:defRPr/>
            </a:pPr>
            <a:endParaRPr lang="en-US" dirty="0">
              <a:solidFill>
                <a:srgbClr val="000000"/>
              </a:solidFill>
              <a:latin typeface="Arial"/>
              <a:cs typeface="+mn-cs"/>
            </a:endParaRPr>
          </a:p>
        </p:txBody>
      </p:sp>
      <p:grpSp>
        <p:nvGrpSpPr>
          <p:cNvPr id="71693" name="Group 80"/>
          <p:cNvGrpSpPr>
            <a:grpSpLocks/>
          </p:cNvGrpSpPr>
          <p:nvPr/>
        </p:nvGrpSpPr>
        <p:grpSpPr bwMode="auto">
          <a:xfrm>
            <a:off x="7848600" y="4306888"/>
            <a:ext cx="457200" cy="457200"/>
            <a:chOff x="7251553" y="2658784"/>
            <a:chExt cx="457200" cy="457200"/>
          </a:xfrm>
        </p:grpSpPr>
        <p:sp>
          <p:nvSpPr>
            <p:cNvPr id="82" name="Oval 109">
              <a:extLst>
                <a:ext uri="{FF2B5EF4-FFF2-40B4-BE49-F238E27FC236}"/>
              </a:extLst>
            </p:cNvPr>
            <p:cNvSpPr>
              <a:spLocks noChangeArrowheads="1"/>
            </p:cNvSpPr>
            <p:nvPr/>
          </p:nvSpPr>
          <p:spPr bwMode="gray">
            <a:xfrm>
              <a:off x="7251553" y="2658784"/>
              <a:ext cx="457200" cy="457200"/>
            </a:xfrm>
            <a:prstGeom prst="ellipse">
              <a:avLst/>
            </a:prstGeom>
            <a:solidFill>
              <a:schemeClr val="bg1"/>
            </a:solidFill>
            <a:ln w="38100">
              <a:solidFill>
                <a:schemeClr val="bg2"/>
              </a:solidFill>
              <a:round/>
              <a:headEnd/>
              <a:tailEnd/>
            </a:ln>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grpSp>
          <p:nvGrpSpPr>
            <p:cNvPr id="83" name="Group 82">
              <a:extLst>
                <a:ext uri="{FF2B5EF4-FFF2-40B4-BE49-F238E27FC236}"/>
              </a:extLst>
            </p:cNvPr>
            <p:cNvGrpSpPr/>
            <p:nvPr/>
          </p:nvGrpSpPr>
          <p:grpSpPr>
            <a:xfrm>
              <a:off x="7279413" y="2725970"/>
              <a:ext cx="412175" cy="277046"/>
              <a:chOff x="1655676" y="1545142"/>
              <a:chExt cx="5737593" cy="3832420"/>
            </a:xfrm>
            <a:solidFill>
              <a:schemeClr val="bg2"/>
            </a:solidFill>
          </p:grpSpPr>
          <p:sp>
            <p:nvSpPr>
              <p:cNvPr id="84" name="Freeform: Shape 83">
                <a:extLst>
                  <a:ext uri="{FF2B5EF4-FFF2-40B4-BE49-F238E27FC236}"/>
                </a:extLst>
              </p:cNvPr>
              <p:cNvSpPr/>
              <p:nvPr/>
            </p:nvSpPr>
            <p:spPr>
              <a:xfrm>
                <a:off x="1694329" y="1568824"/>
                <a:ext cx="4258236" cy="3801035"/>
              </a:xfrm>
              <a:custGeom>
                <a:avLst/>
                <a:gdLst>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1954306 w 4258236"/>
                  <a:gd name="connsiteY4" fmla="*/ 3792070 h 3792070"/>
                  <a:gd name="connsiteX5" fmla="*/ 0 w 4258236"/>
                  <a:gd name="connsiteY5" fmla="*/ 3792070 h 3792070"/>
                  <a:gd name="connsiteX6" fmla="*/ 2115671 w 4258236"/>
                  <a:gd name="connsiteY6" fmla="*/ 0 h 3792070"/>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1362636 w 4258236"/>
                  <a:gd name="connsiteY4" fmla="*/ 3792070 h 3792070"/>
                  <a:gd name="connsiteX5" fmla="*/ 0 w 4258236"/>
                  <a:gd name="connsiteY5" fmla="*/ 3792070 h 3792070"/>
                  <a:gd name="connsiteX6" fmla="*/ 2115671 w 4258236"/>
                  <a:gd name="connsiteY6" fmla="*/ 0 h 3792070"/>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887507 w 4258236"/>
                  <a:gd name="connsiteY4" fmla="*/ 3738282 h 3792070"/>
                  <a:gd name="connsiteX5" fmla="*/ 0 w 4258236"/>
                  <a:gd name="connsiteY5" fmla="*/ 3792070 h 3792070"/>
                  <a:gd name="connsiteX6" fmla="*/ 2115671 w 4258236"/>
                  <a:gd name="connsiteY6" fmla="*/ 0 h 3792070"/>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8236" h="3801035">
                    <a:moveTo>
                      <a:pt x="2115671" y="0"/>
                    </a:moveTo>
                    <a:lnTo>
                      <a:pt x="4258236" y="3783105"/>
                    </a:lnTo>
                    <a:lnTo>
                      <a:pt x="1954306" y="3783105"/>
                    </a:lnTo>
                    <a:lnTo>
                      <a:pt x="1954306" y="1470211"/>
                    </a:lnTo>
                    <a:lnTo>
                      <a:pt x="869577" y="3801035"/>
                    </a:lnTo>
                    <a:lnTo>
                      <a:pt x="0" y="3792070"/>
                    </a:lnTo>
                    <a:lnTo>
                      <a:pt x="2115671"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85" name="Freeform: Shape 84">
                <a:extLst>
                  <a:ext uri="{FF2B5EF4-FFF2-40B4-BE49-F238E27FC236}"/>
                </a:extLst>
              </p:cNvPr>
              <p:cNvSpPr/>
              <p:nvPr/>
            </p:nvSpPr>
            <p:spPr>
              <a:xfrm>
                <a:off x="3923928" y="1545142"/>
                <a:ext cx="3469341" cy="3792070"/>
              </a:xfrm>
              <a:custGeom>
                <a:avLst/>
                <a:gdLst>
                  <a:gd name="connsiteX0" fmla="*/ 0 w 3469341"/>
                  <a:gd name="connsiteY0" fmla="*/ 0 h 3792070"/>
                  <a:gd name="connsiteX1" fmla="*/ 1326776 w 3469341"/>
                  <a:gd name="connsiteY1" fmla="*/ 0 h 3792070"/>
                  <a:gd name="connsiteX2" fmla="*/ 3469341 w 3469341"/>
                  <a:gd name="connsiteY2" fmla="*/ 3370729 h 3792070"/>
                  <a:gd name="connsiteX3" fmla="*/ 2169459 w 3469341"/>
                  <a:gd name="connsiteY3" fmla="*/ 3792070 h 3792070"/>
                  <a:gd name="connsiteX4" fmla="*/ 0 w 3469341"/>
                  <a:gd name="connsiteY4" fmla="*/ 0 h 379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9341" h="3792070">
                    <a:moveTo>
                      <a:pt x="0" y="0"/>
                    </a:moveTo>
                    <a:lnTo>
                      <a:pt x="1326776" y="0"/>
                    </a:lnTo>
                    <a:lnTo>
                      <a:pt x="3469341" y="3370729"/>
                    </a:lnTo>
                    <a:lnTo>
                      <a:pt x="2169459" y="3792070"/>
                    </a:lnTo>
                    <a:lnTo>
                      <a:pt x="0"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grpSp>
            <p:nvGrpSpPr>
              <p:cNvPr id="86" name="Group 85">
                <a:extLst>
                  <a:ext uri="{FF2B5EF4-FFF2-40B4-BE49-F238E27FC236}"/>
                </a:extLst>
              </p:cNvPr>
              <p:cNvGrpSpPr/>
              <p:nvPr/>
            </p:nvGrpSpPr>
            <p:grpSpPr>
              <a:xfrm>
                <a:off x="1655676" y="2312876"/>
                <a:ext cx="2297868" cy="3064686"/>
                <a:chOff x="113892" y="2228351"/>
                <a:chExt cx="2297868" cy="3064686"/>
              </a:xfrm>
              <a:grpFill/>
            </p:grpSpPr>
            <p:sp>
              <p:nvSpPr>
                <p:cNvPr id="87" name="Freeform: Shape 86">
                  <a:extLst>
                    <a:ext uri="{FF2B5EF4-FFF2-40B4-BE49-F238E27FC236}"/>
                  </a:extLst>
                </p:cNvPr>
                <p:cNvSpPr/>
                <p:nvPr/>
              </p:nvSpPr>
              <p:spPr>
                <a:xfrm>
                  <a:off x="113892" y="2228351"/>
                  <a:ext cx="2297868" cy="3064686"/>
                </a:xfrm>
                <a:custGeom>
                  <a:avLst/>
                  <a:gdLst>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Lst>
                  <a:ahLst/>
                  <a:cxnLst>
                    <a:cxn ang="0">
                      <a:pos x="connsiteX0" y="connsiteY0"/>
                    </a:cxn>
                    <a:cxn ang="0">
                      <a:pos x="connsiteX1" y="connsiteY1"/>
                    </a:cxn>
                    <a:cxn ang="0">
                      <a:pos x="connsiteX2" y="connsiteY2"/>
                    </a:cxn>
                    <a:cxn ang="0">
                      <a:pos x="connsiteX3" y="connsiteY3"/>
                    </a:cxn>
                  </a:cxnLst>
                  <a:rect l="l" t="t" r="r" b="b"/>
                  <a:pathLst>
                    <a:path w="1577788" h="2104309">
                      <a:moveTo>
                        <a:pt x="1577788" y="0"/>
                      </a:moveTo>
                      <a:lnTo>
                        <a:pt x="0" y="833718"/>
                      </a:lnTo>
                      <a:cubicBezTo>
                        <a:pt x="533033" y="1370098"/>
                        <a:pt x="617008" y="1860168"/>
                        <a:pt x="614145" y="2104309"/>
                      </a:cubicBezTo>
                      <a:lnTo>
                        <a:pt x="1577788"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88" name="Freeform: Shape 87">
                  <a:extLst>
                    <a:ext uri="{FF2B5EF4-FFF2-40B4-BE49-F238E27FC236}"/>
                  </a:extLst>
                </p:cNvPr>
                <p:cNvSpPr/>
                <p:nvPr/>
              </p:nvSpPr>
              <p:spPr>
                <a:xfrm>
                  <a:off x="431540" y="2680447"/>
                  <a:ext cx="1577788" cy="1981200"/>
                </a:xfrm>
                <a:custGeom>
                  <a:avLst/>
                  <a:gdLst>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Lst>
                  <a:ahLst/>
                  <a:cxnLst>
                    <a:cxn ang="0">
                      <a:pos x="connsiteX0" y="connsiteY0"/>
                    </a:cxn>
                    <a:cxn ang="0">
                      <a:pos x="connsiteX1" y="connsiteY1"/>
                    </a:cxn>
                    <a:cxn ang="0">
                      <a:pos x="connsiteX2" y="connsiteY2"/>
                    </a:cxn>
                    <a:cxn ang="0">
                      <a:pos x="connsiteX3" y="connsiteY3"/>
                    </a:cxn>
                  </a:cxnLst>
                  <a:rect l="l" t="t" r="r" b="b"/>
                  <a:pathLst>
                    <a:path w="1577788" h="1981200">
                      <a:moveTo>
                        <a:pt x="1577788" y="0"/>
                      </a:moveTo>
                      <a:lnTo>
                        <a:pt x="0" y="833718"/>
                      </a:lnTo>
                      <a:cubicBezTo>
                        <a:pt x="391458" y="1216212"/>
                        <a:pt x="567764" y="1706282"/>
                        <a:pt x="663388" y="1981200"/>
                      </a:cubicBezTo>
                      <a:lnTo>
                        <a:pt x="1577788"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grpSp>
        </p:grpSp>
      </p:grpSp>
      <p:grpSp>
        <p:nvGrpSpPr>
          <p:cNvPr id="71694" name="Group 88"/>
          <p:cNvGrpSpPr>
            <a:grpSpLocks/>
          </p:cNvGrpSpPr>
          <p:nvPr/>
        </p:nvGrpSpPr>
        <p:grpSpPr bwMode="auto">
          <a:xfrm>
            <a:off x="7412038" y="5337175"/>
            <a:ext cx="457200" cy="457200"/>
            <a:chOff x="7251553" y="2658784"/>
            <a:chExt cx="457200" cy="457200"/>
          </a:xfrm>
        </p:grpSpPr>
        <p:sp>
          <p:nvSpPr>
            <p:cNvPr id="90" name="Oval 109">
              <a:extLst>
                <a:ext uri="{FF2B5EF4-FFF2-40B4-BE49-F238E27FC236}"/>
              </a:extLst>
            </p:cNvPr>
            <p:cNvSpPr>
              <a:spLocks noChangeArrowheads="1"/>
            </p:cNvSpPr>
            <p:nvPr/>
          </p:nvSpPr>
          <p:spPr bwMode="gray">
            <a:xfrm>
              <a:off x="7251553" y="2658784"/>
              <a:ext cx="457200" cy="457200"/>
            </a:xfrm>
            <a:prstGeom prst="ellipse">
              <a:avLst/>
            </a:prstGeom>
            <a:solidFill>
              <a:schemeClr val="bg1"/>
            </a:solidFill>
            <a:ln w="38100">
              <a:solidFill>
                <a:schemeClr val="bg2"/>
              </a:solidFill>
              <a:round/>
              <a:headEnd/>
              <a:tailEnd/>
            </a:ln>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grpSp>
          <p:nvGrpSpPr>
            <p:cNvPr id="91" name="Group 90">
              <a:extLst>
                <a:ext uri="{FF2B5EF4-FFF2-40B4-BE49-F238E27FC236}"/>
              </a:extLst>
            </p:cNvPr>
            <p:cNvGrpSpPr/>
            <p:nvPr/>
          </p:nvGrpSpPr>
          <p:grpSpPr>
            <a:xfrm>
              <a:off x="7279413" y="2725970"/>
              <a:ext cx="412175" cy="277046"/>
              <a:chOff x="1655676" y="1545142"/>
              <a:chExt cx="5737593" cy="3832420"/>
            </a:xfrm>
            <a:solidFill>
              <a:schemeClr val="bg2"/>
            </a:solidFill>
          </p:grpSpPr>
          <p:sp>
            <p:nvSpPr>
              <p:cNvPr id="92" name="Freeform: Shape 91">
                <a:extLst>
                  <a:ext uri="{FF2B5EF4-FFF2-40B4-BE49-F238E27FC236}"/>
                </a:extLst>
              </p:cNvPr>
              <p:cNvSpPr/>
              <p:nvPr/>
            </p:nvSpPr>
            <p:spPr>
              <a:xfrm>
                <a:off x="1694329" y="1568824"/>
                <a:ext cx="4258236" cy="3801035"/>
              </a:xfrm>
              <a:custGeom>
                <a:avLst/>
                <a:gdLst>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1954306 w 4258236"/>
                  <a:gd name="connsiteY4" fmla="*/ 3792070 h 3792070"/>
                  <a:gd name="connsiteX5" fmla="*/ 0 w 4258236"/>
                  <a:gd name="connsiteY5" fmla="*/ 3792070 h 3792070"/>
                  <a:gd name="connsiteX6" fmla="*/ 2115671 w 4258236"/>
                  <a:gd name="connsiteY6" fmla="*/ 0 h 3792070"/>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1362636 w 4258236"/>
                  <a:gd name="connsiteY4" fmla="*/ 3792070 h 3792070"/>
                  <a:gd name="connsiteX5" fmla="*/ 0 w 4258236"/>
                  <a:gd name="connsiteY5" fmla="*/ 3792070 h 3792070"/>
                  <a:gd name="connsiteX6" fmla="*/ 2115671 w 4258236"/>
                  <a:gd name="connsiteY6" fmla="*/ 0 h 3792070"/>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887507 w 4258236"/>
                  <a:gd name="connsiteY4" fmla="*/ 3738282 h 3792070"/>
                  <a:gd name="connsiteX5" fmla="*/ 0 w 4258236"/>
                  <a:gd name="connsiteY5" fmla="*/ 3792070 h 3792070"/>
                  <a:gd name="connsiteX6" fmla="*/ 2115671 w 4258236"/>
                  <a:gd name="connsiteY6" fmla="*/ 0 h 3792070"/>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8236" h="3801035">
                    <a:moveTo>
                      <a:pt x="2115671" y="0"/>
                    </a:moveTo>
                    <a:lnTo>
                      <a:pt x="4258236" y="3783105"/>
                    </a:lnTo>
                    <a:lnTo>
                      <a:pt x="1954306" y="3783105"/>
                    </a:lnTo>
                    <a:lnTo>
                      <a:pt x="1954306" y="1470211"/>
                    </a:lnTo>
                    <a:lnTo>
                      <a:pt x="869577" y="3801035"/>
                    </a:lnTo>
                    <a:lnTo>
                      <a:pt x="0" y="3792070"/>
                    </a:lnTo>
                    <a:lnTo>
                      <a:pt x="2115671"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93" name="Freeform: Shape 92">
                <a:extLst>
                  <a:ext uri="{FF2B5EF4-FFF2-40B4-BE49-F238E27FC236}"/>
                </a:extLst>
              </p:cNvPr>
              <p:cNvSpPr/>
              <p:nvPr/>
            </p:nvSpPr>
            <p:spPr>
              <a:xfrm>
                <a:off x="3923928" y="1545142"/>
                <a:ext cx="3469341" cy="3792070"/>
              </a:xfrm>
              <a:custGeom>
                <a:avLst/>
                <a:gdLst>
                  <a:gd name="connsiteX0" fmla="*/ 0 w 3469341"/>
                  <a:gd name="connsiteY0" fmla="*/ 0 h 3792070"/>
                  <a:gd name="connsiteX1" fmla="*/ 1326776 w 3469341"/>
                  <a:gd name="connsiteY1" fmla="*/ 0 h 3792070"/>
                  <a:gd name="connsiteX2" fmla="*/ 3469341 w 3469341"/>
                  <a:gd name="connsiteY2" fmla="*/ 3370729 h 3792070"/>
                  <a:gd name="connsiteX3" fmla="*/ 2169459 w 3469341"/>
                  <a:gd name="connsiteY3" fmla="*/ 3792070 h 3792070"/>
                  <a:gd name="connsiteX4" fmla="*/ 0 w 3469341"/>
                  <a:gd name="connsiteY4" fmla="*/ 0 h 379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9341" h="3792070">
                    <a:moveTo>
                      <a:pt x="0" y="0"/>
                    </a:moveTo>
                    <a:lnTo>
                      <a:pt x="1326776" y="0"/>
                    </a:lnTo>
                    <a:lnTo>
                      <a:pt x="3469341" y="3370729"/>
                    </a:lnTo>
                    <a:lnTo>
                      <a:pt x="2169459" y="3792070"/>
                    </a:lnTo>
                    <a:lnTo>
                      <a:pt x="0"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grpSp>
            <p:nvGrpSpPr>
              <p:cNvPr id="94" name="Group 93">
                <a:extLst>
                  <a:ext uri="{FF2B5EF4-FFF2-40B4-BE49-F238E27FC236}"/>
                </a:extLst>
              </p:cNvPr>
              <p:cNvGrpSpPr/>
              <p:nvPr/>
            </p:nvGrpSpPr>
            <p:grpSpPr>
              <a:xfrm>
                <a:off x="1655676" y="2312876"/>
                <a:ext cx="2297868" cy="3064686"/>
                <a:chOff x="113892" y="2228351"/>
                <a:chExt cx="2297868" cy="3064686"/>
              </a:xfrm>
              <a:grpFill/>
            </p:grpSpPr>
            <p:sp>
              <p:nvSpPr>
                <p:cNvPr id="95" name="Freeform: Shape 94">
                  <a:extLst>
                    <a:ext uri="{FF2B5EF4-FFF2-40B4-BE49-F238E27FC236}"/>
                  </a:extLst>
                </p:cNvPr>
                <p:cNvSpPr/>
                <p:nvPr/>
              </p:nvSpPr>
              <p:spPr>
                <a:xfrm>
                  <a:off x="113892" y="2228351"/>
                  <a:ext cx="2297868" cy="3064686"/>
                </a:xfrm>
                <a:custGeom>
                  <a:avLst/>
                  <a:gdLst>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Lst>
                  <a:ahLst/>
                  <a:cxnLst>
                    <a:cxn ang="0">
                      <a:pos x="connsiteX0" y="connsiteY0"/>
                    </a:cxn>
                    <a:cxn ang="0">
                      <a:pos x="connsiteX1" y="connsiteY1"/>
                    </a:cxn>
                    <a:cxn ang="0">
                      <a:pos x="connsiteX2" y="connsiteY2"/>
                    </a:cxn>
                    <a:cxn ang="0">
                      <a:pos x="connsiteX3" y="connsiteY3"/>
                    </a:cxn>
                  </a:cxnLst>
                  <a:rect l="l" t="t" r="r" b="b"/>
                  <a:pathLst>
                    <a:path w="1577788" h="2104309">
                      <a:moveTo>
                        <a:pt x="1577788" y="0"/>
                      </a:moveTo>
                      <a:lnTo>
                        <a:pt x="0" y="833718"/>
                      </a:lnTo>
                      <a:cubicBezTo>
                        <a:pt x="533033" y="1370098"/>
                        <a:pt x="617008" y="1860168"/>
                        <a:pt x="614145" y="2104309"/>
                      </a:cubicBezTo>
                      <a:lnTo>
                        <a:pt x="1577788"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96" name="Freeform: Shape 95">
                  <a:extLst>
                    <a:ext uri="{FF2B5EF4-FFF2-40B4-BE49-F238E27FC236}"/>
                  </a:extLst>
                </p:cNvPr>
                <p:cNvSpPr/>
                <p:nvPr/>
              </p:nvSpPr>
              <p:spPr>
                <a:xfrm>
                  <a:off x="431540" y="2680447"/>
                  <a:ext cx="1577788" cy="1981200"/>
                </a:xfrm>
                <a:custGeom>
                  <a:avLst/>
                  <a:gdLst>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Lst>
                  <a:ahLst/>
                  <a:cxnLst>
                    <a:cxn ang="0">
                      <a:pos x="connsiteX0" y="connsiteY0"/>
                    </a:cxn>
                    <a:cxn ang="0">
                      <a:pos x="connsiteX1" y="connsiteY1"/>
                    </a:cxn>
                    <a:cxn ang="0">
                      <a:pos x="connsiteX2" y="connsiteY2"/>
                    </a:cxn>
                    <a:cxn ang="0">
                      <a:pos x="connsiteX3" y="connsiteY3"/>
                    </a:cxn>
                  </a:cxnLst>
                  <a:rect l="l" t="t" r="r" b="b"/>
                  <a:pathLst>
                    <a:path w="1577788" h="1981200">
                      <a:moveTo>
                        <a:pt x="1577788" y="0"/>
                      </a:moveTo>
                      <a:lnTo>
                        <a:pt x="0" y="833718"/>
                      </a:lnTo>
                      <a:cubicBezTo>
                        <a:pt x="391458" y="1216212"/>
                        <a:pt x="567764" y="1706282"/>
                        <a:pt x="663388" y="1981200"/>
                      </a:cubicBezTo>
                      <a:lnTo>
                        <a:pt x="1577788"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grpSp>
        </p:grpSp>
      </p:grpSp>
      <p:sp>
        <p:nvSpPr>
          <p:cNvPr id="71695" name="Line 114"/>
          <p:cNvSpPr>
            <a:spLocks noChangeShapeType="1"/>
          </p:cNvSpPr>
          <p:nvPr/>
        </p:nvSpPr>
        <p:spPr bwMode="gray">
          <a:xfrm flipH="1" flipV="1">
            <a:off x="244475" y="2438400"/>
            <a:ext cx="6840538" cy="19050"/>
          </a:xfrm>
          <a:prstGeom prst="line">
            <a:avLst/>
          </a:prstGeom>
          <a:noFill/>
          <a:ln w="12700">
            <a:solidFill>
              <a:schemeClr val="bg2"/>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ar-SA"/>
          </a:p>
        </p:txBody>
      </p:sp>
      <p:sp>
        <p:nvSpPr>
          <p:cNvPr id="3" name="Rectangle 2">
            <a:extLst>
              <a:ext uri="{FF2B5EF4-FFF2-40B4-BE49-F238E27FC236}"/>
            </a:extLst>
          </p:cNvPr>
          <p:cNvSpPr/>
          <p:nvPr/>
        </p:nvSpPr>
        <p:spPr>
          <a:xfrm>
            <a:off x="244475" y="5145088"/>
            <a:ext cx="3168650" cy="568325"/>
          </a:xfrm>
          <a:prstGeom prst="rect">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0" bIns="73152" anchor="ctr"/>
          <a:lstStyle/>
          <a:p>
            <a:pPr>
              <a:lnSpc>
                <a:spcPct val="90000"/>
              </a:lnSpc>
              <a:spcBef>
                <a:spcPts val="900"/>
              </a:spcBef>
              <a:defRPr/>
            </a:pPr>
            <a:r>
              <a:rPr lang="en-US" b="1" dirty="0">
                <a:solidFill>
                  <a:schemeClr val="bg2"/>
                </a:solidFill>
                <a:latin typeface="Arial" pitchFamily="34" charset="0"/>
                <a:cs typeface="Arial" pitchFamily="34" charset="0"/>
              </a:rPr>
              <a:t>Phase I: Design the </a:t>
            </a:r>
            <a:r>
              <a:rPr lang="en-US" b="1" dirty="0" err="1">
                <a:solidFill>
                  <a:schemeClr val="bg2"/>
                </a:solidFill>
                <a:latin typeface="Arial" pitchFamily="34" charset="0"/>
                <a:cs typeface="Arial" pitchFamily="34" charset="0"/>
              </a:rPr>
              <a:t>MoC</a:t>
            </a:r>
            <a:endParaRPr lang="en-US" sz="1600" b="1" dirty="0">
              <a:solidFill>
                <a:schemeClr val="bg2"/>
              </a:solidFill>
              <a:latin typeface="Arial" pitchFamily="34" charset="0"/>
              <a:cs typeface="Arial" pitchFamily="34" charset="0"/>
            </a:endParaRPr>
          </a:p>
        </p:txBody>
      </p:sp>
      <p:sp>
        <p:nvSpPr>
          <p:cNvPr id="49" name="Rectangle 48">
            <a:extLst>
              <a:ext uri="{FF2B5EF4-FFF2-40B4-BE49-F238E27FC236}"/>
            </a:extLst>
          </p:cNvPr>
          <p:cNvSpPr/>
          <p:nvPr/>
        </p:nvSpPr>
        <p:spPr>
          <a:xfrm>
            <a:off x="244475" y="4113213"/>
            <a:ext cx="4803775" cy="568325"/>
          </a:xfrm>
          <a:prstGeom prst="rect">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0" bIns="73152" anchor="ctr"/>
          <a:lstStyle/>
          <a:p>
            <a:pPr>
              <a:lnSpc>
                <a:spcPct val="90000"/>
              </a:lnSpc>
              <a:spcBef>
                <a:spcPts val="900"/>
              </a:spcBef>
              <a:defRPr/>
            </a:pPr>
            <a:r>
              <a:rPr lang="en-US" b="1" dirty="0">
                <a:solidFill>
                  <a:schemeClr val="bg2"/>
                </a:solidFill>
                <a:latin typeface="Arial" pitchFamily="34" charset="0"/>
                <a:cs typeface="Arial" pitchFamily="34" charset="0"/>
              </a:rPr>
              <a:t>Phase II: Prepare for pilot implementation</a:t>
            </a:r>
            <a:endParaRPr lang="en-US" sz="1600" b="1" dirty="0">
              <a:solidFill>
                <a:schemeClr val="bg2"/>
              </a:solidFill>
              <a:latin typeface="Arial" pitchFamily="34" charset="0"/>
              <a:cs typeface="Arial" pitchFamily="34" charset="0"/>
            </a:endParaRPr>
          </a:p>
        </p:txBody>
      </p:sp>
      <p:sp>
        <p:nvSpPr>
          <p:cNvPr id="50" name="Rectangle 49">
            <a:extLst>
              <a:ext uri="{FF2B5EF4-FFF2-40B4-BE49-F238E27FC236}"/>
            </a:extLst>
          </p:cNvPr>
          <p:cNvSpPr/>
          <p:nvPr/>
        </p:nvSpPr>
        <p:spPr>
          <a:xfrm>
            <a:off x="244475" y="3068638"/>
            <a:ext cx="6040438" cy="568325"/>
          </a:xfrm>
          <a:prstGeom prst="rect">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0" bIns="73152" anchor="ctr"/>
          <a:lstStyle/>
          <a:p>
            <a:pPr>
              <a:lnSpc>
                <a:spcPct val="90000"/>
              </a:lnSpc>
              <a:spcBef>
                <a:spcPts val="900"/>
              </a:spcBef>
              <a:defRPr/>
            </a:pPr>
            <a:r>
              <a:rPr lang="en-US" b="1" dirty="0">
                <a:solidFill>
                  <a:schemeClr val="accent5"/>
                </a:solidFill>
                <a:latin typeface="Arial" pitchFamily="34" charset="0"/>
                <a:cs typeface="Arial" pitchFamily="34" charset="0"/>
              </a:rPr>
              <a:t>Phase III: Launch pilots and continue preparations</a:t>
            </a:r>
            <a:endParaRPr lang="en-US" sz="1600" b="1" dirty="0">
              <a:solidFill>
                <a:schemeClr val="accent5"/>
              </a:solidFill>
              <a:latin typeface="Arial" pitchFamily="34" charset="0"/>
              <a:cs typeface="Arial" pitchFamily="34" charset="0"/>
            </a:endParaRPr>
          </a:p>
        </p:txBody>
      </p:sp>
      <p:sp>
        <p:nvSpPr>
          <p:cNvPr id="51" name="Rectangle 50">
            <a:extLst>
              <a:ext uri="{FF2B5EF4-FFF2-40B4-BE49-F238E27FC236}"/>
            </a:extLst>
          </p:cNvPr>
          <p:cNvSpPr/>
          <p:nvPr/>
        </p:nvSpPr>
        <p:spPr>
          <a:xfrm>
            <a:off x="244475" y="2035175"/>
            <a:ext cx="4687888" cy="569913"/>
          </a:xfrm>
          <a:prstGeom prst="rect">
            <a:avLst/>
          </a:prstGeom>
          <a:no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0" bIns="73152" anchor="ctr"/>
          <a:lstStyle/>
          <a:p>
            <a:pPr>
              <a:lnSpc>
                <a:spcPct val="90000"/>
              </a:lnSpc>
              <a:spcBef>
                <a:spcPts val="900"/>
              </a:spcBef>
              <a:defRPr/>
            </a:pPr>
            <a:r>
              <a:rPr lang="en-US" b="1" dirty="0">
                <a:solidFill>
                  <a:schemeClr val="bg2"/>
                </a:solidFill>
                <a:latin typeface="Arial" pitchFamily="34" charset="0"/>
                <a:cs typeface="Arial" pitchFamily="34" charset="0"/>
              </a:rPr>
              <a:t>Phase IV: Conduct national roll out</a:t>
            </a:r>
            <a:endParaRPr lang="en-US" sz="1600" b="1" dirty="0">
              <a:solidFill>
                <a:schemeClr val="bg2"/>
              </a:solidFill>
              <a:latin typeface="Arial" pitchFamily="34" charset="0"/>
              <a:cs typeface="Arial" pitchFamily="34" charset="0"/>
            </a:endParaRPr>
          </a:p>
        </p:txBody>
      </p:sp>
      <p:sp>
        <p:nvSpPr>
          <p:cNvPr id="16" name="Oval 109">
            <a:extLst>
              <a:ext uri="{FF2B5EF4-FFF2-40B4-BE49-F238E27FC236}"/>
            </a:extLst>
          </p:cNvPr>
          <p:cNvSpPr>
            <a:spLocks noChangeArrowheads="1"/>
          </p:cNvSpPr>
          <p:nvPr/>
        </p:nvSpPr>
        <p:spPr bwMode="gray">
          <a:xfrm>
            <a:off x="7251700" y="3214688"/>
            <a:ext cx="457200" cy="457200"/>
          </a:xfrm>
          <a:prstGeom prst="ellipse">
            <a:avLst/>
          </a:prstGeom>
          <a:solidFill>
            <a:schemeClr val="bg1"/>
          </a:solidFill>
          <a:ln w="38100">
            <a:solidFill>
              <a:schemeClr val="accent5"/>
            </a:solidFill>
            <a:round/>
            <a:headEnd/>
            <a:tailEnd/>
          </a:ln>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grpSp>
        <p:nvGrpSpPr>
          <p:cNvPr id="73" name="Group 72">
            <a:extLst>
              <a:ext uri="{FF2B5EF4-FFF2-40B4-BE49-F238E27FC236}"/>
            </a:extLst>
          </p:cNvPr>
          <p:cNvGrpSpPr/>
          <p:nvPr/>
        </p:nvGrpSpPr>
        <p:grpSpPr>
          <a:xfrm>
            <a:off x="7279413" y="3281198"/>
            <a:ext cx="412175" cy="277046"/>
            <a:chOff x="1655676" y="1545142"/>
            <a:chExt cx="5737593" cy="3832420"/>
          </a:xfrm>
          <a:solidFill>
            <a:schemeClr val="accent5"/>
          </a:solidFill>
        </p:grpSpPr>
        <p:sp>
          <p:nvSpPr>
            <p:cNvPr id="74" name="Freeform: Shape 73">
              <a:extLst>
                <a:ext uri="{FF2B5EF4-FFF2-40B4-BE49-F238E27FC236}"/>
              </a:extLst>
            </p:cNvPr>
            <p:cNvSpPr/>
            <p:nvPr/>
          </p:nvSpPr>
          <p:spPr>
            <a:xfrm>
              <a:off x="1694329" y="1568824"/>
              <a:ext cx="4258236" cy="3801035"/>
            </a:xfrm>
            <a:custGeom>
              <a:avLst/>
              <a:gdLst>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1954306 w 4258236"/>
                <a:gd name="connsiteY4" fmla="*/ 3792070 h 3792070"/>
                <a:gd name="connsiteX5" fmla="*/ 0 w 4258236"/>
                <a:gd name="connsiteY5" fmla="*/ 3792070 h 3792070"/>
                <a:gd name="connsiteX6" fmla="*/ 2115671 w 4258236"/>
                <a:gd name="connsiteY6" fmla="*/ 0 h 3792070"/>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1362636 w 4258236"/>
                <a:gd name="connsiteY4" fmla="*/ 3792070 h 3792070"/>
                <a:gd name="connsiteX5" fmla="*/ 0 w 4258236"/>
                <a:gd name="connsiteY5" fmla="*/ 3792070 h 3792070"/>
                <a:gd name="connsiteX6" fmla="*/ 2115671 w 4258236"/>
                <a:gd name="connsiteY6" fmla="*/ 0 h 3792070"/>
                <a:gd name="connsiteX0" fmla="*/ 2115671 w 4258236"/>
                <a:gd name="connsiteY0" fmla="*/ 0 h 3792070"/>
                <a:gd name="connsiteX1" fmla="*/ 4258236 w 4258236"/>
                <a:gd name="connsiteY1" fmla="*/ 3783105 h 3792070"/>
                <a:gd name="connsiteX2" fmla="*/ 1954306 w 4258236"/>
                <a:gd name="connsiteY2" fmla="*/ 3783105 h 3792070"/>
                <a:gd name="connsiteX3" fmla="*/ 1954306 w 4258236"/>
                <a:gd name="connsiteY3" fmla="*/ 1470211 h 3792070"/>
                <a:gd name="connsiteX4" fmla="*/ 887507 w 4258236"/>
                <a:gd name="connsiteY4" fmla="*/ 3738282 h 3792070"/>
                <a:gd name="connsiteX5" fmla="*/ 0 w 4258236"/>
                <a:gd name="connsiteY5" fmla="*/ 3792070 h 3792070"/>
                <a:gd name="connsiteX6" fmla="*/ 2115671 w 4258236"/>
                <a:gd name="connsiteY6" fmla="*/ 0 h 3792070"/>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 name="connsiteX0" fmla="*/ 2115671 w 4258236"/>
                <a:gd name="connsiteY0" fmla="*/ 0 h 3801035"/>
                <a:gd name="connsiteX1" fmla="*/ 4258236 w 4258236"/>
                <a:gd name="connsiteY1" fmla="*/ 3783105 h 3801035"/>
                <a:gd name="connsiteX2" fmla="*/ 1954306 w 4258236"/>
                <a:gd name="connsiteY2" fmla="*/ 3783105 h 3801035"/>
                <a:gd name="connsiteX3" fmla="*/ 1954306 w 4258236"/>
                <a:gd name="connsiteY3" fmla="*/ 1470211 h 3801035"/>
                <a:gd name="connsiteX4" fmla="*/ 869577 w 4258236"/>
                <a:gd name="connsiteY4" fmla="*/ 3801035 h 3801035"/>
                <a:gd name="connsiteX5" fmla="*/ 0 w 4258236"/>
                <a:gd name="connsiteY5" fmla="*/ 3792070 h 3801035"/>
                <a:gd name="connsiteX6" fmla="*/ 2115671 w 4258236"/>
                <a:gd name="connsiteY6" fmla="*/ 0 h 3801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8236" h="3801035">
                  <a:moveTo>
                    <a:pt x="2115671" y="0"/>
                  </a:moveTo>
                  <a:lnTo>
                    <a:pt x="4258236" y="3783105"/>
                  </a:lnTo>
                  <a:lnTo>
                    <a:pt x="1954306" y="3783105"/>
                  </a:lnTo>
                  <a:lnTo>
                    <a:pt x="1954306" y="1470211"/>
                  </a:lnTo>
                  <a:lnTo>
                    <a:pt x="869577" y="3801035"/>
                  </a:lnTo>
                  <a:lnTo>
                    <a:pt x="0" y="3792070"/>
                  </a:lnTo>
                  <a:lnTo>
                    <a:pt x="2115671"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75" name="Freeform: Shape 74">
              <a:extLst>
                <a:ext uri="{FF2B5EF4-FFF2-40B4-BE49-F238E27FC236}"/>
              </a:extLst>
            </p:cNvPr>
            <p:cNvSpPr/>
            <p:nvPr/>
          </p:nvSpPr>
          <p:spPr>
            <a:xfrm>
              <a:off x="3923928" y="1545142"/>
              <a:ext cx="3469341" cy="3792070"/>
            </a:xfrm>
            <a:custGeom>
              <a:avLst/>
              <a:gdLst>
                <a:gd name="connsiteX0" fmla="*/ 0 w 3469341"/>
                <a:gd name="connsiteY0" fmla="*/ 0 h 3792070"/>
                <a:gd name="connsiteX1" fmla="*/ 1326776 w 3469341"/>
                <a:gd name="connsiteY1" fmla="*/ 0 h 3792070"/>
                <a:gd name="connsiteX2" fmla="*/ 3469341 w 3469341"/>
                <a:gd name="connsiteY2" fmla="*/ 3370729 h 3792070"/>
                <a:gd name="connsiteX3" fmla="*/ 2169459 w 3469341"/>
                <a:gd name="connsiteY3" fmla="*/ 3792070 h 3792070"/>
                <a:gd name="connsiteX4" fmla="*/ 0 w 3469341"/>
                <a:gd name="connsiteY4" fmla="*/ 0 h 379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9341" h="3792070">
                  <a:moveTo>
                    <a:pt x="0" y="0"/>
                  </a:moveTo>
                  <a:lnTo>
                    <a:pt x="1326776" y="0"/>
                  </a:lnTo>
                  <a:lnTo>
                    <a:pt x="3469341" y="3370729"/>
                  </a:lnTo>
                  <a:lnTo>
                    <a:pt x="2169459" y="3792070"/>
                  </a:lnTo>
                  <a:lnTo>
                    <a:pt x="0"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grpSp>
          <p:nvGrpSpPr>
            <p:cNvPr id="76" name="Group 75">
              <a:extLst>
                <a:ext uri="{FF2B5EF4-FFF2-40B4-BE49-F238E27FC236}"/>
              </a:extLst>
            </p:cNvPr>
            <p:cNvGrpSpPr/>
            <p:nvPr/>
          </p:nvGrpSpPr>
          <p:grpSpPr>
            <a:xfrm>
              <a:off x="1655676" y="2312876"/>
              <a:ext cx="2297868" cy="3064686"/>
              <a:chOff x="113892" y="2228351"/>
              <a:chExt cx="2297868" cy="3064686"/>
            </a:xfrm>
            <a:grpFill/>
          </p:grpSpPr>
          <p:sp>
            <p:nvSpPr>
              <p:cNvPr id="77" name="Freeform: Shape 76">
                <a:extLst>
                  <a:ext uri="{FF2B5EF4-FFF2-40B4-BE49-F238E27FC236}"/>
                </a:extLst>
              </p:cNvPr>
              <p:cNvSpPr/>
              <p:nvPr/>
            </p:nvSpPr>
            <p:spPr>
              <a:xfrm>
                <a:off x="113892" y="2228351"/>
                <a:ext cx="2297868" cy="3064686"/>
              </a:xfrm>
              <a:custGeom>
                <a:avLst/>
                <a:gdLst>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 name="connsiteX0" fmla="*/ 1577788 w 1577788"/>
                  <a:gd name="connsiteY0" fmla="*/ 0 h 2104309"/>
                  <a:gd name="connsiteX1" fmla="*/ 0 w 1577788"/>
                  <a:gd name="connsiteY1" fmla="*/ 833718 h 2104309"/>
                  <a:gd name="connsiteX2" fmla="*/ 614145 w 1577788"/>
                  <a:gd name="connsiteY2" fmla="*/ 2104309 h 2104309"/>
                  <a:gd name="connsiteX3" fmla="*/ 1577788 w 1577788"/>
                  <a:gd name="connsiteY3" fmla="*/ 0 h 2104309"/>
                </a:gdLst>
                <a:ahLst/>
                <a:cxnLst>
                  <a:cxn ang="0">
                    <a:pos x="connsiteX0" y="connsiteY0"/>
                  </a:cxn>
                  <a:cxn ang="0">
                    <a:pos x="connsiteX1" y="connsiteY1"/>
                  </a:cxn>
                  <a:cxn ang="0">
                    <a:pos x="connsiteX2" y="connsiteY2"/>
                  </a:cxn>
                  <a:cxn ang="0">
                    <a:pos x="connsiteX3" y="connsiteY3"/>
                  </a:cxn>
                </a:cxnLst>
                <a:rect l="l" t="t" r="r" b="b"/>
                <a:pathLst>
                  <a:path w="1577788" h="2104309">
                    <a:moveTo>
                      <a:pt x="1577788" y="0"/>
                    </a:moveTo>
                    <a:lnTo>
                      <a:pt x="0" y="833718"/>
                    </a:lnTo>
                    <a:cubicBezTo>
                      <a:pt x="533033" y="1370098"/>
                      <a:pt x="617008" y="1860168"/>
                      <a:pt x="614145" y="2104309"/>
                    </a:cubicBezTo>
                    <a:lnTo>
                      <a:pt x="1577788"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78" name="Freeform: Shape 77">
                <a:extLst>
                  <a:ext uri="{FF2B5EF4-FFF2-40B4-BE49-F238E27FC236}"/>
                </a:extLst>
              </p:cNvPr>
              <p:cNvSpPr/>
              <p:nvPr/>
            </p:nvSpPr>
            <p:spPr>
              <a:xfrm>
                <a:off x="431540" y="2680447"/>
                <a:ext cx="1577788" cy="1981200"/>
              </a:xfrm>
              <a:custGeom>
                <a:avLst/>
                <a:gdLst>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 name="connsiteX0" fmla="*/ 1577788 w 1577788"/>
                  <a:gd name="connsiteY0" fmla="*/ 0 h 1981200"/>
                  <a:gd name="connsiteX1" fmla="*/ 0 w 1577788"/>
                  <a:gd name="connsiteY1" fmla="*/ 833718 h 1981200"/>
                  <a:gd name="connsiteX2" fmla="*/ 663388 w 1577788"/>
                  <a:gd name="connsiteY2" fmla="*/ 1981200 h 1981200"/>
                  <a:gd name="connsiteX3" fmla="*/ 1577788 w 1577788"/>
                  <a:gd name="connsiteY3" fmla="*/ 0 h 1981200"/>
                </a:gdLst>
                <a:ahLst/>
                <a:cxnLst>
                  <a:cxn ang="0">
                    <a:pos x="connsiteX0" y="connsiteY0"/>
                  </a:cxn>
                  <a:cxn ang="0">
                    <a:pos x="connsiteX1" y="connsiteY1"/>
                  </a:cxn>
                  <a:cxn ang="0">
                    <a:pos x="connsiteX2" y="connsiteY2"/>
                  </a:cxn>
                  <a:cxn ang="0">
                    <a:pos x="connsiteX3" y="connsiteY3"/>
                  </a:cxn>
                </a:cxnLst>
                <a:rect l="l" t="t" r="r" b="b"/>
                <a:pathLst>
                  <a:path w="1577788" h="1981200">
                    <a:moveTo>
                      <a:pt x="1577788" y="0"/>
                    </a:moveTo>
                    <a:lnTo>
                      <a:pt x="0" y="833718"/>
                    </a:lnTo>
                    <a:cubicBezTo>
                      <a:pt x="391458" y="1216212"/>
                      <a:pt x="567764" y="1706282"/>
                      <a:pt x="663388" y="1981200"/>
                    </a:cubicBezTo>
                    <a:lnTo>
                      <a:pt x="1577788" y="0"/>
                    </a:lnTo>
                    <a:close/>
                  </a:path>
                </a:pathLst>
              </a:custGeom>
              <a:grp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grpSp>
      </p:grpSp>
      <p:sp>
        <p:nvSpPr>
          <p:cNvPr id="8" name="TextBox 7"/>
          <p:cNvSpPr txBox="1">
            <a:spLocks noChangeArrowheads="1"/>
          </p:cNvSpPr>
          <p:nvPr/>
        </p:nvSpPr>
        <p:spPr bwMode="auto">
          <a:xfrm>
            <a:off x="244475" y="3492500"/>
            <a:ext cx="10509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ts val="600"/>
              </a:spcBef>
              <a:spcAft>
                <a:spcPct val="0"/>
              </a:spcAft>
              <a:buClr>
                <a:schemeClr val="bg2"/>
              </a:buClr>
              <a:buSzTx/>
              <a:buFontTx/>
              <a:buNone/>
            </a:pPr>
            <a:r>
              <a:rPr lang="en-US" sz="1100" b="1" i="1">
                <a:solidFill>
                  <a:srgbClr val="C00000"/>
                </a:solidFill>
                <a:latin typeface="Arial" panose="020B0604020202020204" pitchFamily="34" charset="0"/>
              </a:rPr>
              <a:t>We’re here</a:t>
            </a:r>
          </a:p>
        </p:txBody>
      </p:sp>
      <p:sp>
        <p:nvSpPr>
          <p:cNvPr id="42" name="TextBox 41"/>
          <p:cNvSpPr txBox="1">
            <a:spLocks noChangeArrowheads="1"/>
          </p:cNvSpPr>
          <p:nvPr/>
        </p:nvSpPr>
        <p:spPr bwMode="auto">
          <a:xfrm>
            <a:off x="244475" y="2492375"/>
            <a:ext cx="1050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ts val="600"/>
              </a:spcBef>
              <a:spcAft>
                <a:spcPct val="0"/>
              </a:spcAft>
              <a:buClr>
                <a:schemeClr val="bg2"/>
              </a:buClr>
              <a:buSzTx/>
              <a:buFontTx/>
              <a:buNone/>
            </a:pPr>
            <a:r>
              <a:rPr lang="en-US" sz="1100" b="1" i="1">
                <a:solidFill>
                  <a:srgbClr val="C00000"/>
                </a:solidFill>
                <a:latin typeface="Arial" panose="020B0604020202020204" pitchFamily="34" charset="0"/>
              </a:rPr>
              <a:t>We’re prepping for thi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730" name="Object 2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7" name="think-cell Slide" r:id="rId5" imgW="360" imgH="360" progId="TCLayout.ActiveDocument.1">
                  <p:embed/>
                </p:oleObj>
              </mc:Choice>
              <mc:Fallback>
                <p:oleObj name="think-cell Slide" r:id="rId5" imgW="360" imgH="360" progId="TCLayout.ActiveDocument.1">
                  <p:embed/>
                  <p:pic>
                    <p:nvPicPr>
                      <p:cNvPr id="0" name="Object 2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a:ext uri="{FF2B5EF4-FFF2-40B4-BE49-F238E27FC236}"/>
            </a:extLst>
          </p:cNvPr>
          <p:cNvSpPr>
            <a:spLocks noGrp="1"/>
          </p:cNvSpPr>
          <p:nvPr>
            <p:ph type="title"/>
          </p:nvPr>
        </p:nvSpPr>
        <p:spPr>
          <a:xfrm>
            <a:off x="282575" y="954088"/>
            <a:ext cx="7567613" cy="665162"/>
          </a:xfrm>
        </p:spPr>
        <p:txBody>
          <a:bodyPr>
            <a:normAutofit fontScale="90000"/>
          </a:bodyPr>
          <a:lstStyle/>
          <a:p>
            <a:pPr fontAlgn="auto">
              <a:spcAft>
                <a:spcPts val="0"/>
              </a:spcAft>
              <a:defRPr/>
            </a:pPr>
            <a:r>
              <a:rPr lang="en-US" dirty="0">
                <a:solidFill>
                  <a:schemeClr val="tx1">
                    <a:lumMod val="75000"/>
                    <a:lumOff val="25000"/>
                  </a:schemeClr>
                </a:solidFill>
              </a:rPr>
              <a:t>In Phase I, </a:t>
            </a:r>
            <a:r>
              <a:rPr lang="en-US" dirty="0" smtClean="0">
                <a:solidFill>
                  <a:schemeClr val="tx1">
                    <a:lumMod val="75000"/>
                    <a:lumOff val="25000"/>
                  </a:schemeClr>
                </a:solidFill>
              </a:rPr>
              <a:t>citizens</a:t>
            </a:r>
            <a:r>
              <a:rPr lang="en-US" dirty="0">
                <a:solidFill>
                  <a:schemeClr val="tx1">
                    <a:lumMod val="75000"/>
                    <a:lumOff val="25000"/>
                  </a:schemeClr>
                </a:solidFill>
              </a:rPr>
              <a:t>, experts and </a:t>
            </a:r>
            <a:r>
              <a:rPr lang="en-US" dirty="0" smtClean="0">
                <a:solidFill>
                  <a:schemeClr val="tx1">
                    <a:lumMod val="75000"/>
                    <a:lumOff val="25000"/>
                  </a:schemeClr>
                </a:solidFill>
              </a:rPr>
              <a:t>workforce were engaged  </a:t>
            </a:r>
            <a:r>
              <a:rPr lang="en-US" dirty="0">
                <a:solidFill>
                  <a:schemeClr val="tx1">
                    <a:lumMod val="75000"/>
                    <a:lumOff val="25000"/>
                  </a:schemeClr>
                </a:solidFill>
              </a:rPr>
              <a:t>to design the new Model of Care…</a:t>
            </a:r>
          </a:p>
        </p:txBody>
      </p:sp>
      <p:sp>
        <p:nvSpPr>
          <p:cNvPr id="73732" name="Rectangle 2"/>
          <p:cNvSpPr>
            <a:spLocks noChangeArrowheads="1"/>
          </p:cNvSpPr>
          <p:nvPr/>
        </p:nvSpPr>
        <p:spPr bwMode="gray">
          <a:xfrm>
            <a:off x="1363663" y="2711450"/>
            <a:ext cx="63500" cy="79375"/>
          </a:xfrm>
          <a:prstGeom prst="rect">
            <a:avLst/>
          </a:prstGeom>
          <a:solidFill>
            <a:srgbClr val="F2F2F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endParaRPr lang="ar-SA" sz="1200" b="1">
              <a:solidFill>
                <a:srgbClr val="FFFFFF"/>
              </a:solidFill>
              <a:latin typeface="Garamond" panose="02020404030301010803" pitchFamily="18" charset="0"/>
            </a:endParaRPr>
          </a:p>
        </p:txBody>
      </p:sp>
      <p:sp>
        <p:nvSpPr>
          <p:cNvPr id="82" name="object 21">
            <a:extLst>
              <a:ext uri="{FF2B5EF4-FFF2-40B4-BE49-F238E27FC236}"/>
            </a:extLst>
          </p:cNvPr>
          <p:cNvSpPr/>
          <p:nvPr/>
        </p:nvSpPr>
        <p:spPr>
          <a:xfrm>
            <a:off x="422275" y="3346450"/>
            <a:ext cx="561975" cy="561975"/>
          </a:xfrm>
          <a:custGeom>
            <a:avLst/>
            <a:gdLst/>
            <a:ahLst/>
            <a:cxnLst/>
            <a:rect l="l" t="t" r="r" b="b"/>
            <a:pathLst>
              <a:path w="843915" h="843914">
                <a:moveTo>
                  <a:pt x="421805" y="0"/>
                </a:moveTo>
                <a:lnTo>
                  <a:pt x="372613" y="2837"/>
                </a:lnTo>
                <a:lnTo>
                  <a:pt x="325089" y="11140"/>
                </a:lnTo>
                <a:lnTo>
                  <a:pt x="279547" y="24590"/>
                </a:lnTo>
                <a:lnTo>
                  <a:pt x="236306" y="42872"/>
                </a:lnTo>
                <a:lnTo>
                  <a:pt x="195680" y="65670"/>
                </a:lnTo>
                <a:lnTo>
                  <a:pt x="157987" y="92665"/>
                </a:lnTo>
                <a:lnTo>
                  <a:pt x="123544" y="123544"/>
                </a:lnTo>
                <a:lnTo>
                  <a:pt x="92665" y="157987"/>
                </a:lnTo>
                <a:lnTo>
                  <a:pt x="65670" y="195680"/>
                </a:lnTo>
                <a:lnTo>
                  <a:pt x="42872" y="236306"/>
                </a:lnTo>
                <a:lnTo>
                  <a:pt x="24590" y="279547"/>
                </a:lnTo>
                <a:lnTo>
                  <a:pt x="11140" y="325089"/>
                </a:lnTo>
                <a:lnTo>
                  <a:pt x="2837" y="372613"/>
                </a:lnTo>
                <a:lnTo>
                  <a:pt x="0" y="421805"/>
                </a:lnTo>
                <a:lnTo>
                  <a:pt x="2837" y="470996"/>
                </a:lnTo>
                <a:lnTo>
                  <a:pt x="11140" y="518521"/>
                </a:lnTo>
                <a:lnTo>
                  <a:pt x="24590" y="564062"/>
                </a:lnTo>
                <a:lnTo>
                  <a:pt x="42872" y="607304"/>
                </a:lnTo>
                <a:lnTo>
                  <a:pt x="65670" y="647929"/>
                </a:lnTo>
                <a:lnTo>
                  <a:pt x="92665" y="685622"/>
                </a:lnTo>
                <a:lnTo>
                  <a:pt x="123544" y="720066"/>
                </a:lnTo>
                <a:lnTo>
                  <a:pt x="157987" y="750944"/>
                </a:lnTo>
                <a:lnTo>
                  <a:pt x="195680" y="777940"/>
                </a:lnTo>
                <a:lnTo>
                  <a:pt x="236306" y="800737"/>
                </a:lnTo>
                <a:lnTo>
                  <a:pt x="279547" y="819019"/>
                </a:lnTo>
                <a:lnTo>
                  <a:pt x="325089" y="832470"/>
                </a:lnTo>
                <a:lnTo>
                  <a:pt x="372613" y="840772"/>
                </a:lnTo>
                <a:lnTo>
                  <a:pt x="421805" y="843610"/>
                </a:lnTo>
                <a:lnTo>
                  <a:pt x="470993" y="840772"/>
                </a:lnTo>
                <a:lnTo>
                  <a:pt x="518516" y="832470"/>
                </a:lnTo>
                <a:lnTo>
                  <a:pt x="564055" y="819019"/>
                </a:lnTo>
                <a:lnTo>
                  <a:pt x="607296" y="800737"/>
                </a:lnTo>
                <a:lnTo>
                  <a:pt x="647920" y="777940"/>
                </a:lnTo>
                <a:lnTo>
                  <a:pt x="685612" y="750944"/>
                </a:lnTo>
                <a:lnTo>
                  <a:pt x="720055" y="720066"/>
                </a:lnTo>
                <a:lnTo>
                  <a:pt x="750932" y="685622"/>
                </a:lnTo>
                <a:lnTo>
                  <a:pt x="777927" y="647929"/>
                </a:lnTo>
                <a:lnTo>
                  <a:pt x="800724" y="607304"/>
                </a:lnTo>
                <a:lnTo>
                  <a:pt x="819006" y="564062"/>
                </a:lnTo>
                <a:lnTo>
                  <a:pt x="832457" y="518521"/>
                </a:lnTo>
                <a:lnTo>
                  <a:pt x="840759" y="470996"/>
                </a:lnTo>
                <a:lnTo>
                  <a:pt x="843597" y="421805"/>
                </a:lnTo>
                <a:lnTo>
                  <a:pt x="840759" y="372613"/>
                </a:lnTo>
                <a:lnTo>
                  <a:pt x="832457" y="325089"/>
                </a:lnTo>
                <a:lnTo>
                  <a:pt x="819006" y="279547"/>
                </a:lnTo>
                <a:lnTo>
                  <a:pt x="800724" y="236306"/>
                </a:lnTo>
                <a:lnTo>
                  <a:pt x="777927" y="195680"/>
                </a:lnTo>
                <a:lnTo>
                  <a:pt x="750932" y="157987"/>
                </a:lnTo>
                <a:lnTo>
                  <a:pt x="720055" y="123544"/>
                </a:lnTo>
                <a:lnTo>
                  <a:pt x="685612" y="92665"/>
                </a:lnTo>
                <a:lnTo>
                  <a:pt x="647920" y="65670"/>
                </a:lnTo>
                <a:lnTo>
                  <a:pt x="607296" y="42872"/>
                </a:lnTo>
                <a:lnTo>
                  <a:pt x="564055" y="24590"/>
                </a:lnTo>
                <a:lnTo>
                  <a:pt x="518516" y="11140"/>
                </a:lnTo>
                <a:lnTo>
                  <a:pt x="470993" y="2837"/>
                </a:lnTo>
                <a:lnTo>
                  <a:pt x="421805" y="0"/>
                </a:lnTo>
                <a:close/>
              </a:path>
            </a:pathLst>
          </a:custGeom>
          <a:noFill/>
        </p:spPr>
        <p:txBody>
          <a:bodyPr lIns="0" tIns="0" rIns="0" bIns="0"/>
          <a:lstStyle/>
          <a:p>
            <a:pPr>
              <a:defRPr/>
            </a:pPr>
            <a:endParaRPr sz="1088"/>
          </a:p>
        </p:txBody>
      </p:sp>
      <p:grpSp>
        <p:nvGrpSpPr>
          <p:cNvPr id="73734" name="Group 85"/>
          <p:cNvGrpSpPr>
            <a:grpSpLocks/>
          </p:cNvGrpSpPr>
          <p:nvPr/>
        </p:nvGrpSpPr>
        <p:grpSpPr bwMode="auto">
          <a:xfrm>
            <a:off x="508000" y="2097088"/>
            <a:ext cx="3487738" cy="3505200"/>
            <a:chOff x="320552" y="2154891"/>
            <a:chExt cx="4172519" cy="4190347"/>
          </a:xfrm>
        </p:grpSpPr>
        <p:sp>
          <p:nvSpPr>
            <p:cNvPr id="87" name="object 5">
              <a:extLst>
                <a:ext uri="{FF2B5EF4-FFF2-40B4-BE49-F238E27FC236}"/>
              </a:extLst>
            </p:cNvPr>
            <p:cNvSpPr>
              <a:spLocks noChangeAspect="1"/>
            </p:cNvSpPr>
            <p:nvPr/>
          </p:nvSpPr>
          <p:spPr>
            <a:xfrm>
              <a:off x="2435671" y="2154891"/>
              <a:ext cx="2056725" cy="1371600"/>
            </a:xfrm>
            <a:prstGeom prst="rect">
              <a:avLst/>
            </a:prstGeom>
            <a:blipFill>
              <a:blip r:embed="rId7" cstate="print">
                <a:duotone>
                  <a:schemeClr val="accent4">
                    <a:shade val="45000"/>
                    <a:satMod val="135000"/>
                  </a:schemeClr>
                  <a:prstClr val="white"/>
                </a:duotone>
              </a:blip>
              <a:stretch>
                <a:fillRect/>
              </a:stretch>
            </a:blipFill>
          </p:spPr>
          <p:txBody>
            <a:bodyPr lIns="0" tIns="0" rIns="0" bIns="0"/>
            <a:lstStyle/>
            <a:p>
              <a:pPr eaLnBrk="1" fontAlgn="auto" hangingPunct="1">
                <a:spcBef>
                  <a:spcPts val="0"/>
                </a:spcBef>
                <a:spcAft>
                  <a:spcPts val="0"/>
                </a:spcAft>
                <a:defRPr/>
              </a:pPr>
              <a:endParaRPr>
                <a:solidFill>
                  <a:srgbClr val="000000"/>
                </a:solidFill>
                <a:latin typeface="Arial"/>
                <a:cs typeface="+mn-cs"/>
              </a:endParaRPr>
            </a:p>
          </p:txBody>
        </p:sp>
        <p:sp>
          <p:nvSpPr>
            <p:cNvPr id="88" name="object 8">
              <a:extLst>
                <a:ext uri="{FF2B5EF4-FFF2-40B4-BE49-F238E27FC236}"/>
              </a:extLst>
            </p:cNvPr>
            <p:cNvSpPr>
              <a:spLocks noChangeAspect="1"/>
            </p:cNvSpPr>
            <p:nvPr/>
          </p:nvSpPr>
          <p:spPr>
            <a:xfrm>
              <a:off x="2435671" y="3564264"/>
              <a:ext cx="2057400" cy="1371600"/>
            </a:xfrm>
            <a:prstGeom prst="rect">
              <a:avLst/>
            </a:prstGeom>
            <a:blipFill>
              <a:blip r:embed="rId8" cstate="print">
                <a:duotone>
                  <a:schemeClr val="accent4">
                    <a:shade val="45000"/>
                    <a:satMod val="135000"/>
                  </a:schemeClr>
                  <a:prstClr val="white"/>
                </a:duotone>
              </a:blip>
              <a:stretch>
                <a:fillRect/>
              </a:stretch>
            </a:blipFill>
          </p:spPr>
          <p:txBody>
            <a:bodyPr lIns="0" tIns="0" rIns="0" bIns="0"/>
            <a:lstStyle/>
            <a:p>
              <a:pPr eaLnBrk="1" fontAlgn="auto" hangingPunct="1">
                <a:spcBef>
                  <a:spcPts val="0"/>
                </a:spcBef>
                <a:spcAft>
                  <a:spcPts val="0"/>
                </a:spcAft>
                <a:defRPr/>
              </a:pPr>
              <a:endParaRPr>
                <a:solidFill>
                  <a:srgbClr val="000000"/>
                </a:solidFill>
                <a:latin typeface="Arial"/>
                <a:cs typeface="+mn-cs"/>
              </a:endParaRPr>
            </a:p>
          </p:txBody>
        </p:sp>
        <p:sp>
          <p:nvSpPr>
            <p:cNvPr id="89" name="object 10">
              <a:extLst>
                <a:ext uri="{FF2B5EF4-FFF2-40B4-BE49-F238E27FC236}"/>
              </a:extLst>
            </p:cNvPr>
            <p:cNvSpPr>
              <a:spLocks noChangeAspect="1"/>
            </p:cNvSpPr>
            <p:nvPr/>
          </p:nvSpPr>
          <p:spPr>
            <a:xfrm>
              <a:off x="320552" y="2154891"/>
              <a:ext cx="2055945" cy="1371600"/>
            </a:xfrm>
            <a:prstGeom prst="rect">
              <a:avLst/>
            </a:prstGeom>
            <a:blipFill>
              <a:blip r:embed="rId9" cstate="print">
                <a:duotone>
                  <a:schemeClr val="accent4">
                    <a:shade val="45000"/>
                    <a:satMod val="135000"/>
                  </a:schemeClr>
                  <a:prstClr val="white"/>
                </a:duotone>
              </a:blip>
              <a:stretch>
                <a:fillRect/>
              </a:stretch>
            </a:blipFill>
          </p:spPr>
          <p:txBody>
            <a:bodyPr lIns="0" tIns="0" rIns="0" bIns="0"/>
            <a:lstStyle/>
            <a:p>
              <a:pPr eaLnBrk="1" fontAlgn="auto" hangingPunct="1">
                <a:spcBef>
                  <a:spcPts val="0"/>
                </a:spcBef>
                <a:spcAft>
                  <a:spcPts val="0"/>
                </a:spcAft>
                <a:defRPr/>
              </a:pPr>
              <a:endParaRPr>
                <a:solidFill>
                  <a:srgbClr val="000000"/>
                </a:solidFill>
                <a:latin typeface="Arial"/>
                <a:cs typeface="+mn-cs"/>
              </a:endParaRPr>
            </a:p>
          </p:txBody>
        </p:sp>
        <p:sp>
          <p:nvSpPr>
            <p:cNvPr id="90" name="object 12">
              <a:extLst>
                <a:ext uri="{FF2B5EF4-FFF2-40B4-BE49-F238E27FC236}"/>
              </a:extLst>
            </p:cNvPr>
            <p:cNvSpPr>
              <a:spLocks noChangeAspect="1"/>
            </p:cNvSpPr>
            <p:nvPr/>
          </p:nvSpPr>
          <p:spPr>
            <a:xfrm>
              <a:off x="2435671" y="4973638"/>
              <a:ext cx="2057400" cy="1371600"/>
            </a:xfrm>
            <a:prstGeom prst="rect">
              <a:avLst/>
            </a:prstGeom>
            <a:blipFill>
              <a:blip r:embed="rId10" cstate="print">
                <a:duotone>
                  <a:schemeClr val="accent4">
                    <a:shade val="45000"/>
                    <a:satMod val="135000"/>
                  </a:schemeClr>
                  <a:prstClr val="white"/>
                </a:duotone>
              </a:blip>
              <a:stretch>
                <a:fillRect/>
              </a:stretch>
            </a:blipFill>
          </p:spPr>
          <p:txBody>
            <a:bodyPr lIns="0" tIns="0" rIns="0" bIns="0"/>
            <a:lstStyle/>
            <a:p>
              <a:pPr eaLnBrk="1" fontAlgn="auto" hangingPunct="1">
                <a:spcBef>
                  <a:spcPts val="0"/>
                </a:spcBef>
                <a:spcAft>
                  <a:spcPts val="0"/>
                </a:spcAft>
                <a:defRPr/>
              </a:pPr>
              <a:endParaRPr>
                <a:solidFill>
                  <a:srgbClr val="000000"/>
                </a:solidFill>
                <a:latin typeface="Arial"/>
                <a:cs typeface="+mn-cs"/>
              </a:endParaRPr>
            </a:p>
          </p:txBody>
        </p:sp>
        <p:sp>
          <p:nvSpPr>
            <p:cNvPr id="91" name="object 14">
              <a:extLst>
                <a:ext uri="{FF2B5EF4-FFF2-40B4-BE49-F238E27FC236}"/>
              </a:extLst>
            </p:cNvPr>
            <p:cNvSpPr>
              <a:spLocks noChangeAspect="1"/>
            </p:cNvSpPr>
            <p:nvPr/>
          </p:nvSpPr>
          <p:spPr>
            <a:xfrm>
              <a:off x="320552" y="3564264"/>
              <a:ext cx="2058945" cy="1371600"/>
            </a:xfrm>
            <a:prstGeom prst="rect">
              <a:avLst/>
            </a:prstGeom>
            <a:blipFill>
              <a:blip r:embed="rId11" cstate="print">
                <a:duotone>
                  <a:schemeClr val="accent4">
                    <a:shade val="45000"/>
                    <a:satMod val="135000"/>
                  </a:schemeClr>
                  <a:prstClr val="white"/>
                </a:duotone>
              </a:blip>
              <a:stretch>
                <a:fillRect/>
              </a:stretch>
            </a:blipFill>
          </p:spPr>
          <p:txBody>
            <a:bodyPr lIns="0" tIns="0" rIns="0" bIns="0"/>
            <a:lstStyle/>
            <a:p>
              <a:pPr eaLnBrk="1" fontAlgn="auto" hangingPunct="1">
                <a:spcBef>
                  <a:spcPts val="0"/>
                </a:spcBef>
                <a:spcAft>
                  <a:spcPts val="0"/>
                </a:spcAft>
                <a:defRPr/>
              </a:pPr>
              <a:endParaRPr sz="1200">
                <a:solidFill>
                  <a:srgbClr val="000000"/>
                </a:solidFill>
                <a:latin typeface="+mj-lt"/>
                <a:cs typeface="+mn-cs"/>
              </a:endParaRPr>
            </a:p>
          </p:txBody>
        </p:sp>
        <p:sp>
          <p:nvSpPr>
            <p:cNvPr id="92" name="object 15">
              <a:extLst>
                <a:ext uri="{FF2B5EF4-FFF2-40B4-BE49-F238E27FC236}"/>
              </a:extLst>
            </p:cNvPr>
            <p:cNvSpPr>
              <a:spLocks noChangeAspect="1"/>
            </p:cNvSpPr>
            <p:nvPr/>
          </p:nvSpPr>
          <p:spPr>
            <a:xfrm>
              <a:off x="320552" y="4973638"/>
              <a:ext cx="2056575" cy="1371600"/>
            </a:xfrm>
            <a:prstGeom prst="rect">
              <a:avLst/>
            </a:prstGeom>
            <a:blipFill>
              <a:blip r:embed="rId12" cstate="print">
                <a:duotone>
                  <a:schemeClr val="accent4">
                    <a:shade val="45000"/>
                    <a:satMod val="135000"/>
                  </a:schemeClr>
                  <a:prstClr val="white"/>
                </a:duotone>
              </a:blip>
              <a:stretch>
                <a:fillRect/>
              </a:stretch>
            </a:blipFill>
          </p:spPr>
          <p:txBody>
            <a:bodyPr lIns="0" tIns="0" rIns="0" bIns="0"/>
            <a:lstStyle/>
            <a:p>
              <a:pPr eaLnBrk="1" fontAlgn="auto" hangingPunct="1">
                <a:spcBef>
                  <a:spcPts val="0"/>
                </a:spcBef>
                <a:spcAft>
                  <a:spcPts val="0"/>
                </a:spcAft>
                <a:defRPr/>
              </a:pPr>
              <a:endParaRPr>
                <a:solidFill>
                  <a:srgbClr val="000000"/>
                </a:solidFill>
                <a:latin typeface="Arial"/>
                <a:cs typeface="+mn-cs"/>
              </a:endParaRPr>
            </a:p>
          </p:txBody>
        </p:sp>
      </p:grpSp>
      <p:sp>
        <p:nvSpPr>
          <p:cNvPr id="73735" name="TextBox 95"/>
          <p:cNvSpPr txBox="1">
            <a:spLocks noChangeArrowheads="1"/>
          </p:cNvSpPr>
          <p:nvPr/>
        </p:nvSpPr>
        <p:spPr bwMode="auto">
          <a:xfrm>
            <a:off x="244475" y="1628775"/>
            <a:ext cx="6840538" cy="249238"/>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r>
              <a:rPr lang="en-US" sz="1800" b="1">
                <a:solidFill>
                  <a:schemeClr val="tx1"/>
                </a:solidFill>
                <a:latin typeface="Arial" panose="020B0604020202020204" pitchFamily="34" charset="0"/>
              </a:rPr>
              <a:t>Phase I: MoC design effort</a:t>
            </a:r>
          </a:p>
        </p:txBody>
      </p:sp>
      <p:sp>
        <p:nvSpPr>
          <p:cNvPr id="97" name="Rectangle 96">
            <a:extLst>
              <a:ext uri="{FF2B5EF4-FFF2-40B4-BE49-F238E27FC236}"/>
            </a:extLst>
          </p:cNvPr>
          <p:cNvSpPr/>
          <p:nvPr/>
        </p:nvSpPr>
        <p:spPr>
          <a:xfrm>
            <a:off x="4938713" y="1685925"/>
            <a:ext cx="3959225" cy="408305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nchor="ctr"/>
          <a:lstStyle/>
          <a:p>
            <a:pPr>
              <a:lnSpc>
                <a:spcPct val="90000"/>
              </a:lnSpc>
              <a:spcBef>
                <a:spcPts val="1400"/>
              </a:spcBef>
              <a:buClr>
                <a:schemeClr val="bg2"/>
              </a:buClr>
              <a:buSzPct val="100000"/>
              <a:defRPr/>
            </a:pPr>
            <a:r>
              <a:rPr lang="en-GB" sz="2800" b="1" dirty="0">
                <a:solidFill>
                  <a:schemeClr val="bg2"/>
                </a:solidFill>
                <a:latin typeface="+mj-lt"/>
              </a:rPr>
              <a:t>60,000+ </a:t>
            </a:r>
            <a:r>
              <a:rPr lang="en-GB" sz="1600" b="1" dirty="0">
                <a:solidFill>
                  <a:schemeClr val="bg2"/>
                </a:solidFill>
                <a:latin typeface="+mj-lt"/>
              </a:rPr>
              <a:t>citizens</a:t>
            </a:r>
            <a:r>
              <a:rPr lang="en-GB" sz="1400" b="1" dirty="0">
                <a:solidFill>
                  <a:schemeClr val="bg2"/>
                </a:solidFill>
                <a:latin typeface="+mj-lt"/>
              </a:rPr>
              <a:t> </a:t>
            </a:r>
            <a:r>
              <a:rPr lang="en-GB" sz="1400" dirty="0">
                <a:solidFill>
                  <a:schemeClr val="tx1"/>
                </a:solidFill>
                <a:latin typeface="+mj-lt"/>
              </a:rPr>
              <a:t>participated in Public Survey around the patient centric design</a:t>
            </a:r>
            <a:endParaRPr lang="en-US" sz="1400" dirty="0">
              <a:solidFill>
                <a:schemeClr val="tx1"/>
              </a:solidFill>
              <a:latin typeface="+mj-lt"/>
            </a:endParaRPr>
          </a:p>
          <a:p>
            <a:pPr>
              <a:lnSpc>
                <a:spcPct val="90000"/>
              </a:lnSpc>
              <a:spcBef>
                <a:spcPts val="1400"/>
              </a:spcBef>
              <a:buClr>
                <a:schemeClr val="bg2"/>
              </a:buClr>
              <a:buSzPct val="100000"/>
              <a:defRPr/>
            </a:pPr>
            <a:r>
              <a:rPr lang="en-GB" sz="2800" b="1" dirty="0">
                <a:solidFill>
                  <a:schemeClr val="bg2"/>
                </a:solidFill>
                <a:latin typeface="+mj-lt"/>
              </a:rPr>
              <a:t>2500+ </a:t>
            </a:r>
            <a:r>
              <a:rPr lang="en-US" sz="1600" b="1" dirty="0">
                <a:solidFill>
                  <a:schemeClr val="bg2"/>
                </a:solidFill>
                <a:latin typeface="+mj-lt"/>
                <a:cs typeface="Arial" pitchFamily="34" charset="0"/>
              </a:rPr>
              <a:t>healthcare professionals </a:t>
            </a:r>
            <a:r>
              <a:rPr lang="en-GB" sz="1400" dirty="0">
                <a:solidFill>
                  <a:schemeClr val="tx1"/>
                </a:solidFill>
                <a:latin typeface="+mj-lt"/>
              </a:rPr>
              <a:t>engaged in e-discussions</a:t>
            </a:r>
          </a:p>
          <a:p>
            <a:pPr>
              <a:lnSpc>
                <a:spcPct val="90000"/>
              </a:lnSpc>
              <a:spcBef>
                <a:spcPts val="1400"/>
              </a:spcBef>
              <a:buClr>
                <a:schemeClr val="bg2"/>
              </a:buClr>
              <a:buSzPct val="100000"/>
              <a:defRPr/>
            </a:pPr>
            <a:r>
              <a:rPr lang="en-US" sz="2800" b="1" dirty="0">
                <a:solidFill>
                  <a:schemeClr val="bg2"/>
                </a:solidFill>
                <a:latin typeface="+mj-lt"/>
                <a:cs typeface="Arial" pitchFamily="34" charset="0"/>
              </a:rPr>
              <a:t>1000+ </a:t>
            </a:r>
            <a:r>
              <a:rPr lang="en-US" sz="1600" b="1" dirty="0">
                <a:solidFill>
                  <a:schemeClr val="bg2"/>
                </a:solidFill>
                <a:latin typeface="+mj-lt"/>
                <a:cs typeface="Arial" pitchFamily="34" charset="0"/>
              </a:rPr>
              <a:t>healthcare professionals </a:t>
            </a:r>
            <a:r>
              <a:rPr lang="en-US" sz="1400" dirty="0">
                <a:solidFill>
                  <a:schemeClr val="tx1"/>
                </a:solidFill>
                <a:latin typeface="+mj-lt"/>
                <a:cs typeface="Arial" pitchFamily="34" charset="0"/>
              </a:rPr>
              <a:t>surveyed to identify improvement opportunities</a:t>
            </a:r>
          </a:p>
          <a:p>
            <a:pPr>
              <a:lnSpc>
                <a:spcPct val="90000"/>
              </a:lnSpc>
              <a:spcBef>
                <a:spcPts val="1400"/>
              </a:spcBef>
              <a:buClr>
                <a:schemeClr val="bg2"/>
              </a:buClr>
              <a:buSzPct val="100000"/>
              <a:defRPr/>
            </a:pPr>
            <a:r>
              <a:rPr lang="en-US" sz="2800" b="1" dirty="0">
                <a:solidFill>
                  <a:schemeClr val="bg2"/>
                </a:solidFill>
                <a:latin typeface="+mj-lt"/>
                <a:cs typeface="Arial" pitchFamily="34" charset="0"/>
              </a:rPr>
              <a:t>400+ </a:t>
            </a:r>
            <a:r>
              <a:rPr lang="en-US" sz="1600" b="1" dirty="0">
                <a:solidFill>
                  <a:schemeClr val="bg2"/>
                </a:solidFill>
                <a:latin typeface="+mj-lt"/>
                <a:cs typeface="Arial" pitchFamily="34" charset="0"/>
              </a:rPr>
              <a:t>healthcare professionals </a:t>
            </a:r>
            <a:r>
              <a:rPr lang="en-US" sz="1400" dirty="0">
                <a:solidFill>
                  <a:schemeClr val="tx1"/>
                </a:solidFill>
                <a:latin typeface="+mj-lt"/>
                <a:cs typeface="Arial" pitchFamily="34" charset="0"/>
              </a:rPr>
              <a:t>from around the country participated in assessing the current system </a:t>
            </a:r>
          </a:p>
        </p:txBody>
      </p:sp>
      <p:sp>
        <p:nvSpPr>
          <p:cNvPr id="73737" name="TextBox 3"/>
          <p:cNvSpPr txBox="1">
            <a:spLocks noChangeArrowheads="1"/>
          </p:cNvSpPr>
          <p:nvPr/>
        </p:nvSpPr>
        <p:spPr bwMode="auto">
          <a:xfrm>
            <a:off x="0" y="5661025"/>
            <a:ext cx="9144000" cy="682625"/>
          </a:xfrm>
          <a:prstGeom prst="rect">
            <a:avLst/>
          </a:prstGeom>
          <a:solidFill>
            <a:schemeClr val="bg2"/>
          </a:solidFill>
          <a:ln>
            <a:noFill/>
          </a:ln>
          <a:extLst>
            <a:ext uri="{91240B29-F687-4F45-9708-019B960494DF}">
              <a14:hiddenLine xmlns:a14="http://schemas.microsoft.com/office/drawing/2010/main" w="6350">
                <a:solidFill>
                  <a:srgbClr val="000000"/>
                </a:solidFill>
                <a:miter lim="800000"/>
                <a:headEnd/>
                <a:tailEnd/>
              </a14:hiddenLine>
            </a:ext>
          </a:extLst>
        </p:spPr>
        <p:txBody>
          <a:bodyPr lIns="252476" tIns="76200" rIns="252476" bIns="76200"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r>
              <a:rPr lang="en-US" sz="1800" b="1">
                <a:solidFill>
                  <a:schemeClr val="bg1"/>
                </a:solidFill>
                <a:latin typeface="Arial" panose="020B0604020202020204" pitchFamily="34" charset="0"/>
              </a:rPr>
              <a:t>3 Care Design Group sessions were held  to address key issues in KSA healthcare delivery, shortlist necessary interventions, and design the SoCs</a:t>
            </a:r>
            <a:r>
              <a:rPr lang="en-US" sz="1800" b="1" baseline="30000">
                <a:solidFill>
                  <a:schemeClr val="bg1"/>
                </a:solidFill>
                <a:latin typeface="Arial" panose="020B0604020202020204" pitchFamily="34" charset="0"/>
              </a:rPr>
              <a:t>1</a:t>
            </a:r>
          </a:p>
        </p:txBody>
      </p:sp>
      <p:sp>
        <p:nvSpPr>
          <p:cNvPr id="73738" name="TextBox 16"/>
          <p:cNvSpPr txBox="1">
            <a:spLocks noChangeArrowheads="1"/>
          </p:cNvSpPr>
          <p:nvPr/>
        </p:nvSpPr>
        <p:spPr bwMode="auto">
          <a:xfrm>
            <a:off x="244475" y="6369050"/>
            <a:ext cx="63992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b"/>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r>
              <a:rPr lang="en-US" sz="800">
                <a:solidFill>
                  <a:schemeClr val="tx1"/>
                </a:solidFill>
                <a:latin typeface="Arial" panose="020B0604020202020204" pitchFamily="34" charset="0"/>
              </a:rPr>
              <a:t>1. System of Care</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778"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66"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3" name="Rectangle 112">
            <a:extLst>
              <a:ext uri="{FF2B5EF4-FFF2-40B4-BE49-F238E27FC236}"/>
            </a:extLst>
          </p:cNvPr>
          <p:cNvSpPr/>
          <p:nvPr/>
        </p:nvSpPr>
        <p:spPr>
          <a:xfrm>
            <a:off x="4664075" y="2420938"/>
            <a:ext cx="4229100" cy="3060700"/>
          </a:xfrm>
          <a:prstGeom prst="rect">
            <a:avLst/>
          </a:prstGeom>
          <a:gradFill>
            <a:gsLst>
              <a:gs pos="0">
                <a:schemeClr val="tx2">
                  <a:lumMod val="10000"/>
                  <a:lumOff val="90000"/>
                </a:schemeClr>
              </a:gs>
              <a:gs pos="100000">
                <a:schemeClr val="bg1">
                  <a:alpha val="66000"/>
                </a:schemeClr>
              </a:gs>
            </a:gsLst>
            <a:lin ang="5400000" scaled="1"/>
          </a:gra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eaLnBrk="1" fontAlgn="auto" hangingPunct="1">
              <a:lnSpc>
                <a:spcPct val="90000"/>
              </a:lnSpc>
              <a:spcBef>
                <a:spcPts val="900"/>
              </a:spcBef>
              <a:spcAft>
                <a:spcPts val="0"/>
              </a:spcAft>
              <a:defRPr/>
            </a:pPr>
            <a:endParaRPr lang="en-US" sz="1400" b="1" dirty="0">
              <a:solidFill>
                <a:srgbClr val="FFFFFF"/>
              </a:solidFill>
              <a:latin typeface="Arial" pitchFamily="34" charset="0"/>
              <a:cs typeface="Arial" pitchFamily="34" charset="0"/>
            </a:endParaRPr>
          </a:p>
        </p:txBody>
      </p:sp>
      <p:sp>
        <p:nvSpPr>
          <p:cNvPr id="112" name="Rectangle 111">
            <a:extLst>
              <a:ext uri="{FF2B5EF4-FFF2-40B4-BE49-F238E27FC236}"/>
            </a:extLst>
          </p:cNvPr>
          <p:cNvSpPr/>
          <p:nvPr/>
        </p:nvSpPr>
        <p:spPr>
          <a:xfrm>
            <a:off x="244475" y="2420938"/>
            <a:ext cx="4229100" cy="3092450"/>
          </a:xfrm>
          <a:prstGeom prst="rect">
            <a:avLst/>
          </a:prstGeom>
          <a:gradFill>
            <a:gsLst>
              <a:gs pos="0">
                <a:schemeClr val="tx2">
                  <a:lumMod val="10000"/>
                  <a:lumOff val="90000"/>
                </a:schemeClr>
              </a:gs>
              <a:gs pos="100000">
                <a:schemeClr val="bg1">
                  <a:alpha val="66000"/>
                </a:schemeClr>
              </a:gs>
            </a:gsLst>
            <a:lin ang="5400000" scaled="1"/>
          </a:gra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eaLnBrk="1" fontAlgn="auto" hangingPunct="1">
              <a:lnSpc>
                <a:spcPct val="90000"/>
              </a:lnSpc>
              <a:spcBef>
                <a:spcPts val="900"/>
              </a:spcBef>
              <a:spcAft>
                <a:spcPts val="0"/>
              </a:spcAft>
              <a:defRPr/>
            </a:pPr>
            <a:endParaRPr lang="en-US" sz="1400" b="1" dirty="0">
              <a:solidFill>
                <a:srgbClr val="FFFFFF"/>
              </a:solidFill>
              <a:latin typeface="Arial" pitchFamily="34" charset="0"/>
              <a:cs typeface="Arial" pitchFamily="34" charset="0"/>
            </a:endParaRPr>
          </a:p>
        </p:txBody>
      </p:sp>
      <p:sp>
        <p:nvSpPr>
          <p:cNvPr id="12" name="Rectangle 11">
            <a:extLst>
              <a:ext uri="{FF2B5EF4-FFF2-40B4-BE49-F238E27FC236}"/>
            </a:extLst>
          </p:cNvPr>
          <p:cNvSpPr/>
          <p:nvPr/>
        </p:nvSpPr>
        <p:spPr>
          <a:xfrm>
            <a:off x="244475" y="2057400"/>
            <a:ext cx="4229100" cy="406400"/>
          </a:xfrm>
          <a:prstGeom prst="rect">
            <a:avLst/>
          </a:prstGeom>
          <a:solidFill>
            <a:schemeClr val="bg2"/>
          </a:solidFill>
          <a:ln w="6350" cap="flat" cmpd="sng" algn="ctr">
            <a:noFill/>
            <a:prstDash val="solid"/>
            <a:miter lim="800000"/>
          </a:ln>
          <a:effectLst/>
          <a:extLst>
            <a:ext uri="{91240B29-F687-4F45-9708-019B960494DF}">
              <a14:hiddenLine xmlns:a14="http://schemas.microsoft.com/office/drawing/2010/main" w="6350"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marL="341313" eaLnBrk="1" fontAlgn="auto" hangingPunct="1">
              <a:lnSpc>
                <a:spcPct val="90000"/>
              </a:lnSpc>
              <a:spcBef>
                <a:spcPts val="900"/>
              </a:spcBef>
              <a:spcAft>
                <a:spcPts val="0"/>
              </a:spcAft>
              <a:defRPr/>
            </a:pPr>
            <a:r>
              <a:rPr lang="en-US" sz="1400" b="1" dirty="0">
                <a:solidFill>
                  <a:srgbClr val="FFFFFF"/>
                </a:solidFill>
                <a:latin typeface="Arial" panose="020B0604020202020204" pitchFamily="34" charset="0"/>
                <a:cs typeface="Arial" panose="020B0604020202020204" pitchFamily="34" charset="0"/>
              </a:rPr>
              <a:t>Workstream 1</a:t>
            </a:r>
          </a:p>
        </p:txBody>
      </p:sp>
      <p:sp>
        <p:nvSpPr>
          <p:cNvPr id="13" name="Rectangle 12">
            <a:extLst>
              <a:ext uri="{FF2B5EF4-FFF2-40B4-BE49-F238E27FC236}"/>
            </a:extLst>
          </p:cNvPr>
          <p:cNvSpPr/>
          <p:nvPr/>
        </p:nvSpPr>
        <p:spPr>
          <a:xfrm>
            <a:off x="4664075" y="2057400"/>
            <a:ext cx="4229100" cy="406400"/>
          </a:xfrm>
          <a:prstGeom prst="rect">
            <a:avLst/>
          </a:prstGeom>
          <a:solidFill>
            <a:schemeClr val="bg2"/>
          </a:solidFill>
          <a:ln w="6350" cap="flat" cmpd="sng" algn="ctr">
            <a:noFill/>
            <a:prstDash val="solid"/>
            <a:miter lim="800000"/>
          </a:ln>
          <a:effectLst/>
          <a:extLst>
            <a:ext uri="{91240B29-F687-4F45-9708-019B960494DF}">
              <a14:hiddenLine xmlns:a14="http://schemas.microsoft.com/office/drawing/2010/main" w="6350"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marL="396875" eaLnBrk="1" fontAlgn="auto" hangingPunct="1">
              <a:lnSpc>
                <a:spcPct val="90000"/>
              </a:lnSpc>
              <a:spcBef>
                <a:spcPts val="900"/>
              </a:spcBef>
              <a:spcAft>
                <a:spcPts val="0"/>
              </a:spcAft>
              <a:defRPr/>
            </a:pPr>
            <a:r>
              <a:rPr lang="en-US" sz="1400" b="1" dirty="0">
                <a:solidFill>
                  <a:srgbClr val="FFFFFF"/>
                </a:solidFill>
                <a:latin typeface="Arial" panose="020B0604020202020204" pitchFamily="34" charset="0"/>
                <a:cs typeface="Arial" panose="020B0604020202020204" pitchFamily="34" charset="0"/>
              </a:rPr>
              <a:t>Workstream 2</a:t>
            </a:r>
          </a:p>
        </p:txBody>
      </p:sp>
      <p:sp>
        <p:nvSpPr>
          <p:cNvPr id="75783" name="TextBox 56"/>
          <p:cNvSpPr txBox="1">
            <a:spLocks noChangeArrowheads="1"/>
          </p:cNvSpPr>
          <p:nvPr/>
        </p:nvSpPr>
        <p:spPr bwMode="auto">
          <a:xfrm>
            <a:off x="371475" y="2549525"/>
            <a:ext cx="4059238"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none"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200" b="1">
                <a:solidFill>
                  <a:srgbClr val="000000"/>
                </a:solidFill>
                <a:latin typeface="Arial" panose="020B0604020202020204" pitchFamily="34" charset="0"/>
              </a:rPr>
              <a:t>Regional Pathway Development</a:t>
            </a:r>
          </a:p>
          <a:p>
            <a:pPr algn="l" rtl="0" eaLnBrk="1" hangingPunct="1">
              <a:spcBef>
                <a:spcPts val="600"/>
              </a:spcBef>
              <a:spcAft>
                <a:spcPct val="0"/>
              </a:spcAft>
              <a:buClr>
                <a:srgbClr val="048962"/>
              </a:buClr>
              <a:buSzTx/>
              <a:buFontTx/>
              <a:buNone/>
            </a:pPr>
            <a:r>
              <a:rPr lang="en-US" sz="1200" i="1">
                <a:solidFill>
                  <a:srgbClr val="000000"/>
                </a:solidFill>
                <a:latin typeface="Arial" panose="020B0604020202020204" pitchFamily="34" charset="0"/>
              </a:rPr>
              <a:t>5 Systems of Care were detailed</a:t>
            </a:r>
            <a:r>
              <a:rPr lang="en-US" sz="1200" i="1" baseline="30000">
                <a:solidFill>
                  <a:srgbClr val="000000"/>
                </a:solidFill>
                <a:latin typeface="Arial" panose="020B0604020202020204" pitchFamily="34" charset="0"/>
              </a:rPr>
              <a:t>1</a:t>
            </a:r>
            <a:r>
              <a:rPr lang="en-US" sz="1200" i="1">
                <a:solidFill>
                  <a:srgbClr val="000000"/>
                </a:solidFill>
                <a:latin typeface="Arial" panose="020B0604020202020204" pitchFamily="34" charset="0"/>
              </a:rPr>
              <a:t> by 5 National Pathfinders</a:t>
            </a:r>
          </a:p>
        </p:txBody>
      </p:sp>
      <p:sp>
        <p:nvSpPr>
          <p:cNvPr id="75784" name="TextBox 57"/>
          <p:cNvSpPr txBox="1">
            <a:spLocks noChangeArrowheads="1"/>
          </p:cNvSpPr>
          <p:nvPr/>
        </p:nvSpPr>
        <p:spPr bwMode="auto">
          <a:xfrm>
            <a:off x="4764088" y="2549525"/>
            <a:ext cx="4056062"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200" b="1">
                <a:solidFill>
                  <a:srgbClr val="000000"/>
                </a:solidFill>
                <a:latin typeface="Arial" panose="020B0604020202020204" pitchFamily="34" charset="0"/>
              </a:rPr>
              <a:t>National Implementation Planning </a:t>
            </a:r>
          </a:p>
          <a:p>
            <a:pPr algn="l" rtl="0">
              <a:spcBef>
                <a:spcPts val="600"/>
              </a:spcBef>
              <a:spcAft>
                <a:spcPct val="0"/>
              </a:spcAft>
              <a:buClr>
                <a:srgbClr val="048962"/>
              </a:buClr>
              <a:buSzTx/>
              <a:buFontTx/>
              <a:buNone/>
            </a:pPr>
            <a:r>
              <a:rPr lang="en-US" sz="1200" i="1">
                <a:solidFill>
                  <a:srgbClr val="000000"/>
                </a:solidFill>
                <a:latin typeface="Arial" panose="020B0604020202020204" pitchFamily="34" charset="0"/>
              </a:rPr>
              <a:t>6 Cross-cutting interventions + Keep Well were detailed by a centralized  team of experts</a:t>
            </a:r>
          </a:p>
        </p:txBody>
      </p:sp>
      <p:sp>
        <p:nvSpPr>
          <p:cNvPr id="202" name="TextBox 201">
            <a:extLst>
              <a:ext uri="{FF2B5EF4-FFF2-40B4-BE49-F238E27FC236}"/>
            </a:extLst>
          </p:cNvPr>
          <p:cNvSpPr txBox="1"/>
          <p:nvPr/>
        </p:nvSpPr>
        <p:spPr>
          <a:xfrm>
            <a:off x="347663" y="3130550"/>
            <a:ext cx="1141412" cy="322263"/>
          </a:xfrm>
          <a:prstGeom prst="rect">
            <a:avLst/>
          </a:prstGeom>
          <a:solidFill>
            <a:srgbClr val="96CAB3"/>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cs typeface="+mn-cs"/>
              </a:rPr>
              <a:t>King Saud Medical City</a:t>
            </a:r>
            <a:endParaRPr lang="en-GB" sz="1100" b="1" kern="0" dirty="0">
              <a:solidFill>
                <a:srgbClr val="FFFFFF"/>
              </a:solidFill>
              <a:latin typeface="Arial"/>
            </a:endParaRPr>
          </a:p>
        </p:txBody>
      </p:sp>
      <p:sp>
        <p:nvSpPr>
          <p:cNvPr id="203" name="Rectangle 202">
            <a:extLst>
              <a:ext uri="{FF2B5EF4-FFF2-40B4-BE49-F238E27FC236}"/>
            </a:extLst>
          </p:cNvPr>
          <p:cNvSpPr/>
          <p:nvPr/>
        </p:nvSpPr>
        <p:spPr>
          <a:xfrm>
            <a:off x="347663" y="3448050"/>
            <a:ext cx="1141412" cy="303213"/>
          </a:xfrm>
          <a:prstGeom prst="rect">
            <a:avLst/>
          </a:prstGeom>
          <a:solidFill>
            <a:schemeClr val="accent5"/>
          </a:solidFill>
          <a:ln w="31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Safe Birth &amp; Planned Care</a:t>
            </a:r>
          </a:p>
        </p:txBody>
      </p:sp>
      <p:grpSp>
        <p:nvGrpSpPr>
          <p:cNvPr id="75787" name="Group 198"/>
          <p:cNvGrpSpPr>
            <a:grpSpLocks/>
          </p:cNvGrpSpPr>
          <p:nvPr/>
        </p:nvGrpSpPr>
        <p:grpSpPr bwMode="auto">
          <a:xfrm>
            <a:off x="241300" y="3033713"/>
            <a:ext cx="182563" cy="182562"/>
            <a:chOff x="7989996" y="3977527"/>
            <a:chExt cx="182880" cy="182880"/>
          </a:xfrm>
        </p:grpSpPr>
        <p:sp>
          <p:nvSpPr>
            <p:cNvPr id="200" name="Oval 91">
              <a:extLst>
                <a:ext uri="{FF2B5EF4-FFF2-40B4-BE49-F238E27FC236}"/>
              </a:extLst>
            </p:cNvPr>
            <p:cNvSpPr>
              <a:spLocks noChangeArrowheads="1"/>
            </p:cNvSpPr>
            <p:nvPr/>
          </p:nvSpPr>
          <p:spPr bwMode="gray">
            <a:xfrm>
              <a:off x="7989996" y="3977527"/>
              <a:ext cx="182880" cy="182880"/>
            </a:xfrm>
            <a:prstGeom prst="ellipse">
              <a:avLst/>
            </a:prstGeom>
            <a:solidFill>
              <a:schemeClr val="bg1"/>
            </a:solidFill>
            <a:ln w="19050">
              <a:solidFill>
                <a:srgbClr val="04704C"/>
              </a:solidFill>
              <a:round/>
              <a:headEnd/>
              <a:tailEnd/>
            </a:ln>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pic>
          <p:nvPicPr>
            <p:cNvPr id="201" name="Picture 51" descr="Image result for city icons">
              <a:extLst>
                <a:ext uri="{FF2B5EF4-FFF2-40B4-BE49-F238E27FC236}"/>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13867" y="3996468"/>
              <a:ext cx="148343" cy="148343"/>
            </a:xfrm>
            <a:prstGeom prst="rect">
              <a:avLst/>
            </a:prstGeom>
            <a:noFill/>
            <a:extLst>
              <a:ext uri="{909E8E84-426E-40DD-AFC4-6F175D3DCCD1}">
                <a14:hiddenFill xmlns:a14="http://schemas.microsoft.com/office/drawing/2010/main">
                  <a:solidFill>
                    <a:srgbClr val="FFFFFF"/>
                  </a:solidFill>
                </a14:hiddenFill>
              </a:ext>
            </a:extLst>
          </p:spPr>
        </p:pic>
      </p:grpSp>
      <p:sp>
        <p:nvSpPr>
          <p:cNvPr id="209" name="TextBox 208">
            <a:extLst>
              <a:ext uri="{FF2B5EF4-FFF2-40B4-BE49-F238E27FC236}"/>
            </a:extLst>
          </p:cNvPr>
          <p:cNvSpPr txBox="1"/>
          <p:nvPr/>
        </p:nvSpPr>
        <p:spPr>
          <a:xfrm>
            <a:off x="3251200" y="4110038"/>
            <a:ext cx="1141413" cy="322262"/>
          </a:xfrm>
          <a:prstGeom prst="rect">
            <a:avLst/>
          </a:prstGeom>
          <a:solidFill>
            <a:srgbClr val="00764C"/>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cs typeface="+mn-cs"/>
              </a:rPr>
              <a:t>King Fahad S. Hospital</a:t>
            </a:r>
            <a:endParaRPr lang="en-GB" sz="1100" b="1" kern="0" dirty="0">
              <a:solidFill>
                <a:srgbClr val="FFFFFF"/>
              </a:solidFill>
              <a:latin typeface="Arial"/>
            </a:endParaRPr>
          </a:p>
        </p:txBody>
      </p:sp>
      <p:sp>
        <p:nvSpPr>
          <p:cNvPr id="210" name="Rectangle 209">
            <a:extLst>
              <a:ext uri="{FF2B5EF4-FFF2-40B4-BE49-F238E27FC236}"/>
            </a:extLst>
          </p:cNvPr>
          <p:cNvSpPr/>
          <p:nvPr/>
        </p:nvSpPr>
        <p:spPr>
          <a:xfrm>
            <a:off x="3251200" y="4416425"/>
            <a:ext cx="1141413" cy="222250"/>
          </a:xfrm>
          <a:prstGeom prst="rect">
            <a:avLst/>
          </a:prstGeom>
          <a:solidFill>
            <a:schemeClr val="accent5"/>
          </a:solidFill>
          <a:ln w="31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Chronic Care</a:t>
            </a:r>
          </a:p>
        </p:txBody>
      </p:sp>
      <p:sp>
        <p:nvSpPr>
          <p:cNvPr id="216" name="TextBox 215">
            <a:extLst>
              <a:ext uri="{FF2B5EF4-FFF2-40B4-BE49-F238E27FC236}"/>
            </a:extLst>
          </p:cNvPr>
          <p:cNvSpPr txBox="1"/>
          <p:nvPr/>
        </p:nvSpPr>
        <p:spPr>
          <a:xfrm>
            <a:off x="1874838" y="3043238"/>
            <a:ext cx="1141412" cy="323850"/>
          </a:xfrm>
          <a:prstGeom prst="rect">
            <a:avLst/>
          </a:prstGeom>
          <a:solidFill>
            <a:srgbClr val="96CAB3"/>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rPr>
              <a:t>King Fahad Medical City</a:t>
            </a:r>
            <a:endParaRPr lang="en-GB" sz="1100" b="1" kern="0" dirty="0">
              <a:solidFill>
                <a:srgbClr val="FFFFFF"/>
              </a:solidFill>
              <a:latin typeface="Arial"/>
            </a:endParaRPr>
          </a:p>
        </p:txBody>
      </p:sp>
      <p:sp>
        <p:nvSpPr>
          <p:cNvPr id="217" name="Rectangle 216">
            <a:extLst>
              <a:ext uri="{FF2B5EF4-FFF2-40B4-BE49-F238E27FC236}"/>
            </a:extLst>
          </p:cNvPr>
          <p:cNvSpPr/>
          <p:nvPr/>
        </p:nvSpPr>
        <p:spPr>
          <a:xfrm>
            <a:off x="1874838" y="3359150"/>
            <a:ext cx="1141412" cy="277813"/>
          </a:xfrm>
          <a:prstGeom prst="rect">
            <a:avLst/>
          </a:prstGeom>
          <a:solidFill>
            <a:schemeClr val="accent5"/>
          </a:solidFill>
          <a:ln w="3175"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Last Phase &amp; Planned Care</a:t>
            </a:r>
          </a:p>
        </p:txBody>
      </p:sp>
      <p:grpSp>
        <p:nvGrpSpPr>
          <p:cNvPr id="75792" name="Group 4"/>
          <p:cNvGrpSpPr>
            <a:grpSpLocks/>
          </p:cNvGrpSpPr>
          <p:nvPr/>
        </p:nvGrpSpPr>
        <p:grpSpPr bwMode="auto">
          <a:xfrm>
            <a:off x="1755775" y="2960688"/>
            <a:ext cx="182563" cy="182562"/>
            <a:chOff x="2637163" y="3648942"/>
            <a:chExt cx="182880" cy="182880"/>
          </a:xfrm>
        </p:grpSpPr>
        <p:sp>
          <p:nvSpPr>
            <p:cNvPr id="214" name="Oval 91">
              <a:extLst>
                <a:ext uri="{FF2B5EF4-FFF2-40B4-BE49-F238E27FC236}"/>
              </a:extLst>
            </p:cNvPr>
            <p:cNvSpPr>
              <a:spLocks noChangeArrowheads="1"/>
            </p:cNvSpPr>
            <p:nvPr/>
          </p:nvSpPr>
          <p:spPr bwMode="gray">
            <a:xfrm>
              <a:off x="2637163" y="3648942"/>
              <a:ext cx="182880" cy="182880"/>
            </a:xfrm>
            <a:prstGeom prst="ellipse">
              <a:avLst/>
            </a:prstGeom>
            <a:solidFill>
              <a:schemeClr val="bg1"/>
            </a:solidFill>
            <a:ln w="19050">
              <a:solidFill>
                <a:srgbClr val="04704C"/>
              </a:solidFill>
              <a:round/>
              <a:headEnd/>
              <a:tailEnd/>
            </a:ln>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pic>
          <p:nvPicPr>
            <p:cNvPr id="215" name="Picture 51" descr="Image result for city icons">
              <a:extLst>
                <a:ext uri="{FF2B5EF4-FFF2-40B4-BE49-F238E27FC236}"/>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61034" y="3667883"/>
              <a:ext cx="148343" cy="148343"/>
            </a:xfrm>
            <a:prstGeom prst="rect">
              <a:avLst/>
            </a:prstGeom>
            <a:noFill/>
            <a:extLst>
              <a:ext uri="{909E8E84-426E-40DD-AFC4-6F175D3DCCD1}">
                <a14:hiddenFill xmlns:a14="http://schemas.microsoft.com/office/drawing/2010/main">
                  <a:solidFill>
                    <a:srgbClr val="FFFFFF"/>
                  </a:solidFill>
                </a14:hiddenFill>
              </a:ext>
            </a:extLst>
          </p:spPr>
        </p:pic>
      </p:grpSp>
      <p:sp>
        <p:nvSpPr>
          <p:cNvPr id="223" name="TextBox 222">
            <a:extLst>
              <a:ext uri="{FF2B5EF4-FFF2-40B4-BE49-F238E27FC236}"/>
            </a:extLst>
          </p:cNvPr>
          <p:cNvSpPr txBox="1"/>
          <p:nvPr/>
        </p:nvSpPr>
        <p:spPr>
          <a:xfrm>
            <a:off x="450850" y="4729163"/>
            <a:ext cx="1141413" cy="322262"/>
          </a:xfrm>
          <a:prstGeom prst="rect">
            <a:avLst/>
          </a:prstGeom>
          <a:solidFill>
            <a:srgbClr val="5EAD8E"/>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rPr>
              <a:t>King Abdullah Medical City</a:t>
            </a:r>
            <a:endParaRPr lang="en-GB" sz="1100" b="1" kern="0" dirty="0">
              <a:solidFill>
                <a:srgbClr val="FFFFFF"/>
              </a:solidFill>
              <a:latin typeface="Arial"/>
            </a:endParaRPr>
          </a:p>
        </p:txBody>
      </p:sp>
      <p:sp>
        <p:nvSpPr>
          <p:cNvPr id="224" name="Rectangle 223">
            <a:extLst>
              <a:ext uri="{FF2B5EF4-FFF2-40B4-BE49-F238E27FC236}"/>
            </a:extLst>
          </p:cNvPr>
          <p:cNvSpPr/>
          <p:nvPr/>
        </p:nvSpPr>
        <p:spPr>
          <a:xfrm>
            <a:off x="450850" y="5041900"/>
            <a:ext cx="1141413" cy="223838"/>
          </a:xfrm>
          <a:prstGeom prst="rect">
            <a:avLst/>
          </a:prstGeom>
          <a:solidFill>
            <a:schemeClr val="accent5"/>
          </a:solidFill>
          <a:ln w="31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Urgent Care</a:t>
            </a:r>
          </a:p>
        </p:txBody>
      </p:sp>
      <p:grpSp>
        <p:nvGrpSpPr>
          <p:cNvPr id="75795" name="Group 219"/>
          <p:cNvGrpSpPr>
            <a:grpSpLocks/>
          </p:cNvGrpSpPr>
          <p:nvPr/>
        </p:nvGrpSpPr>
        <p:grpSpPr bwMode="auto">
          <a:xfrm>
            <a:off x="358775" y="4616450"/>
            <a:ext cx="184150" cy="184150"/>
            <a:chOff x="251520" y="5339760"/>
            <a:chExt cx="182880" cy="182880"/>
          </a:xfrm>
        </p:grpSpPr>
        <p:sp>
          <p:nvSpPr>
            <p:cNvPr id="221" name="Oval 91">
              <a:extLst>
                <a:ext uri="{FF2B5EF4-FFF2-40B4-BE49-F238E27FC236}"/>
              </a:extLst>
            </p:cNvPr>
            <p:cNvSpPr>
              <a:spLocks noChangeArrowheads="1"/>
            </p:cNvSpPr>
            <p:nvPr/>
          </p:nvSpPr>
          <p:spPr bwMode="gray">
            <a:xfrm>
              <a:off x="251520" y="5339760"/>
              <a:ext cx="182880" cy="182880"/>
            </a:xfrm>
            <a:prstGeom prst="ellipse">
              <a:avLst/>
            </a:prstGeom>
            <a:solidFill>
              <a:schemeClr val="bg1"/>
            </a:solidFill>
            <a:ln w="19050">
              <a:solidFill>
                <a:srgbClr val="04704C"/>
              </a:solidFill>
              <a:round/>
              <a:headEnd/>
              <a:tailEnd/>
            </a:ln>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pic>
          <p:nvPicPr>
            <p:cNvPr id="222" name="Picture 51" descr="Image result for city icons">
              <a:extLst>
                <a:ext uri="{FF2B5EF4-FFF2-40B4-BE49-F238E27FC236}"/>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391" y="5358701"/>
              <a:ext cx="148343" cy="1483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5796" name="Group 228"/>
          <p:cNvGrpSpPr>
            <a:grpSpLocks/>
          </p:cNvGrpSpPr>
          <p:nvPr/>
        </p:nvGrpSpPr>
        <p:grpSpPr bwMode="auto">
          <a:xfrm>
            <a:off x="1241425" y="3579813"/>
            <a:ext cx="2214563" cy="1828800"/>
            <a:chOff x="1698625" y="1851025"/>
            <a:chExt cx="5592763" cy="4619626"/>
          </a:xfrm>
        </p:grpSpPr>
        <p:sp>
          <p:nvSpPr>
            <p:cNvPr id="239" name="Freeform 5">
              <a:extLst>
                <a:ext uri="{FF2B5EF4-FFF2-40B4-BE49-F238E27FC236}"/>
              </a:extLst>
            </p:cNvPr>
            <p:cNvSpPr>
              <a:spLocks noEditPoints="1"/>
            </p:cNvSpPr>
            <p:nvPr/>
          </p:nvSpPr>
          <p:spPr bwMode="auto">
            <a:xfrm>
              <a:off x="2011339" y="3374860"/>
              <a:ext cx="1587623" cy="2947416"/>
            </a:xfrm>
            <a:custGeom>
              <a:avLst/>
              <a:gdLst>
                <a:gd name="T0" fmla="*/ 993 w 1000"/>
                <a:gd name="T1" fmla="*/ 1856 h 1856"/>
                <a:gd name="T2" fmla="*/ 992 w 1000"/>
                <a:gd name="T3" fmla="*/ 1856 h 1856"/>
                <a:gd name="T4" fmla="*/ 990 w 1000"/>
                <a:gd name="T5" fmla="*/ 1855 h 1856"/>
                <a:gd name="T6" fmla="*/ 989 w 1000"/>
                <a:gd name="T7" fmla="*/ 1853 h 1856"/>
                <a:gd name="T8" fmla="*/ 987 w 1000"/>
                <a:gd name="T9" fmla="*/ 1851 h 1856"/>
                <a:gd name="T10" fmla="*/ 989 w 1000"/>
                <a:gd name="T11" fmla="*/ 1850 h 1856"/>
                <a:gd name="T12" fmla="*/ 993 w 1000"/>
                <a:gd name="T13" fmla="*/ 1844 h 1856"/>
                <a:gd name="T14" fmla="*/ 995 w 1000"/>
                <a:gd name="T15" fmla="*/ 1845 h 1856"/>
                <a:gd name="T16" fmla="*/ 997 w 1000"/>
                <a:gd name="T17" fmla="*/ 1846 h 1856"/>
                <a:gd name="T18" fmla="*/ 999 w 1000"/>
                <a:gd name="T19" fmla="*/ 1850 h 1856"/>
                <a:gd name="T20" fmla="*/ 999 w 1000"/>
                <a:gd name="T21" fmla="*/ 1850 h 1856"/>
                <a:gd name="T22" fmla="*/ 1000 w 1000"/>
                <a:gd name="T23" fmla="*/ 1852 h 1856"/>
                <a:gd name="T24" fmla="*/ 999 w 1000"/>
                <a:gd name="T25" fmla="*/ 1854 h 1856"/>
                <a:gd name="T26" fmla="*/ 996 w 1000"/>
                <a:gd name="T27" fmla="*/ 1856 h 1856"/>
                <a:gd name="T28" fmla="*/ 993 w 1000"/>
                <a:gd name="T29" fmla="*/ 1856 h 1856"/>
                <a:gd name="T30" fmla="*/ 993 w 1000"/>
                <a:gd name="T31" fmla="*/ 1856 h 1856"/>
                <a:gd name="T32" fmla="*/ 229 w 1000"/>
                <a:gd name="T33" fmla="*/ 408 h 1856"/>
                <a:gd name="T34" fmla="*/ 228 w 1000"/>
                <a:gd name="T35" fmla="*/ 410 h 1856"/>
                <a:gd name="T36" fmla="*/ 226 w 1000"/>
                <a:gd name="T37" fmla="*/ 409 h 1856"/>
                <a:gd name="T38" fmla="*/ 224 w 1000"/>
                <a:gd name="T39" fmla="*/ 408 h 1856"/>
                <a:gd name="T40" fmla="*/ 222 w 1000"/>
                <a:gd name="T41" fmla="*/ 408 h 1856"/>
                <a:gd name="T42" fmla="*/ 221 w 1000"/>
                <a:gd name="T43" fmla="*/ 409 h 1856"/>
                <a:gd name="T44" fmla="*/ 221 w 1000"/>
                <a:gd name="T45" fmla="*/ 405 h 1856"/>
                <a:gd name="T46" fmla="*/ 222 w 1000"/>
                <a:gd name="T47" fmla="*/ 403 h 1856"/>
                <a:gd name="T48" fmla="*/ 224 w 1000"/>
                <a:gd name="T49" fmla="*/ 403 h 1856"/>
                <a:gd name="T50" fmla="*/ 225 w 1000"/>
                <a:gd name="T51" fmla="*/ 404 h 1856"/>
                <a:gd name="T52" fmla="*/ 229 w 1000"/>
                <a:gd name="T53" fmla="*/ 408 h 1856"/>
                <a:gd name="T54" fmla="*/ 229 w 1000"/>
                <a:gd name="T55" fmla="*/ 408 h 1856"/>
                <a:gd name="T56" fmla="*/ 6 w 1000"/>
                <a:gd name="T57" fmla="*/ 10 h 1856"/>
                <a:gd name="T58" fmla="*/ 7 w 1000"/>
                <a:gd name="T59" fmla="*/ 12 h 1856"/>
                <a:gd name="T60" fmla="*/ 3 w 1000"/>
                <a:gd name="T61" fmla="*/ 7 h 1856"/>
                <a:gd name="T62" fmla="*/ 0 w 1000"/>
                <a:gd name="T63" fmla="*/ 6 h 1856"/>
                <a:gd name="T64" fmla="*/ 0 w 1000"/>
                <a:gd name="T65" fmla="*/ 3 h 1856"/>
                <a:gd name="T66" fmla="*/ 0 w 1000"/>
                <a:gd name="T67" fmla="*/ 1 h 1856"/>
                <a:gd name="T68" fmla="*/ 1 w 1000"/>
                <a:gd name="T69" fmla="*/ 0 h 1856"/>
                <a:gd name="T70" fmla="*/ 5 w 1000"/>
                <a:gd name="T71" fmla="*/ 6 h 1856"/>
                <a:gd name="T72" fmla="*/ 6 w 1000"/>
                <a:gd name="T73" fmla="*/ 8 h 1856"/>
                <a:gd name="T74" fmla="*/ 6 w 1000"/>
                <a:gd name="T75" fmla="*/ 10 h 1856"/>
                <a:gd name="T76" fmla="*/ 6 w 1000"/>
                <a:gd name="T77" fmla="*/ 10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0" h="1856">
                  <a:moveTo>
                    <a:pt x="993" y="1856"/>
                  </a:moveTo>
                  <a:lnTo>
                    <a:pt x="992" y="1856"/>
                  </a:lnTo>
                  <a:lnTo>
                    <a:pt x="990" y="1855"/>
                  </a:lnTo>
                  <a:lnTo>
                    <a:pt x="989" y="1853"/>
                  </a:lnTo>
                  <a:lnTo>
                    <a:pt x="987" y="1851"/>
                  </a:lnTo>
                  <a:lnTo>
                    <a:pt x="989" y="1850"/>
                  </a:lnTo>
                  <a:lnTo>
                    <a:pt x="993" y="1844"/>
                  </a:lnTo>
                  <a:lnTo>
                    <a:pt x="995" y="1845"/>
                  </a:lnTo>
                  <a:lnTo>
                    <a:pt x="997" y="1846"/>
                  </a:lnTo>
                  <a:lnTo>
                    <a:pt x="999" y="1850"/>
                  </a:lnTo>
                  <a:lnTo>
                    <a:pt x="999" y="1850"/>
                  </a:lnTo>
                  <a:lnTo>
                    <a:pt x="1000" y="1852"/>
                  </a:lnTo>
                  <a:lnTo>
                    <a:pt x="999" y="1854"/>
                  </a:lnTo>
                  <a:lnTo>
                    <a:pt x="996" y="1856"/>
                  </a:lnTo>
                  <a:lnTo>
                    <a:pt x="993" y="1856"/>
                  </a:lnTo>
                  <a:lnTo>
                    <a:pt x="993" y="1856"/>
                  </a:lnTo>
                  <a:close/>
                  <a:moveTo>
                    <a:pt x="229" y="408"/>
                  </a:moveTo>
                  <a:lnTo>
                    <a:pt x="228" y="410"/>
                  </a:lnTo>
                  <a:lnTo>
                    <a:pt x="226" y="409"/>
                  </a:lnTo>
                  <a:lnTo>
                    <a:pt x="224" y="408"/>
                  </a:lnTo>
                  <a:lnTo>
                    <a:pt x="222" y="408"/>
                  </a:lnTo>
                  <a:lnTo>
                    <a:pt x="221" y="409"/>
                  </a:lnTo>
                  <a:lnTo>
                    <a:pt x="221" y="405"/>
                  </a:lnTo>
                  <a:lnTo>
                    <a:pt x="222" y="403"/>
                  </a:lnTo>
                  <a:lnTo>
                    <a:pt x="224" y="403"/>
                  </a:lnTo>
                  <a:lnTo>
                    <a:pt x="225" y="404"/>
                  </a:lnTo>
                  <a:lnTo>
                    <a:pt x="229" y="408"/>
                  </a:lnTo>
                  <a:lnTo>
                    <a:pt x="229" y="408"/>
                  </a:lnTo>
                  <a:close/>
                  <a:moveTo>
                    <a:pt x="6" y="10"/>
                  </a:moveTo>
                  <a:lnTo>
                    <a:pt x="7" y="12"/>
                  </a:lnTo>
                  <a:lnTo>
                    <a:pt x="3" y="7"/>
                  </a:lnTo>
                  <a:lnTo>
                    <a:pt x="0" y="6"/>
                  </a:lnTo>
                  <a:lnTo>
                    <a:pt x="0" y="3"/>
                  </a:lnTo>
                  <a:lnTo>
                    <a:pt x="0" y="1"/>
                  </a:lnTo>
                  <a:lnTo>
                    <a:pt x="1" y="0"/>
                  </a:lnTo>
                  <a:lnTo>
                    <a:pt x="5" y="6"/>
                  </a:lnTo>
                  <a:lnTo>
                    <a:pt x="6" y="8"/>
                  </a:lnTo>
                  <a:lnTo>
                    <a:pt x="6" y="10"/>
                  </a:lnTo>
                  <a:lnTo>
                    <a:pt x="6" y="10"/>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0" name="Freeform 6">
              <a:extLst>
                <a:ext uri="{FF2B5EF4-FFF2-40B4-BE49-F238E27FC236}"/>
              </a:extLst>
            </p:cNvPr>
            <p:cNvSpPr>
              <a:spLocks/>
            </p:cNvSpPr>
            <p:nvPr/>
          </p:nvSpPr>
          <p:spPr bwMode="auto">
            <a:xfrm>
              <a:off x="4104114" y="5584419"/>
              <a:ext cx="1090488" cy="725828"/>
            </a:xfrm>
            <a:custGeom>
              <a:avLst/>
              <a:gdLst>
                <a:gd name="T0" fmla="*/ 634 w 687"/>
                <a:gd name="T1" fmla="*/ 430 h 457"/>
                <a:gd name="T2" fmla="*/ 594 w 687"/>
                <a:gd name="T3" fmla="*/ 454 h 457"/>
                <a:gd name="T4" fmla="*/ 584 w 687"/>
                <a:gd name="T5" fmla="*/ 457 h 457"/>
                <a:gd name="T6" fmla="*/ 558 w 687"/>
                <a:gd name="T7" fmla="*/ 454 h 457"/>
                <a:gd name="T8" fmla="*/ 520 w 687"/>
                <a:gd name="T9" fmla="*/ 402 h 457"/>
                <a:gd name="T10" fmla="*/ 449 w 687"/>
                <a:gd name="T11" fmla="*/ 407 h 457"/>
                <a:gd name="T12" fmla="*/ 335 w 687"/>
                <a:gd name="T13" fmla="*/ 396 h 457"/>
                <a:gd name="T14" fmla="*/ 292 w 687"/>
                <a:gd name="T15" fmla="*/ 389 h 457"/>
                <a:gd name="T16" fmla="*/ 256 w 687"/>
                <a:gd name="T17" fmla="*/ 371 h 457"/>
                <a:gd name="T18" fmla="*/ 169 w 687"/>
                <a:gd name="T19" fmla="*/ 371 h 457"/>
                <a:gd name="T20" fmla="*/ 155 w 687"/>
                <a:gd name="T21" fmla="*/ 375 h 457"/>
                <a:gd name="T22" fmla="*/ 139 w 687"/>
                <a:gd name="T23" fmla="*/ 374 h 457"/>
                <a:gd name="T24" fmla="*/ 112 w 687"/>
                <a:gd name="T25" fmla="*/ 374 h 457"/>
                <a:gd name="T26" fmla="*/ 96 w 687"/>
                <a:gd name="T27" fmla="*/ 378 h 457"/>
                <a:gd name="T28" fmla="*/ 86 w 687"/>
                <a:gd name="T29" fmla="*/ 375 h 457"/>
                <a:gd name="T30" fmla="*/ 80 w 687"/>
                <a:gd name="T31" fmla="*/ 382 h 457"/>
                <a:gd name="T32" fmla="*/ 75 w 687"/>
                <a:gd name="T33" fmla="*/ 386 h 457"/>
                <a:gd name="T34" fmla="*/ 64 w 687"/>
                <a:gd name="T35" fmla="*/ 382 h 457"/>
                <a:gd name="T36" fmla="*/ 57 w 687"/>
                <a:gd name="T37" fmla="*/ 383 h 457"/>
                <a:gd name="T38" fmla="*/ 53 w 687"/>
                <a:gd name="T39" fmla="*/ 390 h 457"/>
                <a:gd name="T40" fmla="*/ 46 w 687"/>
                <a:gd name="T41" fmla="*/ 394 h 457"/>
                <a:gd name="T42" fmla="*/ 43 w 687"/>
                <a:gd name="T43" fmla="*/ 392 h 457"/>
                <a:gd name="T44" fmla="*/ 42 w 687"/>
                <a:gd name="T45" fmla="*/ 387 h 457"/>
                <a:gd name="T46" fmla="*/ 42 w 687"/>
                <a:gd name="T47" fmla="*/ 384 h 457"/>
                <a:gd name="T48" fmla="*/ 34 w 687"/>
                <a:gd name="T49" fmla="*/ 386 h 457"/>
                <a:gd name="T50" fmla="*/ 22 w 687"/>
                <a:gd name="T51" fmla="*/ 386 h 457"/>
                <a:gd name="T52" fmla="*/ 16 w 687"/>
                <a:gd name="T53" fmla="*/ 385 h 457"/>
                <a:gd name="T54" fmla="*/ 0 w 687"/>
                <a:gd name="T55" fmla="*/ 369 h 457"/>
                <a:gd name="T56" fmla="*/ 4 w 687"/>
                <a:gd name="T57" fmla="*/ 346 h 457"/>
                <a:gd name="T58" fmla="*/ 1 w 687"/>
                <a:gd name="T59" fmla="*/ 326 h 457"/>
                <a:gd name="T60" fmla="*/ 1 w 687"/>
                <a:gd name="T61" fmla="*/ 317 h 457"/>
                <a:gd name="T62" fmla="*/ 6 w 687"/>
                <a:gd name="T63" fmla="*/ 271 h 457"/>
                <a:gd name="T64" fmla="*/ 4 w 687"/>
                <a:gd name="T65" fmla="*/ 256 h 457"/>
                <a:gd name="T66" fmla="*/ 0 w 687"/>
                <a:gd name="T67" fmla="*/ 241 h 457"/>
                <a:gd name="T68" fmla="*/ 2 w 687"/>
                <a:gd name="T69" fmla="*/ 231 h 457"/>
                <a:gd name="T70" fmla="*/ 9 w 687"/>
                <a:gd name="T71" fmla="*/ 219 h 457"/>
                <a:gd name="T72" fmla="*/ 55 w 687"/>
                <a:gd name="T73" fmla="*/ 175 h 457"/>
                <a:gd name="T74" fmla="*/ 63 w 687"/>
                <a:gd name="T75" fmla="*/ 166 h 457"/>
                <a:gd name="T76" fmla="*/ 69 w 687"/>
                <a:gd name="T77" fmla="*/ 153 h 457"/>
                <a:gd name="T78" fmla="*/ 74 w 687"/>
                <a:gd name="T79" fmla="*/ 145 h 457"/>
                <a:gd name="T80" fmla="*/ 82 w 687"/>
                <a:gd name="T81" fmla="*/ 140 h 457"/>
                <a:gd name="T82" fmla="*/ 101 w 687"/>
                <a:gd name="T83" fmla="*/ 135 h 457"/>
                <a:gd name="T84" fmla="*/ 117 w 687"/>
                <a:gd name="T85" fmla="*/ 126 h 457"/>
                <a:gd name="T86" fmla="*/ 122 w 687"/>
                <a:gd name="T87" fmla="*/ 120 h 457"/>
                <a:gd name="T88" fmla="*/ 125 w 687"/>
                <a:gd name="T89" fmla="*/ 112 h 457"/>
                <a:gd name="T90" fmla="*/ 127 w 687"/>
                <a:gd name="T91" fmla="*/ 100 h 457"/>
                <a:gd name="T92" fmla="*/ 126 w 687"/>
                <a:gd name="T93" fmla="*/ 86 h 457"/>
                <a:gd name="T94" fmla="*/ 121 w 687"/>
                <a:gd name="T95" fmla="*/ 60 h 457"/>
                <a:gd name="T96" fmla="*/ 125 w 687"/>
                <a:gd name="T97" fmla="*/ 48 h 457"/>
                <a:gd name="T98" fmla="*/ 141 w 687"/>
                <a:gd name="T99" fmla="*/ 39 h 457"/>
                <a:gd name="T100" fmla="*/ 145 w 687"/>
                <a:gd name="T101" fmla="*/ 35 h 457"/>
                <a:gd name="T102" fmla="*/ 147 w 687"/>
                <a:gd name="T103" fmla="*/ 25 h 457"/>
                <a:gd name="T104" fmla="*/ 193 w 687"/>
                <a:gd name="T105" fmla="*/ 31 h 457"/>
                <a:gd name="T106" fmla="*/ 215 w 687"/>
                <a:gd name="T107" fmla="*/ 41 h 457"/>
                <a:gd name="T108" fmla="*/ 274 w 687"/>
                <a:gd name="T109" fmla="*/ 48 h 457"/>
                <a:gd name="T110" fmla="*/ 687 w 687"/>
                <a:gd name="T111" fmla="*/ 0 h 457"/>
                <a:gd name="T112" fmla="*/ 634 w 687"/>
                <a:gd name="T113" fmla="*/ 43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7" h="457">
                  <a:moveTo>
                    <a:pt x="634" y="430"/>
                  </a:moveTo>
                  <a:lnTo>
                    <a:pt x="634" y="430"/>
                  </a:lnTo>
                  <a:lnTo>
                    <a:pt x="614" y="442"/>
                  </a:lnTo>
                  <a:lnTo>
                    <a:pt x="594" y="454"/>
                  </a:lnTo>
                  <a:lnTo>
                    <a:pt x="590" y="456"/>
                  </a:lnTo>
                  <a:lnTo>
                    <a:pt x="584" y="457"/>
                  </a:lnTo>
                  <a:lnTo>
                    <a:pt x="560" y="456"/>
                  </a:lnTo>
                  <a:lnTo>
                    <a:pt x="558" y="454"/>
                  </a:lnTo>
                  <a:lnTo>
                    <a:pt x="544" y="435"/>
                  </a:lnTo>
                  <a:lnTo>
                    <a:pt x="520" y="402"/>
                  </a:lnTo>
                  <a:lnTo>
                    <a:pt x="514" y="398"/>
                  </a:lnTo>
                  <a:lnTo>
                    <a:pt x="449" y="407"/>
                  </a:lnTo>
                  <a:lnTo>
                    <a:pt x="377" y="399"/>
                  </a:lnTo>
                  <a:lnTo>
                    <a:pt x="335" y="396"/>
                  </a:lnTo>
                  <a:lnTo>
                    <a:pt x="300" y="392"/>
                  </a:lnTo>
                  <a:lnTo>
                    <a:pt x="292" y="389"/>
                  </a:lnTo>
                  <a:lnTo>
                    <a:pt x="265" y="373"/>
                  </a:lnTo>
                  <a:lnTo>
                    <a:pt x="256" y="371"/>
                  </a:lnTo>
                  <a:lnTo>
                    <a:pt x="203" y="371"/>
                  </a:lnTo>
                  <a:lnTo>
                    <a:pt x="169" y="371"/>
                  </a:lnTo>
                  <a:lnTo>
                    <a:pt x="165" y="371"/>
                  </a:lnTo>
                  <a:lnTo>
                    <a:pt x="155" y="375"/>
                  </a:lnTo>
                  <a:lnTo>
                    <a:pt x="150" y="375"/>
                  </a:lnTo>
                  <a:lnTo>
                    <a:pt x="139" y="374"/>
                  </a:lnTo>
                  <a:lnTo>
                    <a:pt x="128" y="373"/>
                  </a:lnTo>
                  <a:lnTo>
                    <a:pt x="112" y="374"/>
                  </a:lnTo>
                  <a:lnTo>
                    <a:pt x="99" y="378"/>
                  </a:lnTo>
                  <a:lnTo>
                    <a:pt x="96" y="378"/>
                  </a:lnTo>
                  <a:lnTo>
                    <a:pt x="89" y="376"/>
                  </a:lnTo>
                  <a:lnTo>
                    <a:pt x="86" y="375"/>
                  </a:lnTo>
                  <a:lnTo>
                    <a:pt x="83" y="377"/>
                  </a:lnTo>
                  <a:lnTo>
                    <a:pt x="80" y="382"/>
                  </a:lnTo>
                  <a:lnTo>
                    <a:pt x="78" y="385"/>
                  </a:lnTo>
                  <a:lnTo>
                    <a:pt x="75" y="386"/>
                  </a:lnTo>
                  <a:lnTo>
                    <a:pt x="71" y="385"/>
                  </a:lnTo>
                  <a:lnTo>
                    <a:pt x="64" y="382"/>
                  </a:lnTo>
                  <a:lnTo>
                    <a:pt x="61" y="382"/>
                  </a:lnTo>
                  <a:lnTo>
                    <a:pt x="57" y="383"/>
                  </a:lnTo>
                  <a:lnTo>
                    <a:pt x="55" y="387"/>
                  </a:lnTo>
                  <a:lnTo>
                    <a:pt x="53" y="390"/>
                  </a:lnTo>
                  <a:lnTo>
                    <a:pt x="50" y="393"/>
                  </a:lnTo>
                  <a:lnTo>
                    <a:pt x="46" y="394"/>
                  </a:lnTo>
                  <a:lnTo>
                    <a:pt x="44" y="393"/>
                  </a:lnTo>
                  <a:lnTo>
                    <a:pt x="43" y="392"/>
                  </a:lnTo>
                  <a:lnTo>
                    <a:pt x="42" y="390"/>
                  </a:lnTo>
                  <a:lnTo>
                    <a:pt x="42" y="387"/>
                  </a:lnTo>
                  <a:lnTo>
                    <a:pt x="42" y="385"/>
                  </a:lnTo>
                  <a:lnTo>
                    <a:pt x="42" y="384"/>
                  </a:lnTo>
                  <a:lnTo>
                    <a:pt x="38" y="385"/>
                  </a:lnTo>
                  <a:lnTo>
                    <a:pt x="34" y="386"/>
                  </a:lnTo>
                  <a:lnTo>
                    <a:pt x="28" y="385"/>
                  </a:lnTo>
                  <a:lnTo>
                    <a:pt x="22" y="386"/>
                  </a:lnTo>
                  <a:lnTo>
                    <a:pt x="19" y="386"/>
                  </a:lnTo>
                  <a:lnTo>
                    <a:pt x="16" y="385"/>
                  </a:lnTo>
                  <a:lnTo>
                    <a:pt x="9" y="379"/>
                  </a:lnTo>
                  <a:lnTo>
                    <a:pt x="0" y="369"/>
                  </a:lnTo>
                  <a:lnTo>
                    <a:pt x="0" y="364"/>
                  </a:lnTo>
                  <a:lnTo>
                    <a:pt x="4" y="346"/>
                  </a:lnTo>
                  <a:lnTo>
                    <a:pt x="4" y="337"/>
                  </a:lnTo>
                  <a:lnTo>
                    <a:pt x="1" y="326"/>
                  </a:lnTo>
                  <a:lnTo>
                    <a:pt x="0" y="321"/>
                  </a:lnTo>
                  <a:lnTo>
                    <a:pt x="1" y="317"/>
                  </a:lnTo>
                  <a:lnTo>
                    <a:pt x="2" y="310"/>
                  </a:lnTo>
                  <a:lnTo>
                    <a:pt x="6" y="271"/>
                  </a:lnTo>
                  <a:lnTo>
                    <a:pt x="6" y="263"/>
                  </a:lnTo>
                  <a:lnTo>
                    <a:pt x="4" y="256"/>
                  </a:lnTo>
                  <a:lnTo>
                    <a:pt x="2" y="249"/>
                  </a:lnTo>
                  <a:lnTo>
                    <a:pt x="0" y="241"/>
                  </a:lnTo>
                  <a:lnTo>
                    <a:pt x="0" y="237"/>
                  </a:lnTo>
                  <a:lnTo>
                    <a:pt x="2" y="231"/>
                  </a:lnTo>
                  <a:lnTo>
                    <a:pt x="5" y="225"/>
                  </a:lnTo>
                  <a:lnTo>
                    <a:pt x="9" y="219"/>
                  </a:lnTo>
                  <a:lnTo>
                    <a:pt x="36" y="191"/>
                  </a:lnTo>
                  <a:lnTo>
                    <a:pt x="55" y="175"/>
                  </a:lnTo>
                  <a:lnTo>
                    <a:pt x="60" y="168"/>
                  </a:lnTo>
                  <a:lnTo>
                    <a:pt x="63" y="166"/>
                  </a:lnTo>
                  <a:lnTo>
                    <a:pt x="64" y="162"/>
                  </a:lnTo>
                  <a:lnTo>
                    <a:pt x="69" y="153"/>
                  </a:lnTo>
                  <a:lnTo>
                    <a:pt x="71" y="148"/>
                  </a:lnTo>
                  <a:lnTo>
                    <a:pt x="74" y="145"/>
                  </a:lnTo>
                  <a:lnTo>
                    <a:pt x="79" y="142"/>
                  </a:lnTo>
                  <a:lnTo>
                    <a:pt x="82" y="140"/>
                  </a:lnTo>
                  <a:lnTo>
                    <a:pt x="94" y="138"/>
                  </a:lnTo>
                  <a:lnTo>
                    <a:pt x="101" y="135"/>
                  </a:lnTo>
                  <a:lnTo>
                    <a:pt x="109" y="131"/>
                  </a:lnTo>
                  <a:lnTo>
                    <a:pt x="117" y="126"/>
                  </a:lnTo>
                  <a:lnTo>
                    <a:pt x="119" y="123"/>
                  </a:lnTo>
                  <a:lnTo>
                    <a:pt x="122" y="120"/>
                  </a:lnTo>
                  <a:lnTo>
                    <a:pt x="124" y="116"/>
                  </a:lnTo>
                  <a:lnTo>
                    <a:pt x="125" y="112"/>
                  </a:lnTo>
                  <a:lnTo>
                    <a:pt x="127" y="107"/>
                  </a:lnTo>
                  <a:lnTo>
                    <a:pt x="127" y="100"/>
                  </a:lnTo>
                  <a:lnTo>
                    <a:pt x="127" y="94"/>
                  </a:lnTo>
                  <a:lnTo>
                    <a:pt x="126" y="86"/>
                  </a:lnTo>
                  <a:lnTo>
                    <a:pt x="121" y="63"/>
                  </a:lnTo>
                  <a:lnTo>
                    <a:pt x="121" y="60"/>
                  </a:lnTo>
                  <a:lnTo>
                    <a:pt x="122" y="54"/>
                  </a:lnTo>
                  <a:lnTo>
                    <a:pt x="125" y="48"/>
                  </a:lnTo>
                  <a:lnTo>
                    <a:pt x="130" y="45"/>
                  </a:lnTo>
                  <a:lnTo>
                    <a:pt x="141" y="39"/>
                  </a:lnTo>
                  <a:lnTo>
                    <a:pt x="143" y="37"/>
                  </a:lnTo>
                  <a:lnTo>
                    <a:pt x="145" y="35"/>
                  </a:lnTo>
                  <a:lnTo>
                    <a:pt x="147" y="31"/>
                  </a:lnTo>
                  <a:lnTo>
                    <a:pt x="147" y="25"/>
                  </a:lnTo>
                  <a:lnTo>
                    <a:pt x="147" y="2"/>
                  </a:lnTo>
                  <a:lnTo>
                    <a:pt x="193" y="31"/>
                  </a:lnTo>
                  <a:lnTo>
                    <a:pt x="206" y="38"/>
                  </a:lnTo>
                  <a:lnTo>
                    <a:pt x="215" y="41"/>
                  </a:lnTo>
                  <a:lnTo>
                    <a:pt x="230" y="46"/>
                  </a:lnTo>
                  <a:lnTo>
                    <a:pt x="274" y="48"/>
                  </a:lnTo>
                  <a:lnTo>
                    <a:pt x="666" y="6"/>
                  </a:lnTo>
                  <a:lnTo>
                    <a:pt x="687" y="0"/>
                  </a:lnTo>
                  <a:lnTo>
                    <a:pt x="634" y="430"/>
                  </a:lnTo>
                  <a:lnTo>
                    <a:pt x="634" y="430"/>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srgbClr val="000000"/>
                </a:solidFill>
                <a:latin typeface="Arial"/>
                <a:cs typeface="+mn-cs"/>
              </a:endParaRPr>
            </a:p>
          </p:txBody>
        </p:sp>
        <p:sp>
          <p:nvSpPr>
            <p:cNvPr id="241" name="Freeform 7">
              <a:extLst>
                <a:ext uri="{FF2B5EF4-FFF2-40B4-BE49-F238E27FC236}"/>
              </a:extLst>
            </p:cNvPr>
            <p:cNvSpPr>
              <a:spLocks/>
            </p:cNvSpPr>
            <p:nvPr/>
          </p:nvSpPr>
          <p:spPr bwMode="auto">
            <a:xfrm>
              <a:off x="3663108" y="3258566"/>
              <a:ext cx="1679834" cy="2402046"/>
            </a:xfrm>
            <a:custGeom>
              <a:avLst/>
              <a:gdLst>
                <a:gd name="T0" fmla="*/ 493 w 1058"/>
                <a:gd name="T1" fmla="*/ 1507 h 1514"/>
                <a:gd name="T2" fmla="*/ 357 w 1058"/>
                <a:gd name="T3" fmla="*/ 1406 h 1514"/>
                <a:gd name="T4" fmla="*/ 327 w 1058"/>
                <a:gd name="T5" fmla="*/ 1353 h 1514"/>
                <a:gd name="T6" fmla="*/ 349 w 1058"/>
                <a:gd name="T7" fmla="*/ 1292 h 1514"/>
                <a:gd name="T8" fmla="*/ 332 w 1058"/>
                <a:gd name="T9" fmla="*/ 1262 h 1514"/>
                <a:gd name="T10" fmla="*/ 239 w 1058"/>
                <a:gd name="T11" fmla="*/ 1141 h 1514"/>
                <a:gd name="T12" fmla="*/ 243 w 1058"/>
                <a:gd name="T13" fmla="*/ 1101 h 1514"/>
                <a:gd name="T14" fmla="*/ 246 w 1058"/>
                <a:gd name="T15" fmla="*/ 1052 h 1514"/>
                <a:gd name="T16" fmla="*/ 256 w 1058"/>
                <a:gd name="T17" fmla="*/ 1031 h 1514"/>
                <a:gd name="T18" fmla="*/ 252 w 1058"/>
                <a:gd name="T19" fmla="*/ 932 h 1514"/>
                <a:gd name="T20" fmla="*/ 220 w 1058"/>
                <a:gd name="T21" fmla="*/ 922 h 1514"/>
                <a:gd name="T22" fmla="*/ 181 w 1058"/>
                <a:gd name="T23" fmla="*/ 926 h 1514"/>
                <a:gd name="T24" fmla="*/ 169 w 1058"/>
                <a:gd name="T25" fmla="*/ 903 h 1514"/>
                <a:gd name="T26" fmla="*/ 170 w 1058"/>
                <a:gd name="T27" fmla="*/ 866 h 1514"/>
                <a:gd name="T28" fmla="*/ 113 w 1058"/>
                <a:gd name="T29" fmla="*/ 855 h 1514"/>
                <a:gd name="T30" fmla="*/ 71 w 1058"/>
                <a:gd name="T31" fmla="*/ 849 h 1514"/>
                <a:gd name="T32" fmla="*/ 36 w 1058"/>
                <a:gd name="T33" fmla="*/ 763 h 1514"/>
                <a:gd name="T34" fmla="*/ 15 w 1058"/>
                <a:gd name="T35" fmla="*/ 711 h 1514"/>
                <a:gd name="T36" fmla="*/ 1 w 1058"/>
                <a:gd name="T37" fmla="*/ 697 h 1514"/>
                <a:gd name="T38" fmla="*/ 6 w 1058"/>
                <a:gd name="T39" fmla="*/ 605 h 1514"/>
                <a:gd name="T40" fmla="*/ 4 w 1058"/>
                <a:gd name="T41" fmla="*/ 583 h 1514"/>
                <a:gd name="T42" fmla="*/ 19 w 1058"/>
                <a:gd name="T43" fmla="*/ 560 h 1514"/>
                <a:gd name="T44" fmla="*/ 36 w 1058"/>
                <a:gd name="T45" fmla="*/ 520 h 1514"/>
                <a:gd name="T46" fmla="*/ 71 w 1058"/>
                <a:gd name="T47" fmla="*/ 523 h 1514"/>
                <a:gd name="T48" fmla="*/ 152 w 1058"/>
                <a:gd name="T49" fmla="*/ 529 h 1514"/>
                <a:gd name="T50" fmla="*/ 184 w 1058"/>
                <a:gd name="T51" fmla="*/ 530 h 1514"/>
                <a:gd name="T52" fmla="*/ 192 w 1058"/>
                <a:gd name="T53" fmla="*/ 506 h 1514"/>
                <a:gd name="T54" fmla="*/ 189 w 1058"/>
                <a:gd name="T55" fmla="*/ 481 h 1514"/>
                <a:gd name="T56" fmla="*/ 285 w 1058"/>
                <a:gd name="T57" fmla="*/ 425 h 1514"/>
                <a:gd name="T58" fmla="*/ 320 w 1058"/>
                <a:gd name="T59" fmla="*/ 399 h 1514"/>
                <a:gd name="T60" fmla="*/ 339 w 1058"/>
                <a:gd name="T61" fmla="*/ 370 h 1514"/>
                <a:gd name="T62" fmla="*/ 360 w 1058"/>
                <a:gd name="T63" fmla="*/ 365 h 1514"/>
                <a:gd name="T64" fmla="*/ 458 w 1058"/>
                <a:gd name="T65" fmla="*/ 366 h 1514"/>
                <a:gd name="T66" fmla="*/ 462 w 1058"/>
                <a:gd name="T67" fmla="*/ 345 h 1514"/>
                <a:gd name="T68" fmla="*/ 450 w 1058"/>
                <a:gd name="T69" fmla="*/ 309 h 1514"/>
                <a:gd name="T70" fmla="*/ 439 w 1058"/>
                <a:gd name="T71" fmla="*/ 271 h 1514"/>
                <a:gd name="T72" fmla="*/ 403 w 1058"/>
                <a:gd name="T73" fmla="*/ 219 h 1514"/>
                <a:gd name="T74" fmla="*/ 403 w 1058"/>
                <a:gd name="T75" fmla="*/ 171 h 1514"/>
                <a:gd name="T76" fmla="*/ 421 w 1058"/>
                <a:gd name="T77" fmla="*/ 157 h 1514"/>
                <a:gd name="T78" fmla="*/ 452 w 1058"/>
                <a:gd name="T79" fmla="*/ 122 h 1514"/>
                <a:gd name="T80" fmla="*/ 476 w 1058"/>
                <a:gd name="T81" fmla="*/ 110 h 1514"/>
                <a:gd name="T82" fmla="*/ 479 w 1058"/>
                <a:gd name="T83" fmla="*/ 94 h 1514"/>
                <a:gd name="T84" fmla="*/ 469 w 1058"/>
                <a:gd name="T85" fmla="*/ 74 h 1514"/>
                <a:gd name="T86" fmla="*/ 440 w 1058"/>
                <a:gd name="T87" fmla="*/ 50 h 1514"/>
                <a:gd name="T88" fmla="*/ 446 w 1058"/>
                <a:gd name="T89" fmla="*/ 27 h 1514"/>
                <a:gd name="T90" fmla="*/ 472 w 1058"/>
                <a:gd name="T91" fmla="*/ 3 h 1514"/>
                <a:gd name="T92" fmla="*/ 490 w 1058"/>
                <a:gd name="T93" fmla="*/ 14 h 1514"/>
                <a:gd name="T94" fmla="*/ 520 w 1058"/>
                <a:gd name="T95" fmla="*/ 12 h 1514"/>
                <a:gd name="T96" fmla="*/ 539 w 1058"/>
                <a:gd name="T97" fmla="*/ 48 h 1514"/>
                <a:gd name="T98" fmla="*/ 614 w 1058"/>
                <a:gd name="T99" fmla="*/ 88 h 1514"/>
                <a:gd name="T100" fmla="*/ 651 w 1058"/>
                <a:gd name="T101" fmla="*/ 122 h 1514"/>
                <a:gd name="T102" fmla="*/ 704 w 1058"/>
                <a:gd name="T103" fmla="*/ 132 h 1514"/>
                <a:gd name="T104" fmla="*/ 771 w 1058"/>
                <a:gd name="T105" fmla="*/ 173 h 1514"/>
                <a:gd name="T106" fmla="*/ 812 w 1058"/>
                <a:gd name="T107" fmla="*/ 172 h 1514"/>
                <a:gd name="T108" fmla="*/ 854 w 1058"/>
                <a:gd name="T109" fmla="*/ 214 h 1514"/>
                <a:gd name="T110" fmla="*/ 916 w 1058"/>
                <a:gd name="T111" fmla="*/ 246 h 1514"/>
                <a:gd name="T112" fmla="*/ 924 w 1058"/>
                <a:gd name="T113" fmla="*/ 515 h 1514"/>
                <a:gd name="T114" fmla="*/ 1038 w 1058"/>
                <a:gd name="T115" fmla="*/ 617 h 1514"/>
                <a:gd name="T116" fmla="*/ 1058 w 1058"/>
                <a:gd name="T117" fmla="*/ 721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8" h="1514">
                  <a:moveTo>
                    <a:pt x="965" y="1466"/>
                  </a:moveTo>
                  <a:lnTo>
                    <a:pt x="944" y="1472"/>
                  </a:lnTo>
                  <a:lnTo>
                    <a:pt x="552" y="1514"/>
                  </a:lnTo>
                  <a:lnTo>
                    <a:pt x="508" y="1512"/>
                  </a:lnTo>
                  <a:lnTo>
                    <a:pt x="493" y="1507"/>
                  </a:lnTo>
                  <a:lnTo>
                    <a:pt x="484" y="1504"/>
                  </a:lnTo>
                  <a:lnTo>
                    <a:pt x="471" y="1497"/>
                  </a:lnTo>
                  <a:lnTo>
                    <a:pt x="425" y="1468"/>
                  </a:lnTo>
                  <a:lnTo>
                    <a:pt x="422" y="1467"/>
                  </a:lnTo>
                  <a:lnTo>
                    <a:pt x="357" y="1406"/>
                  </a:lnTo>
                  <a:lnTo>
                    <a:pt x="340" y="1378"/>
                  </a:lnTo>
                  <a:lnTo>
                    <a:pt x="331" y="1367"/>
                  </a:lnTo>
                  <a:lnTo>
                    <a:pt x="327" y="1363"/>
                  </a:lnTo>
                  <a:lnTo>
                    <a:pt x="327" y="1357"/>
                  </a:lnTo>
                  <a:lnTo>
                    <a:pt x="327" y="1353"/>
                  </a:lnTo>
                  <a:lnTo>
                    <a:pt x="334" y="1322"/>
                  </a:lnTo>
                  <a:lnTo>
                    <a:pt x="336" y="1315"/>
                  </a:lnTo>
                  <a:lnTo>
                    <a:pt x="347" y="1299"/>
                  </a:lnTo>
                  <a:lnTo>
                    <a:pt x="348" y="1297"/>
                  </a:lnTo>
                  <a:lnTo>
                    <a:pt x="349" y="1292"/>
                  </a:lnTo>
                  <a:lnTo>
                    <a:pt x="350" y="1289"/>
                  </a:lnTo>
                  <a:lnTo>
                    <a:pt x="349" y="1285"/>
                  </a:lnTo>
                  <a:lnTo>
                    <a:pt x="348" y="1282"/>
                  </a:lnTo>
                  <a:lnTo>
                    <a:pt x="346" y="1277"/>
                  </a:lnTo>
                  <a:lnTo>
                    <a:pt x="332" y="1262"/>
                  </a:lnTo>
                  <a:lnTo>
                    <a:pt x="322" y="1248"/>
                  </a:lnTo>
                  <a:lnTo>
                    <a:pt x="317" y="1239"/>
                  </a:lnTo>
                  <a:lnTo>
                    <a:pt x="307" y="1229"/>
                  </a:lnTo>
                  <a:lnTo>
                    <a:pt x="283" y="1207"/>
                  </a:lnTo>
                  <a:lnTo>
                    <a:pt x="239" y="1141"/>
                  </a:lnTo>
                  <a:lnTo>
                    <a:pt x="237" y="1138"/>
                  </a:lnTo>
                  <a:lnTo>
                    <a:pt x="237" y="1134"/>
                  </a:lnTo>
                  <a:lnTo>
                    <a:pt x="236" y="1130"/>
                  </a:lnTo>
                  <a:lnTo>
                    <a:pt x="237" y="1126"/>
                  </a:lnTo>
                  <a:lnTo>
                    <a:pt x="243" y="1101"/>
                  </a:lnTo>
                  <a:lnTo>
                    <a:pt x="245" y="1093"/>
                  </a:lnTo>
                  <a:lnTo>
                    <a:pt x="242" y="1063"/>
                  </a:lnTo>
                  <a:lnTo>
                    <a:pt x="243" y="1059"/>
                  </a:lnTo>
                  <a:lnTo>
                    <a:pt x="244" y="1055"/>
                  </a:lnTo>
                  <a:lnTo>
                    <a:pt x="246" y="1052"/>
                  </a:lnTo>
                  <a:lnTo>
                    <a:pt x="251" y="1045"/>
                  </a:lnTo>
                  <a:lnTo>
                    <a:pt x="253" y="1041"/>
                  </a:lnTo>
                  <a:lnTo>
                    <a:pt x="255" y="1038"/>
                  </a:lnTo>
                  <a:lnTo>
                    <a:pt x="256" y="1034"/>
                  </a:lnTo>
                  <a:lnTo>
                    <a:pt x="256" y="1031"/>
                  </a:lnTo>
                  <a:lnTo>
                    <a:pt x="256" y="1027"/>
                  </a:lnTo>
                  <a:lnTo>
                    <a:pt x="248" y="966"/>
                  </a:lnTo>
                  <a:lnTo>
                    <a:pt x="248" y="959"/>
                  </a:lnTo>
                  <a:lnTo>
                    <a:pt x="252" y="933"/>
                  </a:lnTo>
                  <a:lnTo>
                    <a:pt x="252" y="932"/>
                  </a:lnTo>
                  <a:lnTo>
                    <a:pt x="250" y="928"/>
                  </a:lnTo>
                  <a:lnTo>
                    <a:pt x="246" y="927"/>
                  </a:lnTo>
                  <a:lnTo>
                    <a:pt x="243" y="926"/>
                  </a:lnTo>
                  <a:lnTo>
                    <a:pt x="223" y="922"/>
                  </a:lnTo>
                  <a:lnTo>
                    <a:pt x="220" y="922"/>
                  </a:lnTo>
                  <a:lnTo>
                    <a:pt x="216" y="923"/>
                  </a:lnTo>
                  <a:lnTo>
                    <a:pt x="196" y="928"/>
                  </a:lnTo>
                  <a:lnTo>
                    <a:pt x="192" y="928"/>
                  </a:lnTo>
                  <a:lnTo>
                    <a:pt x="188" y="928"/>
                  </a:lnTo>
                  <a:lnTo>
                    <a:pt x="181" y="926"/>
                  </a:lnTo>
                  <a:lnTo>
                    <a:pt x="177" y="923"/>
                  </a:lnTo>
                  <a:lnTo>
                    <a:pt x="174" y="919"/>
                  </a:lnTo>
                  <a:lnTo>
                    <a:pt x="170" y="913"/>
                  </a:lnTo>
                  <a:lnTo>
                    <a:pt x="169" y="909"/>
                  </a:lnTo>
                  <a:lnTo>
                    <a:pt x="169" y="903"/>
                  </a:lnTo>
                  <a:lnTo>
                    <a:pt x="170" y="886"/>
                  </a:lnTo>
                  <a:lnTo>
                    <a:pt x="172" y="877"/>
                  </a:lnTo>
                  <a:lnTo>
                    <a:pt x="173" y="874"/>
                  </a:lnTo>
                  <a:lnTo>
                    <a:pt x="172" y="871"/>
                  </a:lnTo>
                  <a:lnTo>
                    <a:pt x="170" y="866"/>
                  </a:lnTo>
                  <a:lnTo>
                    <a:pt x="165" y="863"/>
                  </a:lnTo>
                  <a:lnTo>
                    <a:pt x="162" y="861"/>
                  </a:lnTo>
                  <a:lnTo>
                    <a:pt x="157" y="859"/>
                  </a:lnTo>
                  <a:lnTo>
                    <a:pt x="149" y="857"/>
                  </a:lnTo>
                  <a:lnTo>
                    <a:pt x="113" y="855"/>
                  </a:lnTo>
                  <a:lnTo>
                    <a:pt x="87" y="855"/>
                  </a:lnTo>
                  <a:lnTo>
                    <a:pt x="81" y="854"/>
                  </a:lnTo>
                  <a:lnTo>
                    <a:pt x="78" y="853"/>
                  </a:lnTo>
                  <a:lnTo>
                    <a:pt x="74" y="851"/>
                  </a:lnTo>
                  <a:lnTo>
                    <a:pt x="71" y="849"/>
                  </a:lnTo>
                  <a:lnTo>
                    <a:pt x="67" y="846"/>
                  </a:lnTo>
                  <a:lnTo>
                    <a:pt x="64" y="843"/>
                  </a:lnTo>
                  <a:lnTo>
                    <a:pt x="63" y="841"/>
                  </a:lnTo>
                  <a:lnTo>
                    <a:pt x="41" y="789"/>
                  </a:lnTo>
                  <a:lnTo>
                    <a:pt x="36" y="763"/>
                  </a:lnTo>
                  <a:lnTo>
                    <a:pt x="35" y="758"/>
                  </a:lnTo>
                  <a:lnTo>
                    <a:pt x="31" y="749"/>
                  </a:lnTo>
                  <a:lnTo>
                    <a:pt x="22" y="720"/>
                  </a:lnTo>
                  <a:lnTo>
                    <a:pt x="19" y="714"/>
                  </a:lnTo>
                  <a:lnTo>
                    <a:pt x="15" y="711"/>
                  </a:lnTo>
                  <a:lnTo>
                    <a:pt x="11" y="708"/>
                  </a:lnTo>
                  <a:lnTo>
                    <a:pt x="5" y="705"/>
                  </a:lnTo>
                  <a:lnTo>
                    <a:pt x="4" y="703"/>
                  </a:lnTo>
                  <a:lnTo>
                    <a:pt x="2" y="700"/>
                  </a:lnTo>
                  <a:lnTo>
                    <a:pt x="1" y="697"/>
                  </a:lnTo>
                  <a:lnTo>
                    <a:pt x="0" y="684"/>
                  </a:lnTo>
                  <a:lnTo>
                    <a:pt x="2" y="667"/>
                  </a:lnTo>
                  <a:lnTo>
                    <a:pt x="1" y="651"/>
                  </a:lnTo>
                  <a:lnTo>
                    <a:pt x="4" y="619"/>
                  </a:lnTo>
                  <a:lnTo>
                    <a:pt x="6" y="605"/>
                  </a:lnTo>
                  <a:lnTo>
                    <a:pt x="7" y="598"/>
                  </a:lnTo>
                  <a:lnTo>
                    <a:pt x="6" y="594"/>
                  </a:lnTo>
                  <a:lnTo>
                    <a:pt x="4" y="588"/>
                  </a:lnTo>
                  <a:lnTo>
                    <a:pt x="4" y="586"/>
                  </a:lnTo>
                  <a:lnTo>
                    <a:pt x="4" y="583"/>
                  </a:lnTo>
                  <a:lnTo>
                    <a:pt x="5" y="581"/>
                  </a:lnTo>
                  <a:lnTo>
                    <a:pt x="8" y="576"/>
                  </a:lnTo>
                  <a:lnTo>
                    <a:pt x="15" y="566"/>
                  </a:lnTo>
                  <a:lnTo>
                    <a:pt x="16" y="566"/>
                  </a:lnTo>
                  <a:lnTo>
                    <a:pt x="19" y="560"/>
                  </a:lnTo>
                  <a:lnTo>
                    <a:pt x="20" y="552"/>
                  </a:lnTo>
                  <a:lnTo>
                    <a:pt x="20" y="545"/>
                  </a:lnTo>
                  <a:lnTo>
                    <a:pt x="23" y="538"/>
                  </a:lnTo>
                  <a:lnTo>
                    <a:pt x="34" y="522"/>
                  </a:lnTo>
                  <a:lnTo>
                    <a:pt x="36" y="520"/>
                  </a:lnTo>
                  <a:lnTo>
                    <a:pt x="41" y="516"/>
                  </a:lnTo>
                  <a:lnTo>
                    <a:pt x="45" y="514"/>
                  </a:lnTo>
                  <a:lnTo>
                    <a:pt x="49" y="514"/>
                  </a:lnTo>
                  <a:lnTo>
                    <a:pt x="52" y="515"/>
                  </a:lnTo>
                  <a:lnTo>
                    <a:pt x="71" y="523"/>
                  </a:lnTo>
                  <a:lnTo>
                    <a:pt x="78" y="526"/>
                  </a:lnTo>
                  <a:lnTo>
                    <a:pt x="89" y="529"/>
                  </a:lnTo>
                  <a:lnTo>
                    <a:pt x="120" y="532"/>
                  </a:lnTo>
                  <a:lnTo>
                    <a:pt x="128" y="532"/>
                  </a:lnTo>
                  <a:lnTo>
                    <a:pt x="152" y="529"/>
                  </a:lnTo>
                  <a:lnTo>
                    <a:pt x="160" y="529"/>
                  </a:lnTo>
                  <a:lnTo>
                    <a:pt x="173" y="532"/>
                  </a:lnTo>
                  <a:lnTo>
                    <a:pt x="177" y="532"/>
                  </a:lnTo>
                  <a:lnTo>
                    <a:pt x="179" y="531"/>
                  </a:lnTo>
                  <a:lnTo>
                    <a:pt x="184" y="530"/>
                  </a:lnTo>
                  <a:lnTo>
                    <a:pt x="188" y="526"/>
                  </a:lnTo>
                  <a:lnTo>
                    <a:pt x="192" y="522"/>
                  </a:lnTo>
                  <a:lnTo>
                    <a:pt x="193" y="515"/>
                  </a:lnTo>
                  <a:lnTo>
                    <a:pt x="194" y="510"/>
                  </a:lnTo>
                  <a:lnTo>
                    <a:pt x="192" y="506"/>
                  </a:lnTo>
                  <a:lnTo>
                    <a:pt x="188" y="498"/>
                  </a:lnTo>
                  <a:lnTo>
                    <a:pt x="186" y="494"/>
                  </a:lnTo>
                  <a:lnTo>
                    <a:pt x="186" y="491"/>
                  </a:lnTo>
                  <a:lnTo>
                    <a:pt x="186" y="486"/>
                  </a:lnTo>
                  <a:lnTo>
                    <a:pt x="189" y="481"/>
                  </a:lnTo>
                  <a:lnTo>
                    <a:pt x="206" y="459"/>
                  </a:lnTo>
                  <a:lnTo>
                    <a:pt x="222" y="443"/>
                  </a:lnTo>
                  <a:lnTo>
                    <a:pt x="225" y="440"/>
                  </a:lnTo>
                  <a:lnTo>
                    <a:pt x="229" y="439"/>
                  </a:lnTo>
                  <a:lnTo>
                    <a:pt x="285" y="425"/>
                  </a:lnTo>
                  <a:lnTo>
                    <a:pt x="292" y="422"/>
                  </a:lnTo>
                  <a:lnTo>
                    <a:pt x="296" y="419"/>
                  </a:lnTo>
                  <a:lnTo>
                    <a:pt x="305" y="410"/>
                  </a:lnTo>
                  <a:lnTo>
                    <a:pt x="317" y="402"/>
                  </a:lnTo>
                  <a:lnTo>
                    <a:pt x="320" y="399"/>
                  </a:lnTo>
                  <a:lnTo>
                    <a:pt x="324" y="393"/>
                  </a:lnTo>
                  <a:lnTo>
                    <a:pt x="329" y="381"/>
                  </a:lnTo>
                  <a:lnTo>
                    <a:pt x="335" y="375"/>
                  </a:lnTo>
                  <a:lnTo>
                    <a:pt x="337" y="372"/>
                  </a:lnTo>
                  <a:lnTo>
                    <a:pt x="339" y="370"/>
                  </a:lnTo>
                  <a:lnTo>
                    <a:pt x="342" y="369"/>
                  </a:lnTo>
                  <a:lnTo>
                    <a:pt x="345" y="367"/>
                  </a:lnTo>
                  <a:lnTo>
                    <a:pt x="349" y="366"/>
                  </a:lnTo>
                  <a:lnTo>
                    <a:pt x="352" y="365"/>
                  </a:lnTo>
                  <a:lnTo>
                    <a:pt x="360" y="365"/>
                  </a:lnTo>
                  <a:lnTo>
                    <a:pt x="396" y="370"/>
                  </a:lnTo>
                  <a:lnTo>
                    <a:pt x="436" y="367"/>
                  </a:lnTo>
                  <a:lnTo>
                    <a:pt x="451" y="368"/>
                  </a:lnTo>
                  <a:lnTo>
                    <a:pt x="455" y="368"/>
                  </a:lnTo>
                  <a:lnTo>
                    <a:pt x="458" y="366"/>
                  </a:lnTo>
                  <a:lnTo>
                    <a:pt x="460" y="363"/>
                  </a:lnTo>
                  <a:lnTo>
                    <a:pt x="461" y="360"/>
                  </a:lnTo>
                  <a:lnTo>
                    <a:pt x="462" y="356"/>
                  </a:lnTo>
                  <a:lnTo>
                    <a:pt x="462" y="351"/>
                  </a:lnTo>
                  <a:lnTo>
                    <a:pt x="462" y="345"/>
                  </a:lnTo>
                  <a:lnTo>
                    <a:pt x="460" y="333"/>
                  </a:lnTo>
                  <a:lnTo>
                    <a:pt x="458" y="327"/>
                  </a:lnTo>
                  <a:lnTo>
                    <a:pt x="456" y="321"/>
                  </a:lnTo>
                  <a:lnTo>
                    <a:pt x="451" y="313"/>
                  </a:lnTo>
                  <a:lnTo>
                    <a:pt x="450" y="309"/>
                  </a:lnTo>
                  <a:lnTo>
                    <a:pt x="451" y="303"/>
                  </a:lnTo>
                  <a:lnTo>
                    <a:pt x="453" y="294"/>
                  </a:lnTo>
                  <a:lnTo>
                    <a:pt x="452" y="288"/>
                  </a:lnTo>
                  <a:lnTo>
                    <a:pt x="452" y="288"/>
                  </a:lnTo>
                  <a:lnTo>
                    <a:pt x="439" y="271"/>
                  </a:lnTo>
                  <a:lnTo>
                    <a:pt x="425" y="246"/>
                  </a:lnTo>
                  <a:lnTo>
                    <a:pt x="420" y="241"/>
                  </a:lnTo>
                  <a:lnTo>
                    <a:pt x="407" y="227"/>
                  </a:lnTo>
                  <a:lnTo>
                    <a:pt x="404" y="224"/>
                  </a:lnTo>
                  <a:lnTo>
                    <a:pt x="403" y="219"/>
                  </a:lnTo>
                  <a:lnTo>
                    <a:pt x="402" y="216"/>
                  </a:lnTo>
                  <a:lnTo>
                    <a:pt x="402" y="212"/>
                  </a:lnTo>
                  <a:lnTo>
                    <a:pt x="405" y="187"/>
                  </a:lnTo>
                  <a:lnTo>
                    <a:pt x="405" y="180"/>
                  </a:lnTo>
                  <a:lnTo>
                    <a:pt x="403" y="171"/>
                  </a:lnTo>
                  <a:lnTo>
                    <a:pt x="404" y="166"/>
                  </a:lnTo>
                  <a:lnTo>
                    <a:pt x="407" y="163"/>
                  </a:lnTo>
                  <a:lnTo>
                    <a:pt x="410" y="160"/>
                  </a:lnTo>
                  <a:lnTo>
                    <a:pt x="415" y="159"/>
                  </a:lnTo>
                  <a:lnTo>
                    <a:pt x="421" y="157"/>
                  </a:lnTo>
                  <a:lnTo>
                    <a:pt x="424" y="157"/>
                  </a:lnTo>
                  <a:lnTo>
                    <a:pt x="426" y="154"/>
                  </a:lnTo>
                  <a:lnTo>
                    <a:pt x="439" y="136"/>
                  </a:lnTo>
                  <a:lnTo>
                    <a:pt x="445" y="129"/>
                  </a:lnTo>
                  <a:lnTo>
                    <a:pt x="452" y="122"/>
                  </a:lnTo>
                  <a:lnTo>
                    <a:pt x="456" y="119"/>
                  </a:lnTo>
                  <a:lnTo>
                    <a:pt x="461" y="117"/>
                  </a:lnTo>
                  <a:lnTo>
                    <a:pt x="469" y="113"/>
                  </a:lnTo>
                  <a:lnTo>
                    <a:pt x="472" y="111"/>
                  </a:lnTo>
                  <a:lnTo>
                    <a:pt x="476" y="110"/>
                  </a:lnTo>
                  <a:lnTo>
                    <a:pt x="478" y="106"/>
                  </a:lnTo>
                  <a:lnTo>
                    <a:pt x="479" y="103"/>
                  </a:lnTo>
                  <a:lnTo>
                    <a:pt x="480" y="101"/>
                  </a:lnTo>
                  <a:lnTo>
                    <a:pt x="480" y="97"/>
                  </a:lnTo>
                  <a:lnTo>
                    <a:pt x="479" y="94"/>
                  </a:lnTo>
                  <a:lnTo>
                    <a:pt x="478" y="90"/>
                  </a:lnTo>
                  <a:lnTo>
                    <a:pt x="478" y="86"/>
                  </a:lnTo>
                  <a:lnTo>
                    <a:pt x="475" y="82"/>
                  </a:lnTo>
                  <a:lnTo>
                    <a:pt x="472" y="78"/>
                  </a:lnTo>
                  <a:lnTo>
                    <a:pt x="469" y="74"/>
                  </a:lnTo>
                  <a:lnTo>
                    <a:pt x="462" y="69"/>
                  </a:lnTo>
                  <a:lnTo>
                    <a:pt x="455" y="64"/>
                  </a:lnTo>
                  <a:lnTo>
                    <a:pt x="444" y="58"/>
                  </a:lnTo>
                  <a:lnTo>
                    <a:pt x="442" y="57"/>
                  </a:lnTo>
                  <a:lnTo>
                    <a:pt x="440" y="50"/>
                  </a:lnTo>
                  <a:lnTo>
                    <a:pt x="440" y="46"/>
                  </a:lnTo>
                  <a:lnTo>
                    <a:pt x="440" y="42"/>
                  </a:lnTo>
                  <a:lnTo>
                    <a:pt x="441" y="38"/>
                  </a:lnTo>
                  <a:lnTo>
                    <a:pt x="443" y="32"/>
                  </a:lnTo>
                  <a:lnTo>
                    <a:pt x="446" y="27"/>
                  </a:lnTo>
                  <a:lnTo>
                    <a:pt x="450" y="19"/>
                  </a:lnTo>
                  <a:lnTo>
                    <a:pt x="455" y="13"/>
                  </a:lnTo>
                  <a:lnTo>
                    <a:pt x="460" y="8"/>
                  </a:lnTo>
                  <a:lnTo>
                    <a:pt x="463" y="6"/>
                  </a:lnTo>
                  <a:lnTo>
                    <a:pt x="472" y="3"/>
                  </a:lnTo>
                  <a:lnTo>
                    <a:pt x="476" y="5"/>
                  </a:lnTo>
                  <a:lnTo>
                    <a:pt x="479" y="10"/>
                  </a:lnTo>
                  <a:lnTo>
                    <a:pt x="482" y="12"/>
                  </a:lnTo>
                  <a:lnTo>
                    <a:pt x="485" y="14"/>
                  </a:lnTo>
                  <a:lnTo>
                    <a:pt x="490" y="14"/>
                  </a:lnTo>
                  <a:lnTo>
                    <a:pt x="493" y="12"/>
                  </a:lnTo>
                  <a:lnTo>
                    <a:pt x="497" y="10"/>
                  </a:lnTo>
                  <a:lnTo>
                    <a:pt x="504" y="0"/>
                  </a:lnTo>
                  <a:lnTo>
                    <a:pt x="506" y="1"/>
                  </a:lnTo>
                  <a:lnTo>
                    <a:pt x="520" y="12"/>
                  </a:lnTo>
                  <a:lnTo>
                    <a:pt x="527" y="19"/>
                  </a:lnTo>
                  <a:lnTo>
                    <a:pt x="531" y="22"/>
                  </a:lnTo>
                  <a:lnTo>
                    <a:pt x="532" y="27"/>
                  </a:lnTo>
                  <a:lnTo>
                    <a:pt x="537" y="43"/>
                  </a:lnTo>
                  <a:lnTo>
                    <a:pt x="539" y="48"/>
                  </a:lnTo>
                  <a:lnTo>
                    <a:pt x="543" y="53"/>
                  </a:lnTo>
                  <a:lnTo>
                    <a:pt x="546" y="57"/>
                  </a:lnTo>
                  <a:lnTo>
                    <a:pt x="594" y="85"/>
                  </a:lnTo>
                  <a:lnTo>
                    <a:pt x="602" y="87"/>
                  </a:lnTo>
                  <a:lnTo>
                    <a:pt x="614" y="88"/>
                  </a:lnTo>
                  <a:lnTo>
                    <a:pt x="618" y="88"/>
                  </a:lnTo>
                  <a:lnTo>
                    <a:pt x="621" y="90"/>
                  </a:lnTo>
                  <a:lnTo>
                    <a:pt x="625" y="94"/>
                  </a:lnTo>
                  <a:lnTo>
                    <a:pt x="636" y="106"/>
                  </a:lnTo>
                  <a:lnTo>
                    <a:pt x="651" y="122"/>
                  </a:lnTo>
                  <a:lnTo>
                    <a:pt x="659" y="126"/>
                  </a:lnTo>
                  <a:lnTo>
                    <a:pt x="662" y="128"/>
                  </a:lnTo>
                  <a:lnTo>
                    <a:pt x="669" y="130"/>
                  </a:lnTo>
                  <a:lnTo>
                    <a:pt x="696" y="131"/>
                  </a:lnTo>
                  <a:lnTo>
                    <a:pt x="704" y="132"/>
                  </a:lnTo>
                  <a:lnTo>
                    <a:pt x="711" y="134"/>
                  </a:lnTo>
                  <a:lnTo>
                    <a:pt x="722" y="141"/>
                  </a:lnTo>
                  <a:lnTo>
                    <a:pt x="764" y="171"/>
                  </a:lnTo>
                  <a:lnTo>
                    <a:pt x="767" y="172"/>
                  </a:lnTo>
                  <a:lnTo>
                    <a:pt x="771" y="173"/>
                  </a:lnTo>
                  <a:lnTo>
                    <a:pt x="775" y="174"/>
                  </a:lnTo>
                  <a:lnTo>
                    <a:pt x="779" y="174"/>
                  </a:lnTo>
                  <a:lnTo>
                    <a:pt x="804" y="170"/>
                  </a:lnTo>
                  <a:lnTo>
                    <a:pt x="808" y="170"/>
                  </a:lnTo>
                  <a:lnTo>
                    <a:pt x="812" y="172"/>
                  </a:lnTo>
                  <a:lnTo>
                    <a:pt x="816" y="173"/>
                  </a:lnTo>
                  <a:lnTo>
                    <a:pt x="843" y="201"/>
                  </a:lnTo>
                  <a:lnTo>
                    <a:pt x="847" y="208"/>
                  </a:lnTo>
                  <a:lnTo>
                    <a:pt x="851" y="211"/>
                  </a:lnTo>
                  <a:lnTo>
                    <a:pt x="854" y="214"/>
                  </a:lnTo>
                  <a:lnTo>
                    <a:pt x="908" y="235"/>
                  </a:lnTo>
                  <a:lnTo>
                    <a:pt x="910" y="237"/>
                  </a:lnTo>
                  <a:lnTo>
                    <a:pt x="912" y="239"/>
                  </a:lnTo>
                  <a:lnTo>
                    <a:pt x="914" y="242"/>
                  </a:lnTo>
                  <a:lnTo>
                    <a:pt x="916" y="246"/>
                  </a:lnTo>
                  <a:lnTo>
                    <a:pt x="917" y="249"/>
                  </a:lnTo>
                  <a:lnTo>
                    <a:pt x="918" y="256"/>
                  </a:lnTo>
                  <a:lnTo>
                    <a:pt x="922" y="505"/>
                  </a:lnTo>
                  <a:lnTo>
                    <a:pt x="923" y="513"/>
                  </a:lnTo>
                  <a:lnTo>
                    <a:pt x="924" y="515"/>
                  </a:lnTo>
                  <a:lnTo>
                    <a:pt x="927" y="520"/>
                  </a:lnTo>
                  <a:lnTo>
                    <a:pt x="930" y="522"/>
                  </a:lnTo>
                  <a:lnTo>
                    <a:pt x="990" y="566"/>
                  </a:lnTo>
                  <a:lnTo>
                    <a:pt x="1031" y="608"/>
                  </a:lnTo>
                  <a:lnTo>
                    <a:pt x="1038" y="617"/>
                  </a:lnTo>
                  <a:lnTo>
                    <a:pt x="1045" y="629"/>
                  </a:lnTo>
                  <a:lnTo>
                    <a:pt x="1052" y="645"/>
                  </a:lnTo>
                  <a:lnTo>
                    <a:pt x="1057" y="658"/>
                  </a:lnTo>
                  <a:lnTo>
                    <a:pt x="1058" y="681"/>
                  </a:lnTo>
                  <a:lnTo>
                    <a:pt x="1058" y="721"/>
                  </a:lnTo>
                  <a:lnTo>
                    <a:pt x="1010" y="1113"/>
                  </a:lnTo>
                  <a:lnTo>
                    <a:pt x="965" y="1466"/>
                  </a:lnTo>
                  <a:lnTo>
                    <a:pt x="965" y="1466"/>
                  </a:lnTo>
                  <a:close/>
                </a:path>
              </a:pathLst>
            </a:custGeom>
            <a:solidFill>
              <a:srgbClr val="96CAB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2" name="Freeform 8">
              <a:extLst>
                <a:ext uri="{FF2B5EF4-FFF2-40B4-BE49-F238E27FC236}"/>
              </a:extLst>
            </p:cNvPr>
            <p:cNvSpPr>
              <a:spLocks noEditPoints="1"/>
            </p:cNvSpPr>
            <p:nvPr/>
          </p:nvSpPr>
          <p:spPr bwMode="auto">
            <a:xfrm>
              <a:off x="4448901" y="2785375"/>
              <a:ext cx="2842487" cy="3484771"/>
            </a:xfrm>
            <a:custGeom>
              <a:avLst/>
              <a:gdLst>
                <a:gd name="T0" fmla="*/ 774 w 1790"/>
                <a:gd name="T1" fmla="*/ 342 h 2194"/>
                <a:gd name="T2" fmla="*/ 764 w 1790"/>
                <a:gd name="T3" fmla="*/ 335 h 2194"/>
                <a:gd name="T4" fmla="*/ 774 w 1790"/>
                <a:gd name="T5" fmla="*/ 333 h 2194"/>
                <a:gd name="T6" fmla="*/ 536 w 1790"/>
                <a:gd name="T7" fmla="*/ 906 h 2194"/>
                <a:gd name="T8" fmla="*/ 417 w 1790"/>
                <a:gd name="T9" fmla="*/ 537 h 2194"/>
                <a:gd name="T10" fmla="*/ 284 w 1790"/>
                <a:gd name="T11" fmla="*/ 472 h 2194"/>
                <a:gd name="T12" fmla="*/ 164 w 1790"/>
                <a:gd name="T13" fmla="*/ 424 h 2194"/>
                <a:gd name="T14" fmla="*/ 44 w 1790"/>
                <a:gd name="T15" fmla="*/ 346 h 2194"/>
                <a:gd name="T16" fmla="*/ 0 w 1790"/>
                <a:gd name="T17" fmla="*/ 281 h 2194"/>
                <a:gd name="T18" fmla="*/ 145 w 1790"/>
                <a:gd name="T19" fmla="*/ 50 h 2194"/>
                <a:gd name="T20" fmla="*/ 438 w 1790"/>
                <a:gd name="T21" fmla="*/ 67 h 2194"/>
                <a:gd name="T22" fmla="*/ 589 w 1790"/>
                <a:gd name="T23" fmla="*/ 111 h 2194"/>
                <a:gd name="T24" fmla="*/ 597 w 1790"/>
                <a:gd name="T25" fmla="*/ 135 h 2194"/>
                <a:gd name="T26" fmla="*/ 617 w 1790"/>
                <a:gd name="T27" fmla="*/ 171 h 2194"/>
                <a:gd name="T28" fmla="*/ 632 w 1790"/>
                <a:gd name="T29" fmla="*/ 205 h 2194"/>
                <a:gd name="T30" fmla="*/ 637 w 1790"/>
                <a:gd name="T31" fmla="*/ 214 h 2194"/>
                <a:gd name="T32" fmla="*/ 659 w 1790"/>
                <a:gd name="T33" fmla="*/ 249 h 2194"/>
                <a:gd name="T34" fmla="*/ 655 w 1790"/>
                <a:gd name="T35" fmla="*/ 249 h 2194"/>
                <a:gd name="T36" fmla="*/ 644 w 1790"/>
                <a:gd name="T37" fmla="*/ 257 h 2194"/>
                <a:gd name="T38" fmla="*/ 653 w 1790"/>
                <a:gd name="T39" fmla="*/ 267 h 2194"/>
                <a:gd name="T40" fmla="*/ 659 w 1790"/>
                <a:gd name="T41" fmla="*/ 274 h 2194"/>
                <a:gd name="T42" fmla="*/ 660 w 1790"/>
                <a:gd name="T43" fmla="*/ 282 h 2194"/>
                <a:gd name="T44" fmla="*/ 664 w 1790"/>
                <a:gd name="T45" fmla="*/ 286 h 2194"/>
                <a:gd name="T46" fmla="*/ 692 w 1790"/>
                <a:gd name="T47" fmla="*/ 296 h 2194"/>
                <a:gd name="T48" fmla="*/ 717 w 1790"/>
                <a:gd name="T49" fmla="*/ 295 h 2194"/>
                <a:gd name="T50" fmla="*/ 729 w 1790"/>
                <a:gd name="T51" fmla="*/ 313 h 2194"/>
                <a:gd name="T52" fmla="*/ 701 w 1790"/>
                <a:gd name="T53" fmla="*/ 316 h 2194"/>
                <a:gd name="T54" fmla="*/ 724 w 1790"/>
                <a:gd name="T55" fmla="*/ 320 h 2194"/>
                <a:gd name="T56" fmla="*/ 725 w 1790"/>
                <a:gd name="T57" fmla="*/ 332 h 2194"/>
                <a:gd name="T58" fmla="*/ 736 w 1790"/>
                <a:gd name="T59" fmla="*/ 363 h 2194"/>
                <a:gd name="T60" fmla="*/ 748 w 1790"/>
                <a:gd name="T61" fmla="*/ 364 h 2194"/>
                <a:gd name="T62" fmla="*/ 752 w 1790"/>
                <a:gd name="T63" fmla="*/ 367 h 2194"/>
                <a:gd name="T64" fmla="*/ 765 w 1790"/>
                <a:gd name="T65" fmla="*/ 363 h 2194"/>
                <a:gd name="T66" fmla="*/ 776 w 1790"/>
                <a:gd name="T67" fmla="*/ 380 h 2194"/>
                <a:gd name="T68" fmla="*/ 826 w 1790"/>
                <a:gd name="T69" fmla="*/ 424 h 2194"/>
                <a:gd name="T70" fmla="*/ 867 w 1790"/>
                <a:gd name="T71" fmla="*/ 460 h 2194"/>
                <a:gd name="T72" fmla="*/ 846 w 1790"/>
                <a:gd name="T73" fmla="*/ 462 h 2194"/>
                <a:gd name="T74" fmla="*/ 882 w 1790"/>
                <a:gd name="T75" fmla="*/ 517 h 2194"/>
                <a:gd name="T76" fmla="*/ 874 w 1790"/>
                <a:gd name="T77" fmla="*/ 567 h 2194"/>
                <a:gd name="T78" fmla="*/ 860 w 1790"/>
                <a:gd name="T79" fmla="*/ 561 h 2194"/>
                <a:gd name="T80" fmla="*/ 846 w 1790"/>
                <a:gd name="T81" fmla="*/ 565 h 2194"/>
                <a:gd name="T82" fmla="*/ 849 w 1790"/>
                <a:gd name="T83" fmla="*/ 586 h 2194"/>
                <a:gd name="T84" fmla="*/ 864 w 1790"/>
                <a:gd name="T85" fmla="*/ 588 h 2194"/>
                <a:gd name="T86" fmla="*/ 890 w 1790"/>
                <a:gd name="T87" fmla="*/ 654 h 2194"/>
                <a:gd name="T88" fmla="*/ 872 w 1790"/>
                <a:gd name="T89" fmla="*/ 642 h 2194"/>
                <a:gd name="T90" fmla="*/ 909 w 1790"/>
                <a:gd name="T91" fmla="*/ 677 h 2194"/>
                <a:gd name="T92" fmla="*/ 931 w 1790"/>
                <a:gd name="T93" fmla="*/ 703 h 2194"/>
                <a:gd name="T94" fmla="*/ 939 w 1790"/>
                <a:gd name="T95" fmla="*/ 742 h 2194"/>
                <a:gd name="T96" fmla="*/ 966 w 1790"/>
                <a:gd name="T97" fmla="*/ 790 h 2194"/>
                <a:gd name="T98" fmla="*/ 1003 w 1790"/>
                <a:gd name="T99" fmla="*/ 848 h 2194"/>
                <a:gd name="T100" fmla="*/ 1066 w 1790"/>
                <a:gd name="T101" fmla="*/ 843 h 2194"/>
                <a:gd name="T102" fmla="*/ 1075 w 1790"/>
                <a:gd name="T103" fmla="*/ 850 h 2194"/>
                <a:gd name="T104" fmla="*/ 1096 w 1790"/>
                <a:gd name="T105" fmla="*/ 847 h 2194"/>
                <a:gd name="T106" fmla="*/ 1081 w 1790"/>
                <a:gd name="T107" fmla="*/ 866 h 2194"/>
                <a:gd name="T108" fmla="*/ 1061 w 1790"/>
                <a:gd name="T109" fmla="*/ 894 h 2194"/>
                <a:gd name="T110" fmla="*/ 1097 w 1790"/>
                <a:gd name="T111" fmla="*/ 901 h 2194"/>
                <a:gd name="T112" fmla="*/ 1219 w 1790"/>
                <a:gd name="T113" fmla="*/ 1079 h 2194"/>
                <a:gd name="T114" fmla="*/ 1655 w 1790"/>
                <a:gd name="T115" fmla="*/ 1201 h 2194"/>
                <a:gd name="T116" fmla="*/ 1760 w 1790"/>
                <a:gd name="T117" fmla="*/ 1421 h 2194"/>
                <a:gd name="T118" fmla="*/ 1398 w 1790"/>
                <a:gd name="T119" fmla="*/ 1781 h 2194"/>
                <a:gd name="T120" fmla="*/ 884 w 1790"/>
                <a:gd name="T121" fmla="*/ 1901 h 2194"/>
                <a:gd name="T122" fmla="*/ 486 w 1790"/>
                <a:gd name="T123" fmla="*/ 2077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0" h="2194">
                  <a:moveTo>
                    <a:pt x="774" y="333"/>
                  </a:moveTo>
                  <a:lnTo>
                    <a:pt x="778" y="333"/>
                  </a:lnTo>
                  <a:lnTo>
                    <a:pt x="796" y="339"/>
                  </a:lnTo>
                  <a:lnTo>
                    <a:pt x="792" y="340"/>
                  </a:lnTo>
                  <a:lnTo>
                    <a:pt x="789" y="339"/>
                  </a:lnTo>
                  <a:lnTo>
                    <a:pt x="788" y="338"/>
                  </a:lnTo>
                  <a:lnTo>
                    <a:pt x="784" y="337"/>
                  </a:lnTo>
                  <a:lnTo>
                    <a:pt x="781" y="338"/>
                  </a:lnTo>
                  <a:lnTo>
                    <a:pt x="779" y="339"/>
                  </a:lnTo>
                  <a:lnTo>
                    <a:pt x="777" y="341"/>
                  </a:lnTo>
                  <a:lnTo>
                    <a:pt x="774" y="342"/>
                  </a:lnTo>
                  <a:lnTo>
                    <a:pt x="773" y="341"/>
                  </a:lnTo>
                  <a:lnTo>
                    <a:pt x="773" y="341"/>
                  </a:lnTo>
                  <a:lnTo>
                    <a:pt x="770" y="340"/>
                  </a:lnTo>
                  <a:lnTo>
                    <a:pt x="770" y="339"/>
                  </a:lnTo>
                  <a:lnTo>
                    <a:pt x="773" y="338"/>
                  </a:lnTo>
                  <a:lnTo>
                    <a:pt x="773" y="337"/>
                  </a:lnTo>
                  <a:lnTo>
                    <a:pt x="772" y="335"/>
                  </a:lnTo>
                  <a:lnTo>
                    <a:pt x="771" y="334"/>
                  </a:lnTo>
                  <a:lnTo>
                    <a:pt x="769" y="333"/>
                  </a:lnTo>
                  <a:lnTo>
                    <a:pt x="767" y="333"/>
                  </a:lnTo>
                  <a:lnTo>
                    <a:pt x="764" y="335"/>
                  </a:lnTo>
                  <a:lnTo>
                    <a:pt x="761" y="335"/>
                  </a:lnTo>
                  <a:lnTo>
                    <a:pt x="759" y="338"/>
                  </a:lnTo>
                  <a:lnTo>
                    <a:pt x="758" y="341"/>
                  </a:lnTo>
                  <a:lnTo>
                    <a:pt x="756" y="344"/>
                  </a:lnTo>
                  <a:lnTo>
                    <a:pt x="756" y="339"/>
                  </a:lnTo>
                  <a:lnTo>
                    <a:pt x="759" y="334"/>
                  </a:lnTo>
                  <a:lnTo>
                    <a:pt x="764" y="331"/>
                  </a:lnTo>
                  <a:lnTo>
                    <a:pt x="769" y="330"/>
                  </a:lnTo>
                  <a:lnTo>
                    <a:pt x="771" y="330"/>
                  </a:lnTo>
                  <a:lnTo>
                    <a:pt x="772" y="331"/>
                  </a:lnTo>
                  <a:lnTo>
                    <a:pt x="774" y="333"/>
                  </a:lnTo>
                  <a:lnTo>
                    <a:pt x="774" y="333"/>
                  </a:lnTo>
                  <a:close/>
                  <a:moveTo>
                    <a:pt x="417" y="2194"/>
                  </a:moveTo>
                  <a:lnTo>
                    <a:pt x="470" y="1764"/>
                  </a:lnTo>
                  <a:lnTo>
                    <a:pt x="515" y="1411"/>
                  </a:lnTo>
                  <a:lnTo>
                    <a:pt x="563" y="1019"/>
                  </a:lnTo>
                  <a:lnTo>
                    <a:pt x="563" y="979"/>
                  </a:lnTo>
                  <a:lnTo>
                    <a:pt x="562" y="956"/>
                  </a:lnTo>
                  <a:lnTo>
                    <a:pt x="557" y="943"/>
                  </a:lnTo>
                  <a:lnTo>
                    <a:pt x="550" y="927"/>
                  </a:lnTo>
                  <a:lnTo>
                    <a:pt x="543" y="915"/>
                  </a:lnTo>
                  <a:lnTo>
                    <a:pt x="536" y="906"/>
                  </a:lnTo>
                  <a:lnTo>
                    <a:pt x="495" y="864"/>
                  </a:lnTo>
                  <a:lnTo>
                    <a:pt x="435" y="820"/>
                  </a:lnTo>
                  <a:lnTo>
                    <a:pt x="432" y="818"/>
                  </a:lnTo>
                  <a:lnTo>
                    <a:pt x="429" y="813"/>
                  </a:lnTo>
                  <a:lnTo>
                    <a:pt x="428" y="811"/>
                  </a:lnTo>
                  <a:lnTo>
                    <a:pt x="427" y="803"/>
                  </a:lnTo>
                  <a:lnTo>
                    <a:pt x="423" y="554"/>
                  </a:lnTo>
                  <a:lnTo>
                    <a:pt x="422" y="547"/>
                  </a:lnTo>
                  <a:lnTo>
                    <a:pt x="421" y="544"/>
                  </a:lnTo>
                  <a:lnTo>
                    <a:pt x="419" y="540"/>
                  </a:lnTo>
                  <a:lnTo>
                    <a:pt x="417" y="537"/>
                  </a:lnTo>
                  <a:lnTo>
                    <a:pt x="415" y="535"/>
                  </a:lnTo>
                  <a:lnTo>
                    <a:pt x="413" y="533"/>
                  </a:lnTo>
                  <a:lnTo>
                    <a:pt x="359" y="512"/>
                  </a:lnTo>
                  <a:lnTo>
                    <a:pt x="356" y="509"/>
                  </a:lnTo>
                  <a:lnTo>
                    <a:pt x="352" y="506"/>
                  </a:lnTo>
                  <a:lnTo>
                    <a:pt x="348" y="499"/>
                  </a:lnTo>
                  <a:lnTo>
                    <a:pt x="321" y="471"/>
                  </a:lnTo>
                  <a:lnTo>
                    <a:pt x="317" y="470"/>
                  </a:lnTo>
                  <a:lnTo>
                    <a:pt x="313" y="468"/>
                  </a:lnTo>
                  <a:lnTo>
                    <a:pt x="309" y="468"/>
                  </a:lnTo>
                  <a:lnTo>
                    <a:pt x="284" y="472"/>
                  </a:lnTo>
                  <a:lnTo>
                    <a:pt x="280" y="472"/>
                  </a:lnTo>
                  <a:lnTo>
                    <a:pt x="276" y="471"/>
                  </a:lnTo>
                  <a:lnTo>
                    <a:pt x="272" y="470"/>
                  </a:lnTo>
                  <a:lnTo>
                    <a:pt x="269" y="469"/>
                  </a:lnTo>
                  <a:lnTo>
                    <a:pt x="227" y="439"/>
                  </a:lnTo>
                  <a:lnTo>
                    <a:pt x="216" y="432"/>
                  </a:lnTo>
                  <a:lnTo>
                    <a:pt x="209" y="430"/>
                  </a:lnTo>
                  <a:lnTo>
                    <a:pt x="201" y="429"/>
                  </a:lnTo>
                  <a:lnTo>
                    <a:pt x="174" y="428"/>
                  </a:lnTo>
                  <a:lnTo>
                    <a:pt x="167" y="426"/>
                  </a:lnTo>
                  <a:lnTo>
                    <a:pt x="164" y="424"/>
                  </a:lnTo>
                  <a:lnTo>
                    <a:pt x="156" y="420"/>
                  </a:lnTo>
                  <a:lnTo>
                    <a:pt x="141" y="404"/>
                  </a:lnTo>
                  <a:lnTo>
                    <a:pt x="130" y="392"/>
                  </a:lnTo>
                  <a:lnTo>
                    <a:pt x="126" y="388"/>
                  </a:lnTo>
                  <a:lnTo>
                    <a:pt x="123" y="386"/>
                  </a:lnTo>
                  <a:lnTo>
                    <a:pt x="119" y="386"/>
                  </a:lnTo>
                  <a:lnTo>
                    <a:pt x="107" y="385"/>
                  </a:lnTo>
                  <a:lnTo>
                    <a:pt x="99" y="383"/>
                  </a:lnTo>
                  <a:lnTo>
                    <a:pt x="51" y="355"/>
                  </a:lnTo>
                  <a:lnTo>
                    <a:pt x="48" y="351"/>
                  </a:lnTo>
                  <a:lnTo>
                    <a:pt x="44" y="346"/>
                  </a:lnTo>
                  <a:lnTo>
                    <a:pt x="42" y="341"/>
                  </a:lnTo>
                  <a:lnTo>
                    <a:pt x="37" y="325"/>
                  </a:lnTo>
                  <a:lnTo>
                    <a:pt x="36" y="320"/>
                  </a:lnTo>
                  <a:lnTo>
                    <a:pt x="32" y="317"/>
                  </a:lnTo>
                  <a:lnTo>
                    <a:pt x="25" y="310"/>
                  </a:lnTo>
                  <a:lnTo>
                    <a:pt x="11" y="299"/>
                  </a:lnTo>
                  <a:lnTo>
                    <a:pt x="9" y="298"/>
                  </a:lnTo>
                  <a:lnTo>
                    <a:pt x="7" y="295"/>
                  </a:lnTo>
                  <a:lnTo>
                    <a:pt x="3" y="289"/>
                  </a:lnTo>
                  <a:lnTo>
                    <a:pt x="1" y="286"/>
                  </a:lnTo>
                  <a:lnTo>
                    <a:pt x="0" y="281"/>
                  </a:lnTo>
                  <a:lnTo>
                    <a:pt x="0" y="279"/>
                  </a:lnTo>
                  <a:lnTo>
                    <a:pt x="1" y="275"/>
                  </a:lnTo>
                  <a:lnTo>
                    <a:pt x="2" y="270"/>
                  </a:lnTo>
                  <a:lnTo>
                    <a:pt x="6" y="259"/>
                  </a:lnTo>
                  <a:lnTo>
                    <a:pt x="10" y="252"/>
                  </a:lnTo>
                  <a:lnTo>
                    <a:pt x="38" y="219"/>
                  </a:lnTo>
                  <a:lnTo>
                    <a:pt x="46" y="206"/>
                  </a:lnTo>
                  <a:lnTo>
                    <a:pt x="105" y="95"/>
                  </a:lnTo>
                  <a:lnTo>
                    <a:pt x="115" y="80"/>
                  </a:lnTo>
                  <a:lnTo>
                    <a:pt x="128" y="65"/>
                  </a:lnTo>
                  <a:lnTo>
                    <a:pt x="145" y="50"/>
                  </a:lnTo>
                  <a:lnTo>
                    <a:pt x="168" y="36"/>
                  </a:lnTo>
                  <a:lnTo>
                    <a:pt x="247" y="6"/>
                  </a:lnTo>
                  <a:lnTo>
                    <a:pt x="249" y="4"/>
                  </a:lnTo>
                  <a:lnTo>
                    <a:pt x="267" y="0"/>
                  </a:lnTo>
                  <a:lnTo>
                    <a:pt x="305" y="5"/>
                  </a:lnTo>
                  <a:lnTo>
                    <a:pt x="342" y="10"/>
                  </a:lnTo>
                  <a:lnTo>
                    <a:pt x="409" y="19"/>
                  </a:lnTo>
                  <a:lnTo>
                    <a:pt x="418" y="20"/>
                  </a:lnTo>
                  <a:lnTo>
                    <a:pt x="428" y="37"/>
                  </a:lnTo>
                  <a:lnTo>
                    <a:pt x="437" y="63"/>
                  </a:lnTo>
                  <a:lnTo>
                    <a:pt x="438" y="67"/>
                  </a:lnTo>
                  <a:lnTo>
                    <a:pt x="439" y="78"/>
                  </a:lnTo>
                  <a:lnTo>
                    <a:pt x="441" y="83"/>
                  </a:lnTo>
                  <a:lnTo>
                    <a:pt x="442" y="89"/>
                  </a:lnTo>
                  <a:lnTo>
                    <a:pt x="445" y="93"/>
                  </a:lnTo>
                  <a:lnTo>
                    <a:pt x="449" y="97"/>
                  </a:lnTo>
                  <a:lnTo>
                    <a:pt x="452" y="100"/>
                  </a:lnTo>
                  <a:lnTo>
                    <a:pt x="456" y="103"/>
                  </a:lnTo>
                  <a:lnTo>
                    <a:pt x="457" y="108"/>
                  </a:lnTo>
                  <a:lnTo>
                    <a:pt x="525" y="107"/>
                  </a:lnTo>
                  <a:lnTo>
                    <a:pt x="585" y="106"/>
                  </a:lnTo>
                  <a:lnTo>
                    <a:pt x="589" y="111"/>
                  </a:lnTo>
                  <a:lnTo>
                    <a:pt x="592" y="112"/>
                  </a:lnTo>
                  <a:lnTo>
                    <a:pt x="595" y="114"/>
                  </a:lnTo>
                  <a:lnTo>
                    <a:pt x="596" y="116"/>
                  </a:lnTo>
                  <a:lnTo>
                    <a:pt x="598" y="124"/>
                  </a:lnTo>
                  <a:lnTo>
                    <a:pt x="598" y="130"/>
                  </a:lnTo>
                  <a:lnTo>
                    <a:pt x="596" y="135"/>
                  </a:lnTo>
                  <a:lnTo>
                    <a:pt x="593" y="134"/>
                  </a:lnTo>
                  <a:lnTo>
                    <a:pt x="592" y="135"/>
                  </a:lnTo>
                  <a:lnTo>
                    <a:pt x="592" y="135"/>
                  </a:lnTo>
                  <a:lnTo>
                    <a:pt x="594" y="136"/>
                  </a:lnTo>
                  <a:lnTo>
                    <a:pt x="597" y="135"/>
                  </a:lnTo>
                  <a:lnTo>
                    <a:pt x="600" y="134"/>
                  </a:lnTo>
                  <a:lnTo>
                    <a:pt x="600" y="130"/>
                  </a:lnTo>
                  <a:lnTo>
                    <a:pt x="602" y="132"/>
                  </a:lnTo>
                  <a:lnTo>
                    <a:pt x="602" y="134"/>
                  </a:lnTo>
                  <a:lnTo>
                    <a:pt x="600" y="137"/>
                  </a:lnTo>
                  <a:lnTo>
                    <a:pt x="600" y="142"/>
                  </a:lnTo>
                  <a:lnTo>
                    <a:pt x="599" y="144"/>
                  </a:lnTo>
                  <a:lnTo>
                    <a:pt x="600" y="149"/>
                  </a:lnTo>
                  <a:lnTo>
                    <a:pt x="602" y="153"/>
                  </a:lnTo>
                  <a:lnTo>
                    <a:pt x="616" y="168"/>
                  </a:lnTo>
                  <a:lnTo>
                    <a:pt x="617" y="171"/>
                  </a:lnTo>
                  <a:lnTo>
                    <a:pt x="615" y="174"/>
                  </a:lnTo>
                  <a:lnTo>
                    <a:pt x="614" y="178"/>
                  </a:lnTo>
                  <a:lnTo>
                    <a:pt x="613" y="181"/>
                  </a:lnTo>
                  <a:lnTo>
                    <a:pt x="615" y="185"/>
                  </a:lnTo>
                  <a:lnTo>
                    <a:pt x="616" y="188"/>
                  </a:lnTo>
                  <a:lnTo>
                    <a:pt x="622" y="196"/>
                  </a:lnTo>
                  <a:lnTo>
                    <a:pt x="623" y="197"/>
                  </a:lnTo>
                  <a:lnTo>
                    <a:pt x="622" y="201"/>
                  </a:lnTo>
                  <a:lnTo>
                    <a:pt x="624" y="203"/>
                  </a:lnTo>
                  <a:lnTo>
                    <a:pt x="630" y="205"/>
                  </a:lnTo>
                  <a:lnTo>
                    <a:pt x="632" y="205"/>
                  </a:lnTo>
                  <a:lnTo>
                    <a:pt x="638" y="205"/>
                  </a:lnTo>
                  <a:lnTo>
                    <a:pt x="639" y="205"/>
                  </a:lnTo>
                  <a:lnTo>
                    <a:pt x="643" y="207"/>
                  </a:lnTo>
                  <a:lnTo>
                    <a:pt x="645" y="208"/>
                  </a:lnTo>
                  <a:lnTo>
                    <a:pt x="645" y="208"/>
                  </a:lnTo>
                  <a:lnTo>
                    <a:pt x="645" y="210"/>
                  </a:lnTo>
                  <a:lnTo>
                    <a:pt x="644" y="211"/>
                  </a:lnTo>
                  <a:lnTo>
                    <a:pt x="643" y="212"/>
                  </a:lnTo>
                  <a:lnTo>
                    <a:pt x="640" y="211"/>
                  </a:lnTo>
                  <a:lnTo>
                    <a:pt x="638" y="213"/>
                  </a:lnTo>
                  <a:lnTo>
                    <a:pt x="637" y="214"/>
                  </a:lnTo>
                  <a:lnTo>
                    <a:pt x="638" y="217"/>
                  </a:lnTo>
                  <a:lnTo>
                    <a:pt x="638" y="219"/>
                  </a:lnTo>
                  <a:lnTo>
                    <a:pt x="642" y="223"/>
                  </a:lnTo>
                  <a:lnTo>
                    <a:pt x="646" y="226"/>
                  </a:lnTo>
                  <a:lnTo>
                    <a:pt x="649" y="227"/>
                  </a:lnTo>
                  <a:lnTo>
                    <a:pt x="649" y="228"/>
                  </a:lnTo>
                  <a:lnTo>
                    <a:pt x="653" y="234"/>
                  </a:lnTo>
                  <a:lnTo>
                    <a:pt x="660" y="241"/>
                  </a:lnTo>
                  <a:lnTo>
                    <a:pt x="660" y="242"/>
                  </a:lnTo>
                  <a:lnTo>
                    <a:pt x="659" y="246"/>
                  </a:lnTo>
                  <a:lnTo>
                    <a:pt x="659" y="249"/>
                  </a:lnTo>
                  <a:lnTo>
                    <a:pt x="659" y="250"/>
                  </a:lnTo>
                  <a:lnTo>
                    <a:pt x="660" y="252"/>
                  </a:lnTo>
                  <a:lnTo>
                    <a:pt x="659" y="253"/>
                  </a:lnTo>
                  <a:lnTo>
                    <a:pt x="658" y="256"/>
                  </a:lnTo>
                  <a:lnTo>
                    <a:pt x="655" y="259"/>
                  </a:lnTo>
                  <a:lnTo>
                    <a:pt x="653" y="261"/>
                  </a:lnTo>
                  <a:lnTo>
                    <a:pt x="654" y="259"/>
                  </a:lnTo>
                  <a:lnTo>
                    <a:pt x="654" y="257"/>
                  </a:lnTo>
                  <a:lnTo>
                    <a:pt x="654" y="252"/>
                  </a:lnTo>
                  <a:lnTo>
                    <a:pt x="654" y="250"/>
                  </a:lnTo>
                  <a:lnTo>
                    <a:pt x="655" y="249"/>
                  </a:lnTo>
                  <a:lnTo>
                    <a:pt x="656" y="247"/>
                  </a:lnTo>
                  <a:lnTo>
                    <a:pt x="655" y="244"/>
                  </a:lnTo>
                  <a:lnTo>
                    <a:pt x="653" y="247"/>
                  </a:lnTo>
                  <a:lnTo>
                    <a:pt x="650" y="254"/>
                  </a:lnTo>
                  <a:lnTo>
                    <a:pt x="647" y="256"/>
                  </a:lnTo>
                  <a:lnTo>
                    <a:pt x="651" y="248"/>
                  </a:lnTo>
                  <a:lnTo>
                    <a:pt x="651" y="245"/>
                  </a:lnTo>
                  <a:lnTo>
                    <a:pt x="650" y="242"/>
                  </a:lnTo>
                  <a:lnTo>
                    <a:pt x="648" y="242"/>
                  </a:lnTo>
                  <a:lnTo>
                    <a:pt x="647" y="245"/>
                  </a:lnTo>
                  <a:lnTo>
                    <a:pt x="644" y="257"/>
                  </a:lnTo>
                  <a:lnTo>
                    <a:pt x="644" y="261"/>
                  </a:lnTo>
                  <a:lnTo>
                    <a:pt x="643" y="263"/>
                  </a:lnTo>
                  <a:lnTo>
                    <a:pt x="643" y="264"/>
                  </a:lnTo>
                  <a:lnTo>
                    <a:pt x="645" y="264"/>
                  </a:lnTo>
                  <a:lnTo>
                    <a:pt x="646" y="263"/>
                  </a:lnTo>
                  <a:lnTo>
                    <a:pt x="647" y="259"/>
                  </a:lnTo>
                  <a:lnTo>
                    <a:pt x="648" y="258"/>
                  </a:lnTo>
                  <a:lnTo>
                    <a:pt x="648" y="266"/>
                  </a:lnTo>
                  <a:lnTo>
                    <a:pt x="649" y="269"/>
                  </a:lnTo>
                  <a:lnTo>
                    <a:pt x="651" y="268"/>
                  </a:lnTo>
                  <a:lnTo>
                    <a:pt x="653" y="267"/>
                  </a:lnTo>
                  <a:lnTo>
                    <a:pt x="653" y="264"/>
                  </a:lnTo>
                  <a:lnTo>
                    <a:pt x="654" y="267"/>
                  </a:lnTo>
                  <a:lnTo>
                    <a:pt x="654" y="270"/>
                  </a:lnTo>
                  <a:lnTo>
                    <a:pt x="654" y="272"/>
                  </a:lnTo>
                  <a:lnTo>
                    <a:pt x="656" y="273"/>
                  </a:lnTo>
                  <a:lnTo>
                    <a:pt x="658" y="272"/>
                  </a:lnTo>
                  <a:lnTo>
                    <a:pt x="659" y="271"/>
                  </a:lnTo>
                  <a:lnTo>
                    <a:pt x="660" y="269"/>
                  </a:lnTo>
                  <a:lnTo>
                    <a:pt x="660" y="272"/>
                  </a:lnTo>
                  <a:lnTo>
                    <a:pt x="660" y="273"/>
                  </a:lnTo>
                  <a:lnTo>
                    <a:pt x="659" y="274"/>
                  </a:lnTo>
                  <a:lnTo>
                    <a:pt x="660" y="276"/>
                  </a:lnTo>
                  <a:lnTo>
                    <a:pt x="660" y="277"/>
                  </a:lnTo>
                  <a:lnTo>
                    <a:pt x="659" y="278"/>
                  </a:lnTo>
                  <a:lnTo>
                    <a:pt x="657" y="278"/>
                  </a:lnTo>
                  <a:lnTo>
                    <a:pt x="659" y="283"/>
                  </a:lnTo>
                  <a:lnTo>
                    <a:pt x="655" y="280"/>
                  </a:lnTo>
                  <a:lnTo>
                    <a:pt x="653" y="281"/>
                  </a:lnTo>
                  <a:lnTo>
                    <a:pt x="652" y="283"/>
                  </a:lnTo>
                  <a:lnTo>
                    <a:pt x="655" y="284"/>
                  </a:lnTo>
                  <a:lnTo>
                    <a:pt x="659" y="284"/>
                  </a:lnTo>
                  <a:lnTo>
                    <a:pt x="660" y="282"/>
                  </a:lnTo>
                  <a:lnTo>
                    <a:pt x="662" y="279"/>
                  </a:lnTo>
                  <a:lnTo>
                    <a:pt x="663" y="279"/>
                  </a:lnTo>
                  <a:lnTo>
                    <a:pt x="664" y="282"/>
                  </a:lnTo>
                  <a:lnTo>
                    <a:pt x="662" y="284"/>
                  </a:lnTo>
                  <a:lnTo>
                    <a:pt x="662" y="287"/>
                  </a:lnTo>
                  <a:lnTo>
                    <a:pt x="662" y="291"/>
                  </a:lnTo>
                  <a:lnTo>
                    <a:pt x="666" y="291"/>
                  </a:lnTo>
                  <a:lnTo>
                    <a:pt x="667" y="289"/>
                  </a:lnTo>
                  <a:lnTo>
                    <a:pt x="666" y="288"/>
                  </a:lnTo>
                  <a:lnTo>
                    <a:pt x="665" y="287"/>
                  </a:lnTo>
                  <a:lnTo>
                    <a:pt x="664" y="286"/>
                  </a:lnTo>
                  <a:lnTo>
                    <a:pt x="666" y="284"/>
                  </a:lnTo>
                  <a:lnTo>
                    <a:pt x="668" y="283"/>
                  </a:lnTo>
                  <a:lnTo>
                    <a:pt x="671" y="282"/>
                  </a:lnTo>
                  <a:lnTo>
                    <a:pt x="675" y="281"/>
                  </a:lnTo>
                  <a:lnTo>
                    <a:pt x="677" y="282"/>
                  </a:lnTo>
                  <a:lnTo>
                    <a:pt x="683" y="288"/>
                  </a:lnTo>
                  <a:lnTo>
                    <a:pt x="689" y="291"/>
                  </a:lnTo>
                  <a:lnTo>
                    <a:pt x="690" y="294"/>
                  </a:lnTo>
                  <a:lnTo>
                    <a:pt x="687" y="296"/>
                  </a:lnTo>
                  <a:lnTo>
                    <a:pt x="690" y="297"/>
                  </a:lnTo>
                  <a:lnTo>
                    <a:pt x="692" y="296"/>
                  </a:lnTo>
                  <a:lnTo>
                    <a:pt x="693" y="295"/>
                  </a:lnTo>
                  <a:lnTo>
                    <a:pt x="692" y="293"/>
                  </a:lnTo>
                  <a:lnTo>
                    <a:pt x="695" y="295"/>
                  </a:lnTo>
                  <a:lnTo>
                    <a:pt x="698" y="295"/>
                  </a:lnTo>
                  <a:lnTo>
                    <a:pt x="705" y="296"/>
                  </a:lnTo>
                  <a:lnTo>
                    <a:pt x="706" y="295"/>
                  </a:lnTo>
                  <a:lnTo>
                    <a:pt x="708" y="294"/>
                  </a:lnTo>
                  <a:lnTo>
                    <a:pt x="710" y="293"/>
                  </a:lnTo>
                  <a:lnTo>
                    <a:pt x="712" y="294"/>
                  </a:lnTo>
                  <a:lnTo>
                    <a:pt x="715" y="295"/>
                  </a:lnTo>
                  <a:lnTo>
                    <a:pt x="717" y="295"/>
                  </a:lnTo>
                  <a:lnTo>
                    <a:pt x="721" y="295"/>
                  </a:lnTo>
                  <a:lnTo>
                    <a:pt x="722" y="298"/>
                  </a:lnTo>
                  <a:lnTo>
                    <a:pt x="727" y="303"/>
                  </a:lnTo>
                  <a:lnTo>
                    <a:pt x="728" y="305"/>
                  </a:lnTo>
                  <a:lnTo>
                    <a:pt x="730" y="306"/>
                  </a:lnTo>
                  <a:lnTo>
                    <a:pt x="731" y="308"/>
                  </a:lnTo>
                  <a:lnTo>
                    <a:pt x="731" y="309"/>
                  </a:lnTo>
                  <a:lnTo>
                    <a:pt x="732" y="312"/>
                  </a:lnTo>
                  <a:lnTo>
                    <a:pt x="732" y="314"/>
                  </a:lnTo>
                  <a:lnTo>
                    <a:pt x="730" y="314"/>
                  </a:lnTo>
                  <a:lnTo>
                    <a:pt x="729" y="313"/>
                  </a:lnTo>
                  <a:lnTo>
                    <a:pt x="728" y="311"/>
                  </a:lnTo>
                  <a:lnTo>
                    <a:pt x="729" y="309"/>
                  </a:lnTo>
                  <a:lnTo>
                    <a:pt x="728" y="309"/>
                  </a:lnTo>
                  <a:lnTo>
                    <a:pt x="724" y="313"/>
                  </a:lnTo>
                  <a:lnTo>
                    <a:pt x="715" y="312"/>
                  </a:lnTo>
                  <a:lnTo>
                    <a:pt x="712" y="316"/>
                  </a:lnTo>
                  <a:lnTo>
                    <a:pt x="710" y="316"/>
                  </a:lnTo>
                  <a:lnTo>
                    <a:pt x="709" y="312"/>
                  </a:lnTo>
                  <a:lnTo>
                    <a:pt x="706" y="312"/>
                  </a:lnTo>
                  <a:lnTo>
                    <a:pt x="700" y="316"/>
                  </a:lnTo>
                  <a:lnTo>
                    <a:pt x="701" y="316"/>
                  </a:lnTo>
                  <a:lnTo>
                    <a:pt x="705" y="318"/>
                  </a:lnTo>
                  <a:lnTo>
                    <a:pt x="707" y="318"/>
                  </a:lnTo>
                  <a:lnTo>
                    <a:pt x="711" y="321"/>
                  </a:lnTo>
                  <a:lnTo>
                    <a:pt x="713" y="322"/>
                  </a:lnTo>
                  <a:lnTo>
                    <a:pt x="714" y="324"/>
                  </a:lnTo>
                  <a:lnTo>
                    <a:pt x="715" y="324"/>
                  </a:lnTo>
                  <a:lnTo>
                    <a:pt x="719" y="321"/>
                  </a:lnTo>
                  <a:lnTo>
                    <a:pt x="720" y="319"/>
                  </a:lnTo>
                  <a:lnTo>
                    <a:pt x="721" y="318"/>
                  </a:lnTo>
                  <a:lnTo>
                    <a:pt x="722" y="319"/>
                  </a:lnTo>
                  <a:lnTo>
                    <a:pt x="724" y="320"/>
                  </a:lnTo>
                  <a:lnTo>
                    <a:pt x="723" y="323"/>
                  </a:lnTo>
                  <a:lnTo>
                    <a:pt x="721" y="325"/>
                  </a:lnTo>
                  <a:lnTo>
                    <a:pt x="720" y="325"/>
                  </a:lnTo>
                  <a:lnTo>
                    <a:pt x="719" y="327"/>
                  </a:lnTo>
                  <a:lnTo>
                    <a:pt x="718" y="329"/>
                  </a:lnTo>
                  <a:lnTo>
                    <a:pt x="718" y="333"/>
                  </a:lnTo>
                  <a:lnTo>
                    <a:pt x="717" y="336"/>
                  </a:lnTo>
                  <a:lnTo>
                    <a:pt x="719" y="335"/>
                  </a:lnTo>
                  <a:lnTo>
                    <a:pt x="721" y="334"/>
                  </a:lnTo>
                  <a:lnTo>
                    <a:pt x="723" y="333"/>
                  </a:lnTo>
                  <a:lnTo>
                    <a:pt x="725" y="332"/>
                  </a:lnTo>
                  <a:lnTo>
                    <a:pt x="727" y="331"/>
                  </a:lnTo>
                  <a:lnTo>
                    <a:pt x="729" y="332"/>
                  </a:lnTo>
                  <a:lnTo>
                    <a:pt x="732" y="333"/>
                  </a:lnTo>
                  <a:lnTo>
                    <a:pt x="731" y="337"/>
                  </a:lnTo>
                  <a:lnTo>
                    <a:pt x="731" y="341"/>
                  </a:lnTo>
                  <a:lnTo>
                    <a:pt x="733" y="344"/>
                  </a:lnTo>
                  <a:lnTo>
                    <a:pt x="733" y="348"/>
                  </a:lnTo>
                  <a:lnTo>
                    <a:pt x="733" y="356"/>
                  </a:lnTo>
                  <a:lnTo>
                    <a:pt x="734" y="360"/>
                  </a:lnTo>
                  <a:lnTo>
                    <a:pt x="736" y="359"/>
                  </a:lnTo>
                  <a:lnTo>
                    <a:pt x="736" y="363"/>
                  </a:lnTo>
                  <a:lnTo>
                    <a:pt x="738" y="364"/>
                  </a:lnTo>
                  <a:lnTo>
                    <a:pt x="740" y="363"/>
                  </a:lnTo>
                  <a:lnTo>
                    <a:pt x="742" y="362"/>
                  </a:lnTo>
                  <a:lnTo>
                    <a:pt x="741" y="359"/>
                  </a:lnTo>
                  <a:lnTo>
                    <a:pt x="742" y="357"/>
                  </a:lnTo>
                  <a:lnTo>
                    <a:pt x="744" y="357"/>
                  </a:lnTo>
                  <a:lnTo>
                    <a:pt x="747" y="359"/>
                  </a:lnTo>
                  <a:lnTo>
                    <a:pt x="748" y="358"/>
                  </a:lnTo>
                  <a:lnTo>
                    <a:pt x="749" y="360"/>
                  </a:lnTo>
                  <a:lnTo>
                    <a:pt x="749" y="362"/>
                  </a:lnTo>
                  <a:lnTo>
                    <a:pt x="748" y="364"/>
                  </a:lnTo>
                  <a:lnTo>
                    <a:pt x="747" y="367"/>
                  </a:lnTo>
                  <a:lnTo>
                    <a:pt x="747" y="368"/>
                  </a:lnTo>
                  <a:lnTo>
                    <a:pt x="745" y="369"/>
                  </a:lnTo>
                  <a:lnTo>
                    <a:pt x="743" y="369"/>
                  </a:lnTo>
                  <a:lnTo>
                    <a:pt x="742" y="369"/>
                  </a:lnTo>
                  <a:lnTo>
                    <a:pt x="743" y="371"/>
                  </a:lnTo>
                  <a:lnTo>
                    <a:pt x="747" y="371"/>
                  </a:lnTo>
                  <a:lnTo>
                    <a:pt x="748" y="373"/>
                  </a:lnTo>
                  <a:lnTo>
                    <a:pt x="750" y="372"/>
                  </a:lnTo>
                  <a:lnTo>
                    <a:pt x="751" y="371"/>
                  </a:lnTo>
                  <a:lnTo>
                    <a:pt x="752" y="367"/>
                  </a:lnTo>
                  <a:lnTo>
                    <a:pt x="753" y="368"/>
                  </a:lnTo>
                  <a:lnTo>
                    <a:pt x="754" y="369"/>
                  </a:lnTo>
                  <a:lnTo>
                    <a:pt x="752" y="371"/>
                  </a:lnTo>
                  <a:lnTo>
                    <a:pt x="754" y="372"/>
                  </a:lnTo>
                  <a:lnTo>
                    <a:pt x="758" y="371"/>
                  </a:lnTo>
                  <a:lnTo>
                    <a:pt x="760" y="371"/>
                  </a:lnTo>
                  <a:lnTo>
                    <a:pt x="765" y="373"/>
                  </a:lnTo>
                  <a:lnTo>
                    <a:pt x="768" y="373"/>
                  </a:lnTo>
                  <a:lnTo>
                    <a:pt x="763" y="369"/>
                  </a:lnTo>
                  <a:lnTo>
                    <a:pt x="762" y="365"/>
                  </a:lnTo>
                  <a:lnTo>
                    <a:pt x="765" y="363"/>
                  </a:lnTo>
                  <a:lnTo>
                    <a:pt x="766" y="363"/>
                  </a:lnTo>
                  <a:lnTo>
                    <a:pt x="770" y="365"/>
                  </a:lnTo>
                  <a:lnTo>
                    <a:pt x="771" y="366"/>
                  </a:lnTo>
                  <a:lnTo>
                    <a:pt x="773" y="365"/>
                  </a:lnTo>
                  <a:lnTo>
                    <a:pt x="775" y="362"/>
                  </a:lnTo>
                  <a:lnTo>
                    <a:pt x="775" y="365"/>
                  </a:lnTo>
                  <a:lnTo>
                    <a:pt x="773" y="370"/>
                  </a:lnTo>
                  <a:lnTo>
                    <a:pt x="773" y="372"/>
                  </a:lnTo>
                  <a:lnTo>
                    <a:pt x="774" y="377"/>
                  </a:lnTo>
                  <a:lnTo>
                    <a:pt x="775" y="379"/>
                  </a:lnTo>
                  <a:lnTo>
                    <a:pt x="776" y="380"/>
                  </a:lnTo>
                  <a:lnTo>
                    <a:pt x="780" y="381"/>
                  </a:lnTo>
                  <a:lnTo>
                    <a:pt x="782" y="385"/>
                  </a:lnTo>
                  <a:lnTo>
                    <a:pt x="792" y="401"/>
                  </a:lnTo>
                  <a:lnTo>
                    <a:pt x="797" y="406"/>
                  </a:lnTo>
                  <a:lnTo>
                    <a:pt x="798" y="408"/>
                  </a:lnTo>
                  <a:lnTo>
                    <a:pt x="803" y="409"/>
                  </a:lnTo>
                  <a:lnTo>
                    <a:pt x="805" y="411"/>
                  </a:lnTo>
                  <a:lnTo>
                    <a:pt x="807" y="413"/>
                  </a:lnTo>
                  <a:lnTo>
                    <a:pt x="809" y="415"/>
                  </a:lnTo>
                  <a:lnTo>
                    <a:pt x="819" y="420"/>
                  </a:lnTo>
                  <a:lnTo>
                    <a:pt x="826" y="424"/>
                  </a:lnTo>
                  <a:lnTo>
                    <a:pt x="830" y="425"/>
                  </a:lnTo>
                  <a:lnTo>
                    <a:pt x="833" y="424"/>
                  </a:lnTo>
                  <a:lnTo>
                    <a:pt x="838" y="425"/>
                  </a:lnTo>
                  <a:lnTo>
                    <a:pt x="842" y="428"/>
                  </a:lnTo>
                  <a:lnTo>
                    <a:pt x="848" y="433"/>
                  </a:lnTo>
                  <a:lnTo>
                    <a:pt x="856" y="445"/>
                  </a:lnTo>
                  <a:lnTo>
                    <a:pt x="859" y="450"/>
                  </a:lnTo>
                  <a:lnTo>
                    <a:pt x="871" y="459"/>
                  </a:lnTo>
                  <a:lnTo>
                    <a:pt x="874" y="462"/>
                  </a:lnTo>
                  <a:lnTo>
                    <a:pt x="874" y="466"/>
                  </a:lnTo>
                  <a:lnTo>
                    <a:pt x="867" y="460"/>
                  </a:lnTo>
                  <a:lnTo>
                    <a:pt x="863" y="457"/>
                  </a:lnTo>
                  <a:lnTo>
                    <a:pt x="854" y="455"/>
                  </a:lnTo>
                  <a:lnTo>
                    <a:pt x="851" y="455"/>
                  </a:lnTo>
                  <a:lnTo>
                    <a:pt x="849" y="453"/>
                  </a:lnTo>
                  <a:lnTo>
                    <a:pt x="849" y="446"/>
                  </a:lnTo>
                  <a:lnTo>
                    <a:pt x="847" y="447"/>
                  </a:lnTo>
                  <a:lnTo>
                    <a:pt x="846" y="450"/>
                  </a:lnTo>
                  <a:lnTo>
                    <a:pt x="844" y="454"/>
                  </a:lnTo>
                  <a:lnTo>
                    <a:pt x="844" y="458"/>
                  </a:lnTo>
                  <a:lnTo>
                    <a:pt x="845" y="460"/>
                  </a:lnTo>
                  <a:lnTo>
                    <a:pt x="846" y="462"/>
                  </a:lnTo>
                  <a:lnTo>
                    <a:pt x="848" y="463"/>
                  </a:lnTo>
                  <a:lnTo>
                    <a:pt x="849" y="464"/>
                  </a:lnTo>
                  <a:lnTo>
                    <a:pt x="848" y="476"/>
                  </a:lnTo>
                  <a:lnTo>
                    <a:pt x="848" y="479"/>
                  </a:lnTo>
                  <a:lnTo>
                    <a:pt x="853" y="493"/>
                  </a:lnTo>
                  <a:lnTo>
                    <a:pt x="855" y="496"/>
                  </a:lnTo>
                  <a:lnTo>
                    <a:pt x="857" y="500"/>
                  </a:lnTo>
                  <a:lnTo>
                    <a:pt x="860" y="501"/>
                  </a:lnTo>
                  <a:lnTo>
                    <a:pt x="874" y="506"/>
                  </a:lnTo>
                  <a:lnTo>
                    <a:pt x="879" y="510"/>
                  </a:lnTo>
                  <a:lnTo>
                    <a:pt x="882" y="517"/>
                  </a:lnTo>
                  <a:lnTo>
                    <a:pt x="884" y="525"/>
                  </a:lnTo>
                  <a:lnTo>
                    <a:pt x="883" y="546"/>
                  </a:lnTo>
                  <a:lnTo>
                    <a:pt x="883" y="550"/>
                  </a:lnTo>
                  <a:lnTo>
                    <a:pt x="881" y="554"/>
                  </a:lnTo>
                  <a:lnTo>
                    <a:pt x="878" y="556"/>
                  </a:lnTo>
                  <a:lnTo>
                    <a:pt x="878" y="554"/>
                  </a:lnTo>
                  <a:lnTo>
                    <a:pt x="877" y="553"/>
                  </a:lnTo>
                  <a:lnTo>
                    <a:pt x="874" y="553"/>
                  </a:lnTo>
                  <a:lnTo>
                    <a:pt x="873" y="554"/>
                  </a:lnTo>
                  <a:lnTo>
                    <a:pt x="874" y="560"/>
                  </a:lnTo>
                  <a:lnTo>
                    <a:pt x="874" y="567"/>
                  </a:lnTo>
                  <a:lnTo>
                    <a:pt x="872" y="574"/>
                  </a:lnTo>
                  <a:lnTo>
                    <a:pt x="871" y="579"/>
                  </a:lnTo>
                  <a:lnTo>
                    <a:pt x="869" y="577"/>
                  </a:lnTo>
                  <a:lnTo>
                    <a:pt x="868" y="575"/>
                  </a:lnTo>
                  <a:lnTo>
                    <a:pt x="868" y="572"/>
                  </a:lnTo>
                  <a:lnTo>
                    <a:pt x="867" y="569"/>
                  </a:lnTo>
                  <a:lnTo>
                    <a:pt x="866" y="567"/>
                  </a:lnTo>
                  <a:lnTo>
                    <a:pt x="864" y="565"/>
                  </a:lnTo>
                  <a:lnTo>
                    <a:pt x="864" y="564"/>
                  </a:lnTo>
                  <a:lnTo>
                    <a:pt x="861" y="561"/>
                  </a:lnTo>
                  <a:lnTo>
                    <a:pt x="860" y="561"/>
                  </a:lnTo>
                  <a:lnTo>
                    <a:pt x="859" y="556"/>
                  </a:lnTo>
                  <a:lnTo>
                    <a:pt x="858" y="554"/>
                  </a:lnTo>
                  <a:lnTo>
                    <a:pt x="856" y="552"/>
                  </a:lnTo>
                  <a:lnTo>
                    <a:pt x="855" y="549"/>
                  </a:lnTo>
                  <a:lnTo>
                    <a:pt x="853" y="548"/>
                  </a:lnTo>
                  <a:lnTo>
                    <a:pt x="851" y="549"/>
                  </a:lnTo>
                  <a:lnTo>
                    <a:pt x="847" y="558"/>
                  </a:lnTo>
                  <a:lnTo>
                    <a:pt x="845" y="559"/>
                  </a:lnTo>
                  <a:lnTo>
                    <a:pt x="843" y="560"/>
                  </a:lnTo>
                  <a:lnTo>
                    <a:pt x="844" y="562"/>
                  </a:lnTo>
                  <a:lnTo>
                    <a:pt x="846" y="565"/>
                  </a:lnTo>
                  <a:lnTo>
                    <a:pt x="847" y="566"/>
                  </a:lnTo>
                  <a:lnTo>
                    <a:pt x="848" y="567"/>
                  </a:lnTo>
                  <a:lnTo>
                    <a:pt x="849" y="570"/>
                  </a:lnTo>
                  <a:lnTo>
                    <a:pt x="849" y="572"/>
                  </a:lnTo>
                  <a:lnTo>
                    <a:pt x="846" y="573"/>
                  </a:lnTo>
                  <a:lnTo>
                    <a:pt x="846" y="575"/>
                  </a:lnTo>
                  <a:lnTo>
                    <a:pt x="846" y="577"/>
                  </a:lnTo>
                  <a:lnTo>
                    <a:pt x="847" y="580"/>
                  </a:lnTo>
                  <a:lnTo>
                    <a:pt x="847" y="583"/>
                  </a:lnTo>
                  <a:lnTo>
                    <a:pt x="846" y="585"/>
                  </a:lnTo>
                  <a:lnTo>
                    <a:pt x="849" y="586"/>
                  </a:lnTo>
                  <a:lnTo>
                    <a:pt x="851" y="585"/>
                  </a:lnTo>
                  <a:lnTo>
                    <a:pt x="852" y="583"/>
                  </a:lnTo>
                  <a:lnTo>
                    <a:pt x="851" y="579"/>
                  </a:lnTo>
                  <a:lnTo>
                    <a:pt x="853" y="580"/>
                  </a:lnTo>
                  <a:lnTo>
                    <a:pt x="854" y="581"/>
                  </a:lnTo>
                  <a:lnTo>
                    <a:pt x="856" y="583"/>
                  </a:lnTo>
                  <a:lnTo>
                    <a:pt x="856" y="584"/>
                  </a:lnTo>
                  <a:lnTo>
                    <a:pt x="858" y="584"/>
                  </a:lnTo>
                  <a:lnTo>
                    <a:pt x="858" y="586"/>
                  </a:lnTo>
                  <a:lnTo>
                    <a:pt x="860" y="587"/>
                  </a:lnTo>
                  <a:lnTo>
                    <a:pt x="864" y="588"/>
                  </a:lnTo>
                  <a:lnTo>
                    <a:pt x="866" y="591"/>
                  </a:lnTo>
                  <a:lnTo>
                    <a:pt x="867" y="593"/>
                  </a:lnTo>
                  <a:lnTo>
                    <a:pt x="869" y="597"/>
                  </a:lnTo>
                  <a:lnTo>
                    <a:pt x="869" y="599"/>
                  </a:lnTo>
                  <a:lnTo>
                    <a:pt x="865" y="602"/>
                  </a:lnTo>
                  <a:lnTo>
                    <a:pt x="867" y="611"/>
                  </a:lnTo>
                  <a:lnTo>
                    <a:pt x="871" y="620"/>
                  </a:lnTo>
                  <a:lnTo>
                    <a:pt x="874" y="627"/>
                  </a:lnTo>
                  <a:lnTo>
                    <a:pt x="885" y="638"/>
                  </a:lnTo>
                  <a:lnTo>
                    <a:pt x="888" y="645"/>
                  </a:lnTo>
                  <a:lnTo>
                    <a:pt x="890" y="654"/>
                  </a:lnTo>
                  <a:lnTo>
                    <a:pt x="889" y="654"/>
                  </a:lnTo>
                  <a:lnTo>
                    <a:pt x="886" y="645"/>
                  </a:lnTo>
                  <a:lnTo>
                    <a:pt x="885" y="645"/>
                  </a:lnTo>
                  <a:lnTo>
                    <a:pt x="883" y="644"/>
                  </a:lnTo>
                  <a:lnTo>
                    <a:pt x="881" y="643"/>
                  </a:lnTo>
                  <a:lnTo>
                    <a:pt x="879" y="641"/>
                  </a:lnTo>
                  <a:lnTo>
                    <a:pt x="877" y="638"/>
                  </a:lnTo>
                  <a:lnTo>
                    <a:pt x="874" y="636"/>
                  </a:lnTo>
                  <a:lnTo>
                    <a:pt x="871" y="636"/>
                  </a:lnTo>
                  <a:lnTo>
                    <a:pt x="871" y="639"/>
                  </a:lnTo>
                  <a:lnTo>
                    <a:pt x="872" y="642"/>
                  </a:lnTo>
                  <a:lnTo>
                    <a:pt x="877" y="645"/>
                  </a:lnTo>
                  <a:lnTo>
                    <a:pt x="878" y="647"/>
                  </a:lnTo>
                  <a:lnTo>
                    <a:pt x="879" y="645"/>
                  </a:lnTo>
                  <a:lnTo>
                    <a:pt x="880" y="645"/>
                  </a:lnTo>
                  <a:lnTo>
                    <a:pt x="886" y="658"/>
                  </a:lnTo>
                  <a:lnTo>
                    <a:pt x="906" y="683"/>
                  </a:lnTo>
                  <a:lnTo>
                    <a:pt x="909" y="686"/>
                  </a:lnTo>
                  <a:lnTo>
                    <a:pt x="909" y="683"/>
                  </a:lnTo>
                  <a:lnTo>
                    <a:pt x="909" y="681"/>
                  </a:lnTo>
                  <a:lnTo>
                    <a:pt x="908" y="678"/>
                  </a:lnTo>
                  <a:lnTo>
                    <a:pt x="909" y="677"/>
                  </a:lnTo>
                  <a:lnTo>
                    <a:pt x="911" y="676"/>
                  </a:lnTo>
                  <a:lnTo>
                    <a:pt x="912" y="677"/>
                  </a:lnTo>
                  <a:lnTo>
                    <a:pt x="913" y="681"/>
                  </a:lnTo>
                  <a:lnTo>
                    <a:pt x="915" y="683"/>
                  </a:lnTo>
                  <a:lnTo>
                    <a:pt x="916" y="685"/>
                  </a:lnTo>
                  <a:lnTo>
                    <a:pt x="919" y="687"/>
                  </a:lnTo>
                  <a:lnTo>
                    <a:pt x="924" y="689"/>
                  </a:lnTo>
                  <a:lnTo>
                    <a:pt x="926" y="691"/>
                  </a:lnTo>
                  <a:lnTo>
                    <a:pt x="930" y="699"/>
                  </a:lnTo>
                  <a:lnTo>
                    <a:pt x="928" y="700"/>
                  </a:lnTo>
                  <a:lnTo>
                    <a:pt x="931" y="703"/>
                  </a:lnTo>
                  <a:lnTo>
                    <a:pt x="932" y="708"/>
                  </a:lnTo>
                  <a:lnTo>
                    <a:pt x="934" y="714"/>
                  </a:lnTo>
                  <a:lnTo>
                    <a:pt x="935" y="717"/>
                  </a:lnTo>
                  <a:lnTo>
                    <a:pt x="935" y="720"/>
                  </a:lnTo>
                  <a:lnTo>
                    <a:pt x="934" y="724"/>
                  </a:lnTo>
                  <a:lnTo>
                    <a:pt x="934" y="726"/>
                  </a:lnTo>
                  <a:lnTo>
                    <a:pt x="934" y="729"/>
                  </a:lnTo>
                  <a:lnTo>
                    <a:pt x="936" y="731"/>
                  </a:lnTo>
                  <a:lnTo>
                    <a:pt x="937" y="735"/>
                  </a:lnTo>
                  <a:lnTo>
                    <a:pt x="939" y="739"/>
                  </a:lnTo>
                  <a:lnTo>
                    <a:pt x="939" y="742"/>
                  </a:lnTo>
                  <a:lnTo>
                    <a:pt x="939" y="750"/>
                  </a:lnTo>
                  <a:lnTo>
                    <a:pt x="939" y="758"/>
                  </a:lnTo>
                  <a:lnTo>
                    <a:pt x="941" y="761"/>
                  </a:lnTo>
                  <a:lnTo>
                    <a:pt x="943" y="764"/>
                  </a:lnTo>
                  <a:lnTo>
                    <a:pt x="945" y="760"/>
                  </a:lnTo>
                  <a:lnTo>
                    <a:pt x="948" y="764"/>
                  </a:lnTo>
                  <a:lnTo>
                    <a:pt x="954" y="770"/>
                  </a:lnTo>
                  <a:lnTo>
                    <a:pt x="955" y="773"/>
                  </a:lnTo>
                  <a:lnTo>
                    <a:pt x="958" y="775"/>
                  </a:lnTo>
                  <a:lnTo>
                    <a:pt x="961" y="788"/>
                  </a:lnTo>
                  <a:lnTo>
                    <a:pt x="966" y="790"/>
                  </a:lnTo>
                  <a:lnTo>
                    <a:pt x="969" y="794"/>
                  </a:lnTo>
                  <a:lnTo>
                    <a:pt x="970" y="801"/>
                  </a:lnTo>
                  <a:lnTo>
                    <a:pt x="970" y="813"/>
                  </a:lnTo>
                  <a:lnTo>
                    <a:pt x="971" y="814"/>
                  </a:lnTo>
                  <a:lnTo>
                    <a:pt x="973" y="818"/>
                  </a:lnTo>
                  <a:lnTo>
                    <a:pt x="975" y="820"/>
                  </a:lnTo>
                  <a:lnTo>
                    <a:pt x="977" y="822"/>
                  </a:lnTo>
                  <a:lnTo>
                    <a:pt x="979" y="822"/>
                  </a:lnTo>
                  <a:lnTo>
                    <a:pt x="983" y="819"/>
                  </a:lnTo>
                  <a:lnTo>
                    <a:pt x="994" y="839"/>
                  </a:lnTo>
                  <a:lnTo>
                    <a:pt x="1003" y="848"/>
                  </a:lnTo>
                  <a:lnTo>
                    <a:pt x="1011" y="851"/>
                  </a:lnTo>
                  <a:lnTo>
                    <a:pt x="1021" y="853"/>
                  </a:lnTo>
                  <a:lnTo>
                    <a:pt x="1030" y="853"/>
                  </a:lnTo>
                  <a:lnTo>
                    <a:pt x="1039" y="850"/>
                  </a:lnTo>
                  <a:lnTo>
                    <a:pt x="1051" y="841"/>
                  </a:lnTo>
                  <a:lnTo>
                    <a:pt x="1051" y="843"/>
                  </a:lnTo>
                  <a:lnTo>
                    <a:pt x="1059" y="841"/>
                  </a:lnTo>
                  <a:lnTo>
                    <a:pt x="1061" y="843"/>
                  </a:lnTo>
                  <a:lnTo>
                    <a:pt x="1063" y="844"/>
                  </a:lnTo>
                  <a:lnTo>
                    <a:pt x="1064" y="845"/>
                  </a:lnTo>
                  <a:lnTo>
                    <a:pt x="1066" y="843"/>
                  </a:lnTo>
                  <a:lnTo>
                    <a:pt x="1067" y="845"/>
                  </a:lnTo>
                  <a:lnTo>
                    <a:pt x="1066" y="847"/>
                  </a:lnTo>
                  <a:lnTo>
                    <a:pt x="1065" y="848"/>
                  </a:lnTo>
                  <a:lnTo>
                    <a:pt x="1063" y="850"/>
                  </a:lnTo>
                  <a:lnTo>
                    <a:pt x="1063" y="851"/>
                  </a:lnTo>
                  <a:lnTo>
                    <a:pt x="1065" y="854"/>
                  </a:lnTo>
                  <a:lnTo>
                    <a:pt x="1064" y="860"/>
                  </a:lnTo>
                  <a:lnTo>
                    <a:pt x="1065" y="861"/>
                  </a:lnTo>
                  <a:lnTo>
                    <a:pt x="1068" y="860"/>
                  </a:lnTo>
                  <a:lnTo>
                    <a:pt x="1070" y="858"/>
                  </a:lnTo>
                  <a:lnTo>
                    <a:pt x="1075" y="850"/>
                  </a:lnTo>
                  <a:lnTo>
                    <a:pt x="1077" y="848"/>
                  </a:lnTo>
                  <a:lnTo>
                    <a:pt x="1080" y="846"/>
                  </a:lnTo>
                  <a:lnTo>
                    <a:pt x="1081" y="844"/>
                  </a:lnTo>
                  <a:lnTo>
                    <a:pt x="1081" y="840"/>
                  </a:lnTo>
                  <a:lnTo>
                    <a:pt x="1083" y="841"/>
                  </a:lnTo>
                  <a:lnTo>
                    <a:pt x="1086" y="842"/>
                  </a:lnTo>
                  <a:lnTo>
                    <a:pt x="1089" y="842"/>
                  </a:lnTo>
                  <a:lnTo>
                    <a:pt x="1089" y="844"/>
                  </a:lnTo>
                  <a:lnTo>
                    <a:pt x="1091" y="847"/>
                  </a:lnTo>
                  <a:lnTo>
                    <a:pt x="1093" y="847"/>
                  </a:lnTo>
                  <a:lnTo>
                    <a:pt x="1096" y="847"/>
                  </a:lnTo>
                  <a:lnTo>
                    <a:pt x="1098" y="849"/>
                  </a:lnTo>
                  <a:lnTo>
                    <a:pt x="1098" y="850"/>
                  </a:lnTo>
                  <a:lnTo>
                    <a:pt x="1095" y="851"/>
                  </a:lnTo>
                  <a:lnTo>
                    <a:pt x="1091" y="852"/>
                  </a:lnTo>
                  <a:lnTo>
                    <a:pt x="1089" y="854"/>
                  </a:lnTo>
                  <a:lnTo>
                    <a:pt x="1088" y="857"/>
                  </a:lnTo>
                  <a:lnTo>
                    <a:pt x="1087" y="857"/>
                  </a:lnTo>
                  <a:lnTo>
                    <a:pt x="1083" y="861"/>
                  </a:lnTo>
                  <a:lnTo>
                    <a:pt x="1082" y="863"/>
                  </a:lnTo>
                  <a:lnTo>
                    <a:pt x="1082" y="866"/>
                  </a:lnTo>
                  <a:lnTo>
                    <a:pt x="1081" y="866"/>
                  </a:lnTo>
                  <a:lnTo>
                    <a:pt x="1071" y="874"/>
                  </a:lnTo>
                  <a:lnTo>
                    <a:pt x="1068" y="877"/>
                  </a:lnTo>
                  <a:lnTo>
                    <a:pt x="1067" y="880"/>
                  </a:lnTo>
                  <a:lnTo>
                    <a:pt x="1066" y="881"/>
                  </a:lnTo>
                  <a:lnTo>
                    <a:pt x="1066" y="883"/>
                  </a:lnTo>
                  <a:lnTo>
                    <a:pt x="1065" y="888"/>
                  </a:lnTo>
                  <a:lnTo>
                    <a:pt x="1065" y="889"/>
                  </a:lnTo>
                  <a:lnTo>
                    <a:pt x="1065" y="892"/>
                  </a:lnTo>
                  <a:lnTo>
                    <a:pt x="1064" y="893"/>
                  </a:lnTo>
                  <a:lnTo>
                    <a:pt x="1062" y="893"/>
                  </a:lnTo>
                  <a:lnTo>
                    <a:pt x="1061" y="894"/>
                  </a:lnTo>
                  <a:lnTo>
                    <a:pt x="1061" y="897"/>
                  </a:lnTo>
                  <a:lnTo>
                    <a:pt x="1061" y="899"/>
                  </a:lnTo>
                  <a:lnTo>
                    <a:pt x="1062" y="900"/>
                  </a:lnTo>
                  <a:lnTo>
                    <a:pt x="1072" y="901"/>
                  </a:lnTo>
                  <a:lnTo>
                    <a:pt x="1076" y="900"/>
                  </a:lnTo>
                  <a:lnTo>
                    <a:pt x="1078" y="899"/>
                  </a:lnTo>
                  <a:lnTo>
                    <a:pt x="1080" y="897"/>
                  </a:lnTo>
                  <a:lnTo>
                    <a:pt x="1081" y="897"/>
                  </a:lnTo>
                  <a:lnTo>
                    <a:pt x="1083" y="897"/>
                  </a:lnTo>
                  <a:lnTo>
                    <a:pt x="1095" y="899"/>
                  </a:lnTo>
                  <a:lnTo>
                    <a:pt x="1097" y="901"/>
                  </a:lnTo>
                  <a:lnTo>
                    <a:pt x="1103" y="907"/>
                  </a:lnTo>
                  <a:lnTo>
                    <a:pt x="1110" y="909"/>
                  </a:lnTo>
                  <a:lnTo>
                    <a:pt x="1111" y="916"/>
                  </a:lnTo>
                  <a:lnTo>
                    <a:pt x="1111" y="920"/>
                  </a:lnTo>
                  <a:lnTo>
                    <a:pt x="1111" y="933"/>
                  </a:lnTo>
                  <a:lnTo>
                    <a:pt x="1112" y="937"/>
                  </a:lnTo>
                  <a:lnTo>
                    <a:pt x="1114" y="942"/>
                  </a:lnTo>
                  <a:lnTo>
                    <a:pt x="1150" y="988"/>
                  </a:lnTo>
                  <a:lnTo>
                    <a:pt x="1176" y="1022"/>
                  </a:lnTo>
                  <a:lnTo>
                    <a:pt x="1185" y="1034"/>
                  </a:lnTo>
                  <a:lnTo>
                    <a:pt x="1219" y="1079"/>
                  </a:lnTo>
                  <a:lnTo>
                    <a:pt x="1237" y="1102"/>
                  </a:lnTo>
                  <a:lnTo>
                    <a:pt x="1263" y="1136"/>
                  </a:lnTo>
                  <a:lnTo>
                    <a:pt x="1272" y="1148"/>
                  </a:lnTo>
                  <a:lnTo>
                    <a:pt x="1275" y="1150"/>
                  </a:lnTo>
                  <a:lnTo>
                    <a:pt x="1279" y="1152"/>
                  </a:lnTo>
                  <a:lnTo>
                    <a:pt x="1353" y="1161"/>
                  </a:lnTo>
                  <a:lnTo>
                    <a:pt x="1469" y="1177"/>
                  </a:lnTo>
                  <a:lnTo>
                    <a:pt x="1539" y="1186"/>
                  </a:lnTo>
                  <a:lnTo>
                    <a:pt x="1586" y="1193"/>
                  </a:lnTo>
                  <a:lnTo>
                    <a:pt x="1609" y="1195"/>
                  </a:lnTo>
                  <a:lnTo>
                    <a:pt x="1655" y="1201"/>
                  </a:lnTo>
                  <a:lnTo>
                    <a:pt x="1701" y="1208"/>
                  </a:lnTo>
                  <a:lnTo>
                    <a:pt x="1704" y="1208"/>
                  </a:lnTo>
                  <a:lnTo>
                    <a:pt x="1714" y="1193"/>
                  </a:lnTo>
                  <a:lnTo>
                    <a:pt x="1739" y="1233"/>
                  </a:lnTo>
                  <a:lnTo>
                    <a:pt x="1766" y="1278"/>
                  </a:lnTo>
                  <a:lnTo>
                    <a:pt x="1789" y="1316"/>
                  </a:lnTo>
                  <a:lnTo>
                    <a:pt x="1790" y="1320"/>
                  </a:lnTo>
                  <a:lnTo>
                    <a:pt x="1790" y="1324"/>
                  </a:lnTo>
                  <a:lnTo>
                    <a:pt x="1783" y="1347"/>
                  </a:lnTo>
                  <a:lnTo>
                    <a:pt x="1774" y="1376"/>
                  </a:lnTo>
                  <a:lnTo>
                    <a:pt x="1760" y="1421"/>
                  </a:lnTo>
                  <a:lnTo>
                    <a:pt x="1744" y="1476"/>
                  </a:lnTo>
                  <a:lnTo>
                    <a:pt x="1734" y="1506"/>
                  </a:lnTo>
                  <a:lnTo>
                    <a:pt x="1708" y="1590"/>
                  </a:lnTo>
                  <a:lnTo>
                    <a:pt x="1694" y="1635"/>
                  </a:lnTo>
                  <a:lnTo>
                    <a:pt x="1690" y="1650"/>
                  </a:lnTo>
                  <a:lnTo>
                    <a:pt x="1680" y="1681"/>
                  </a:lnTo>
                  <a:lnTo>
                    <a:pt x="1626" y="1700"/>
                  </a:lnTo>
                  <a:lnTo>
                    <a:pt x="1541" y="1730"/>
                  </a:lnTo>
                  <a:lnTo>
                    <a:pt x="1483" y="1750"/>
                  </a:lnTo>
                  <a:lnTo>
                    <a:pt x="1455" y="1761"/>
                  </a:lnTo>
                  <a:lnTo>
                    <a:pt x="1398" y="1781"/>
                  </a:lnTo>
                  <a:lnTo>
                    <a:pt x="1368" y="1791"/>
                  </a:lnTo>
                  <a:lnTo>
                    <a:pt x="1311" y="1811"/>
                  </a:lnTo>
                  <a:lnTo>
                    <a:pt x="1283" y="1822"/>
                  </a:lnTo>
                  <a:lnTo>
                    <a:pt x="1225" y="1841"/>
                  </a:lnTo>
                  <a:lnTo>
                    <a:pt x="1197" y="1852"/>
                  </a:lnTo>
                  <a:lnTo>
                    <a:pt x="1178" y="1858"/>
                  </a:lnTo>
                  <a:lnTo>
                    <a:pt x="1098" y="1870"/>
                  </a:lnTo>
                  <a:lnTo>
                    <a:pt x="991" y="1886"/>
                  </a:lnTo>
                  <a:lnTo>
                    <a:pt x="964" y="1889"/>
                  </a:lnTo>
                  <a:lnTo>
                    <a:pt x="938" y="1893"/>
                  </a:lnTo>
                  <a:lnTo>
                    <a:pt x="884" y="1901"/>
                  </a:lnTo>
                  <a:lnTo>
                    <a:pt x="857" y="1904"/>
                  </a:lnTo>
                  <a:lnTo>
                    <a:pt x="723" y="1924"/>
                  </a:lnTo>
                  <a:lnTo>
                    <a:pt x="701" y="1926"/>
                  </a:lnTo>
                  <a:lnTo>
                    <a:pt x="686" y="1932"/>
                  </a:lnTo>
                  <a:lnTo>
                    <a:pt x="654" y="1948"/>
                  </a:lnTo>
                  <a:lnTo>
                    <a:pt x="593" y="1979"/>
                  </a:lnTo>
                  <a:lnTo>
                    <a:pt x="544" y="2006"/>
                  </a:lnTo>
                  <a:lnTo>
                    <a:pt x="540" y="2008"/>
                  </a:lnTo>
                  <a:lnTo>
                    <a:pt x="526" y="2024"/>
                  </a:lnTo>
                  <a:lnTo>
                    <a:pt x="511" y="2044"/>
                  </a:lnTo>
                  <a:lnTo>
                    <a:pt x="486" y="2077"/>
                  </a:lnTo>
                  <a:lnTo>
                    <a:pt x="444" y="2129"/>
                  </a:lnTo>
                  <a:lnTo>
                    <a:pt x="442" y="2135"/>
                  </a:lnTo>
                  <a:lnTo>
                    <a:pt x="422" y="2188"/>
                  </a:lnTo>
                  <a:lnTo>
                    <a:pt x="417" y="2194"/>
                  </a:lnTo>
                  <a:lnTo>
                    <a:pt x="417" y="2194"/>
                  </a:lnTo>
                  <a:close/>
                </a:path>
              </a:pathLst>
            </a:custGeom>
            <a:solidFill>
              <a:srgbClr val="00764C"/>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srgbClr val="000000"/>
                </a:solidFill>
                <a:latin typeface="Arial"/>
                <a:cs typeface="+mn-cs"/>
              </a:endParaRPr>
            </a:p>
          </p:txBody>
        </p:sp>
        <p:sp>
          <p:nvSpPr>
            <p:cNvPr id="243" name="Freeform 9">
              <a:extLst>
                <a:ext uri="{FF2B5EF4-FFF2-40B4-BE49-F238E27FC236}"/>
              </a:extLst>
            </p:cNvPr>
            <p:cNvSpPr>
              <a:spLocks/>
            </p:cNvSpPr>
            <p:nvPr/>
          </p:nvSpPr>
          <p:spPr bwMode="auto">
            <a:xfrm>
              <a:off x="2283961" y="3302678"/>
              <a:ext cx="1411220" cy="1439622"/>
            </a:xfrm>
            <a:custGeom>
              <a:avLst/>
              <a:gdLst>
                <a:gd name="T0" fmla="*/ 504 w 889"/>
                <a:gd name="T1" fmla="*/ 179 h 907"/>
                <a:gd name="T2" fmla="*/ 526 w 889"/>
                <a:gd name="T3" fmla="*/ 196 h 907"/>
                <a:gd name="T4" fmla="*/ 531 w 889"/>
                <a:gd name="T5" fmla="*/ 320 h 907"/>
                <a:gd name="T6" fmla="*/ 546 w 889"/>
                <a:gd name="T7" fmla="*/ 389 h 907"/>
                <a:gd name="T8" fmla="*/ 638 w 889"/>
                <a:gd name="T9" fmla="*/ 371 h 907"/>
                <a:gd name="T10" fmla="*/ 674 w 889"/>
                <a:gd name="T11" fmla="*/ 340 h 907"/>
                <a:gd name="T12" fmla="*/ 808 w 889"/>
                <a:gd name="T13" fmla="*/ 357 h 907"/>
                <a:gd name="T14" fmla="*/ 818 w 889"/>
                <a:gd name="T15" fmla="*/ 433 h 907"/>
                <a:gd name="T16" fmla="*/ 866 w 889"/>
                <a:gd name="T17" fmla="*/ 494 h 907"/>
                <a:gd name="T18" fmla="*/ 884 w 889"/>
                <a:gd name="T19" fmla="*/ 539 h 907"/>
                <a:gd name="T20" fmla="*/ 875 w 889"/>
                <a:gd name="T21" fmla="*/ 578 h 907"/>
                <a:gd name="T22" fmla="*/ 829 w 889"/>
                <a:gd name="T23" fmla="*/ 645 h 907"/>
                <a:gd name="T24" fmla="*/ 830 w 889"/>
                <a:gd name="T25" fmla="*/ 690 h 907"/>
                <a:gd name="T26" fmla="*/ 752 w 889"/>
                <a:gd name="T27" fmla="*/ 745 h 907"/>
                <a:gd name="T28" fmla="*/ 776 w 889"/>
                <a:gd name="T29" fmla="*/ 780 h 907"/>
                <a:gd name="T30" fmla="*/ 654 w 889"/>
                <a:gd name="T31" fmla="*/ 884 h 907"/>
                <a:gd name="T32" fmla="*/ 583 w 889"/>
                <a:gd name="T33" fmla="*/ 903 h 907"/>
                <a:gd name="T34" fmla="*/ 550 w 889"/>
                <a:gd name="T35" fmla="*/ 899 h 907"/>
                <a:gd name="T36" fmla="*/ 547 w 889"/>
                <a:gd name="T37" fmla="*/ 862 h 907"/>
                <a:gd name="T38" fmla="*/ 519 w 889"/>
                <a:gd name="T39" fmla="*/ 839 h 907"/>
                <a:gd name="T40" fmla="*/ 524 w 889"/>
                <a:gd name="T41" fmla="*/ 787 h 907"/>
                <a:gd name="T42" fmla="*/ 446 w 889"/>
                <a:gd name="T43" fmla="*/ 790 h 907"/>
                <a:gd name="T44" fmla="*/ 402 w 889"/>
                <a:gd name="T45" fmla="*/ 781 h 907"/>
                <a:gd name="T46" fmla="*/ 349 w 889"/>
                <a:gd name="T47" fmla="*/ 732 h 907"/>
                <a:gd name="T48" fmla="*/ 305 w 889"/>
                <a:gd name="T49" fmla="*/ 716 h 907"/>
                <a:gd name="T50" fmla="*/ 303 w 889"/>
                <a:gd name="T51" fmla="*/ 717 h 907"/>
                <a:gd name="T52" fmla="*/ 281 w 889"/>
                <a:gd name="T53" fmla="*/ 675 h 907"/>
                <a:gd name="T54" fmla="*/ 267 w 889"/>
                <a:gd name="T55" fmla="*/ 657 h 907"/>
                <a:gd name="T56" fmla="*/ 244 w 889"/>
                <a:gd name="T57" fmla="*/ 640 h 907"/>
                <a:gd name="T58" fmla="*/ 217 w 889"/>
                <a:gd name="T59" fmla="*/ 618 h 907"/>
                <a:gd name="T60" fmla="*/ 197 w 889"/>
                <a:gd name="T61" fmla="*/ 602 h 907"/>
                <a:gd name="T62" fmla="*/ 194 w 889"/>
                <a:gd name="T63" fmla="*/ 592 h 907"/>
                <a:gd name="T64" fmla="*/ 187 w 889"/>
                <a:gd name="T65" fmla="*/ 602 h 907"/>
                <a:gd name="T66" fmla="*/ 156 w 889"/>
                <a:gd name="T67" fmla="*/ 582 h 907"/>
                <a:gd name="T68" fmla="*/ 135 w 889"/>
                <a:gd name="T69" fmla="*/ 586 h 907"/>
                <a:gd name="T70" fmla="*/ 106 w 889"/>
                <a:gd name="T71" fmla="*/ 557 h 907"/>
                <a:gd name="T72" fmla="*/ 103 w 889"/>
                <a:gd name="T73" fmla="*/ 519 h 907"/>
                <a:gd name="T74" fmla="*/ 139 w 889"/>
                <a:gd name="T75" fmla="*/ 505 h 907"/>
                <a:gd name="T76" fmla="*/ 171 w 889"/>
                <a:gd name="T77" fmla="*/ 486 h 907"/>
                <a:gd name="T78" fmla="*/ 204 w 889"/>
                <a:gd name="T79" fmla="*/ 470 h 907"/>
                <a:gd name="T80" fmla="*/ 188 w 889"/>
                <a:gd name="T81" fmla="*/ 356 h 907"/>
                <a:gd name="T82" fmla="*/ 163 w 889"/>
                <a:gd name="T83" fmla="*/ 301 h 907"/>
                <a:gd name="T84" fmla="*/ 98 w 889"/>
                <a:gd name="T85" fmla="*/ 240 h 907"/>
                <a:gd name="T86" fmla="*/ 75 w 889"/>
                <a:gd name="T87" fmla="*/ 226 h 907"/>
                <a:gd name="T88" fmla="*/ 80 w 889"/>
                <a:gd name="T89" fmla="*/ 163 h 907"/>
                <a:gd name="T90" fmla="*/ 45 w 889"/>
                <a:gd name="T91" fmla="*/ 135 h 907"/>
                <a:gd name="T92" fmla="*/ 37 w 889"/>
                <a:gd name="T93" fmla="*/ 77 h 907"/>
                <a:gd name="T94" fmla="*/ 22 w 889"/>
                <a:gd name="T95" fmla="*/ 39 h 907"/>
                <a:gd name="T96" fmla="*/ 4 w 889"/>
                <a:gd name="T97" fmla="*/ 30 h 907"/>
                <a:gd name="T98" fmla="*/ 105 w 889"/>
                <a:gd name="T99" fmla="*/ 15 h 907"/>
                <a:gd name="T100" fmla="*/ 165 w 889"/>
                <a:gd name="T101" fmla="*/ 0 h 907"/>
                <a:gd name="T102" fmla="*/ 197 w 889"/>
                <a:gd name="T103" fmla="*/ 59 h 907"/>
                <a:gd name="T104" fmla="*/ 239 w 889"/>
                <a:gd name="T105" fmla="*/ 72 h 907"/>
                <a:gd name="T106" fmla="*/ 257 w 889"/>
                <a:gd name="T107" fmla="*/ 102 h 907"/>
                <a:gd name="T108" fmla="*/ 288 w 889"/>
                <a:gd name="T109" fmla="*/ 96 h 907"/>
                <a:gd name="T110" fmla="*/ 327 w 889"/>
                <a:gd name="T111" fmla="*/ 100 h 907"/>
                <a:gd name="T112" fmla="*/ 339 w 889"/>
                <a:gd name="T113" fmla="*/ 102 h 907"/>
                <a:gd name="T114" fmla="*/ 491 w 889"/>
                <a:gd name="T115" fmla="*/ 12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9" h="907">
                  <a:moveTo>
                    <a:pt x="508" y="138"/>
                  </a:moveTo>
                  <a:lnTo>
                    <a:pt x="511" y="146"/>
                  </a:lnTo>
                  <a:lnTo>
                    <a:pt x="511" y="150"/>
                  </a:lnTo>
                  <a:lnTo>
                    <a:pt x="511" y="154"/>
                  </a:lnTo>
                  <a:lnTo>
                    <a:pt x="511" y="159"/>
                  </a:lnTo>
                  <a:lnTo>
                    <a:pt x="510" y="166"/>
                  </a:lnTo>
                  <a:lnTo>
                    <a:pt x="510" y="168"/>
                  </a:lnTo>
                  <a:lnTo>
                    <a:pt x="504" y="179"/>
                  </a:lnTo>
                  <a:lnTo>
                    <a:pt x="501" y="184"/>
                  </a:lnTo>
                  <a:lnTo>
                    <a:pt x="502" y="189"/>
                  </a:lnTo>
                  <a:lnTo>
                    <a:pt x="504" y="193"/>
                  </a:lnTo>
                  <a:lnTo>
                    <a:pt x="506" y="196"/>
                  </a:lnTo>
                  <a:lnTo>
                    <a:pt x="510" y="198"/>
                  </a:lnTo>
                  <a:lnTo>
                    <a:pt x="514" y="198"/>
                  </a:lnTo>
                  <a:lnTo>
                    <a:pt x="522" y="196"/>
                  </a:lnTo>
                  <a:lnTo>
                    <a:pt x="526" y="196"/>
                  </a:lnTo>
                  <a:lnTo>
                    <a:pt x="529" y="199"/>
                  </a:lnTo>
                  <a:lnTo>
                    <a:pt x="531" y="203"/>
                  </a:lnTo>
                  <a:lnTo>
                    <a:pt x="532" y="207"/>
                  </a:lnTo>
                  <a:lnTo>
                    <a:pt x="522" y="270"/>
                  </a:lnTo>
                  <a:lnTo>
                    <a:pt x="522" y="275"/>
                  </a:lnTo>
                  <a:lnTo>
                    <a:pt x="523" y="280"/>
                  </a:lnTo>
                  <a:lnTo>
                    <a:pt x="528" y="300"/>
                  </a:lnTo>
                  <a:lnTo>
                    <a:pt x="531" y="320"/>
                  </a:lnTo>
                  <a:lnTo>
                    <a:pt x="529" y="368"/>
                  </a:lnTo>
                  <a:lnTo>
                    <a:pt x="531" y="373"/>
                  </a:lnTo>
                  <a:lnTo>
                    <a:pt x="533" y="378"/>
                  </a:lnTo>
                  <a:lnTo>
                    <a:pt x="534" y="381"/>
                  </a:lnTo>
                  <a:lnTo>
                    <a:pt x="537" y="384"/>
                  </a:lnTo>
                  <a:lnTo>
                    <a:pt x="540" y="386"/>
                  </a:lnTo>
                  <a:lnTo>
                    <a:pt x="542" y="387"/>
                  </a:lnTo>
                  <a:lnTo>
                    <a:pt x="546" y="389"/>
                  </a:lnTo>
                  <a:lnTo>
                    <a:pt x="549" y="389"/>
                  </a:lnTo>
                  <a:lnTo>
                    <a:pt x="554" y="389"/>
                  </a:lnTo>
                  <a:lnTo>
                    <a:pt x="557" y="389"/>
                  </a:lnTo>
                  <a:lnTo>
                    <a:pt x="599" y="373"/>
                  </a:lnTo>
                  <a:lnTo>
                    <a:pt x="608" y="372"/>
                  </a:lnTo>
                  <a:lnTo>
                    <a:pt x="627" y="373"/>
                  </a:lnTo>
                  <a:lnTo>
                    <a:pt x="634" y="372"/>
                  </a:lnTo>
                  <a:lnTo>
                    <a:pt x="638" y="371"/>
                  </a:lnTo>
                  <a:lnTo>
                    <a:pt x="641" y="370"/>
                  </a:lnTo>
                  <a:lnTo>
                    <a:pt x="644" y="369"/>
                  </a:lnTo>
                  <a:lnTo>
                    <a:pt x="647" y="367"/>
                  </a:lnTo>
                  <a:lnTo>
                    <a:pt x="650" y="366"/>
                  </a:lnTo>
                  <a:lnTo>
                    <a:pt x="653" y="362"/>
                  </a:lnTo>
                  <a:lnTo>
                    <a:pt x="665" y="346"/>
                  </a:lnTo>
                  <a:lnTo>
                    <a:pt x="669" y="343"/>
                  </a:lnTo>
                  <a:lnTo>
                    <a:pt x="674" y="340"/>
                  </a:lnTo>
                  <a:lnTo>
                    <a:pt x="679" y="338"/>
                  </a:lnTo>
                  <a:lnTo>
                    <a:pt x="685" y="337"/>
                  </a:lnTo>
                  <a:lnTo>
                    <a:pt x="713" y="335"/>
                  </a:lnTo>
                  <a:lnTo>
                    <a:pt x="760" y="343"/>
                  </a:lnTo>
                  <a:lnTo>
                    <a:pt x="775" y="347"/>
                  </a:lnTo>
                  <a:lnTo>
                    <a:pt x="778" y="349"/>
                  </a:lnTo>
                  <a:lnTo>
                    <a:pt x="800" y="354"/>
                  </a:lnTo>
                  <a:lnTo>
                    <a:pt x="808" y="357"/>
                  </a:lnTo>
                  <a:lnTo>
                    <a:pt x="811" y="358"/>
                  </a:lnTo>
                  <a:lnTo>
                    <a:pt x="813" y="363"/>
                  </a:lnTo>
                  <a:lnTo>
                    <a:pt x="815" y="367"/>
                  </a:lnTo>
                  <a:lnTo>
                    <a:pt x="815" y="372"/>
                  </a:lnTo>
                  <a:lnTo>
                    <a:pt x="813" y="419"/>
                  </a:lnTo>
                  <a:lnTo>
                    <a:pt x="813" y="424"/>
                  </a:lnTo>
                  <a:lnTo>
                    <a:pt x="814" y="427"/>
                  </a:lnTo>
                  <a:lnTo>
                    <a:pt x="818" y="433"/>
                  </a:lnTo>
                  <a:lnTo>
                    <a:pt x="821" y="436"/>
                  </a:lnTo>
                  <a:lnTo>
                    <a:pt x="826" y="438"/>
                  </a:lnTo>
                  <a:lnTo>
                    <a:pt x="847" y="444"/>
                  </a:lnTo>
                  <a:lnTo>
                    <a:pt x="850" y="445"/>
                  </a:lnTo>
                  <a:lnTo>
                    <a:pt x="852" y="447"/>
                  </a:lnTo>
                  <a:lnTo>
                    <a:pt x="855" y="452"/>
                  </a:lnTo>
                  <a:lnTo>
                    <a:pt x="858" y="459"/>
                  </a:lnTo>
                  <a:lnTo>
                    <a:pt x="866" y="494"/>
                  </a:lnTo>
                  <a:lnTo>
                    <a:pt x="870" y="502"/>
                  </a:lnTo>
                  <a:lnTo>
                    <a:pt x="872" y="505"/>
                  </a:lnTo>
                  <a:lnTo>
                    <a:pt x="874" y="508"/>
                  </a:lnTo>
                  <a:lnTo>
                    <a:pt x="889" y="518"/>
                  </a:lnTo>
                  <a:lnTo>
                    <a:pt x="889" y="525"/>
                  </a:lnTo>
                  <a:lnTo>
                    <a:pt x="888" y="533"/>
                  </a:lnTo>
                  <a:lnTo>
                    <a:pt x="885" y="539"/>
                  </a:lnTo>
                  <a:lnTo>
                    <a:pt x="884" y="539"/>
                  </a:lnTo>
                  <a:lnTo>
                    <a:pt x="877" y="549"/>
                  </a:lnTo>
                  <a:lnTo>
                    <a:pt x="874" y="554"/>
                  </a:lnTo>
                  <a:lnTo>
                    <a:pt x="873" y="556"/>
                  </a:lnTo>
                  <a:lnTo>
                    <a:pt x="873" y="559"/>
                  </a:lnTo>
                  <a:lnTo>
                    <a:pt x="873" y="561"/>
                  </a:lnTo>
                  <a:lnTo>
                    <a:pt x="875" y="567"/>
                  </a:lnTo>
                  <a:lnTo>
                    <a:pt x="876" y="571"/>
                  </a:lnTo>
                  <a:lnTo>
                    <a:pt x="875" y="578"/>
                  </a:lnTo>
                  <a:lnTo>
                    <a:pt x="873" y="592"/>
                  </a:lnTo>
                  <a:lnTo>
                    <a:pt x="870" y="624"/>
                  </a:lnTo>
                  <a:lnTo>
                    <a:pt x="871" y="640"/>
                  </a:lnTo>
                  <a:lnTo>
                    <a:pt x="849" y="637"/>
                  </a:lnTo>
                  <a:lnTo>
                    <a:pt x="838" y="638"/>
                  </a:lnTo>
                  <a:lnTo>
                    <a:pt x="835" y="640"/>
                  </a:lnTo>
                  <a:lnTo>
                    <a:pt x="831" y="641"/>
                  </a:lnTo>
                  <a:lnTo>
                    <a:pt x="829" y="645"/>
                  </a:lnTo>
                  <a:lnTo>
                    <a:pt x="828" y="648"/>
                  </a:lnTo>
                  <a:lnTo>
                    <a:pt x="828" y="653"/>
                  </a:lnTo>
                  <a:lnTo>
                    <a:pt x="833" y="664"/>
                  </a:lnTo>
                  <a:lnTo>
                    <a:pt x="834" y="669"/>
                  </a:lnTo>
                  <a:lnTo>
                    <a:pt x="834" y="672"/>
                  </a:lnTo>
                  <a:lnTo>
                    <a:pt x="834" y="680"/>
                  </a:lnTo>
                  <a:lnTo>
                    <a:pt x="833" y="686"/>
                  </a:lnTo>
                  <a:lnTo>
                    <a:pt x="830" y="690"/>
                  </a:lnTo>
                  <a:lnTo>
                    <a:pt x="826" y="697"/>
                  </a:lnTo>
                  <a:lnTo>
                    <a:pt x="821" y="701"/>
                  </a:lnTo>
                  <a:lnTo>
                    <a:pt x="818" y="704"/>
                  </a:lnTo>
                  <a:lnTo>
                    <a:pt x="788" y="717"/>
                  </a:lnTo>
                  <a:lnTo>
                    <a:pt x="766" y="730"/>
                  </a:lnTo>
                  <a:lnTo>
                    <a:pt x="759" y="735"/>
                  </a:lnTo>
                  <a:lnTo>
                    <a:pt x="753" y="740"/>
                  </a:lnTo>
                  <a:lnTo>
                    <a:pt x="752" y="745"/>
                  </a:lnTo>
                  <a:lnTo>
                    <a:pt x="753" y="749"/>
                  </a:lnTo>
                  <a:lnTo>
                    <a:pt x="756" y="752"/>
                  </a:lnTo>
                  <a:lnTo>
                    <a:pt x="760" y="754"/>
                  </a:lnTo>
                  <a:lnTo>
                    <a:pt x="778" y="765"/>
                  </a:lnTo>
                  <a:lnTo>
                    <a:pt x="781" y="768"/>
                  </a:lnTo>
                  <a:lnTo>
                    <a:pt x="782" y="771"/>
                  </a:lnTo>
                  <a:lnTo>
                    <a:pt x="780" y="777"/>
                  </a:lnTo>
                  <a:lnTo>
                    <a:pt x="776" y="780"/>
                  </a:lnTo>
                  <a:lnTo>
                    <a:pt x="773" y="783"/>
                  </a:lnTo>
                  <a:lnTo>
                    <a:pt x="753" y="790"/>
                  </a:lnTo>
                  <a:lnTo>
                    <a:pt x="749" y="792"/>
                  </a:lnTo>
                  <a:lnTo>
                    <a:pt x="744" y="797"/>
                  </a:lnTo>
                  <a:lnTo>
                    <a:pt x="720" y="820"/>
                  </a:lnTo>
                  <a:lnTo>
                    <a:pt x="672" y="858"/>
                  </a:lnTo>
                  <a:lnTo>
                    <a:pt x="666" y="866"/>
                  </a:lnTo>
                  <a:lnTo>
                    <a:pt x="654" y="884"/>
                  </a:lnTo>
                  <a:lnTo>
                    <a:pt x="649" y="889"/>
                  </a:lnTo>
                  <a:lnTo>
                    <a:pt x="646" y="891"/>
                  </a:lnTo>
                  <a:lnTo>
                    <a:pt x="642" y="891"/>
                  </a:lnTo>
                  <a:lnTo>
                    <a:pt x="616" y="884"/>
                  </a:lnTo>
                  <a:lnTo>
                    <a:pt x="612" y="883"/>
                  </a:lnTo>
                  <a:lnTo>
                    <a:pt x="607" y="884"/>
                  </a:lnTo>
                  <a:lnTo>
                    <a:pt x="600" y="888"/>
                  </a:lnTo>
                  <a:lnTo>
                    <a:pt x="583" y="903"/>
                  </a:lnTo>
                  <a:lnTo>
                    <a:pt x="579" y="905"/>
                  </a:lnTo>
                  <a:lnTo>
                    <a:pt x="574" y="907"/>
                  </a:lnTo>
                  <a:lnTo>
                    <a:pt x="571" y="907"/>
                  </a:lnTo>
                  <a:lnTo>
                    <a:pt x="567" y="907"/>
                  </a:lnTo>
                  <a:lnTo>
                    <a:pt x="556" y="905"/>
                  </a:lnTo>
                  <a:lnTo>
                    <a:pt x="556" y="905"/>
                  </a:lnTo>
                  <a:lnTo>
                    <a:pt x="552" y="903"/>
                  </a:lnTo>
                  <a:lnTo>
                    <a:pt x="550" y="899"/>
                  </a:lnTo>
                  <a:lnTo>
                    <a:pt x="549" y="896"/>
                  </a:lnTo>
                  <a:lnTo>
                    <a:pt x="549" y="892"/>
                  </a:lnTo>
                  <a:lnTo>
                    <a:pt x="551" y="885"/>
                  </a:lnTo>
                  <a:lnTo>
                    <a:pt x="552" y="877"/>
                  </a:lnTo>
                  <a:lnTo>
                    <a:pt x="552" y="873"/>
                  </a:lnTo>
                  <a:lnTo>
                    <a:pt x="551" y="869"/>
                  </a:lnTo>
                  <a:lnTo>
                    <a:pt x="549" y="866"/>
                  </a:lnTo>
                  <a:lnTo>
                    <a:pt x="547" y="862"/>
                  </a:lnTo>
                  <a:lnTo>
                    <a:pt x="544" y="859"/>
                  </a:lnTo>
                  <a:lnTo>
                    <a:pt x="541" y="857"/>
                  </a:lnTo>
                  <a:lnTo>
                    <a:pt x="536" y="854"/>
                  </a:lnTo>
                  <a:lnTo>
                    <a:pt x="525" y="851"/>
                  </a:lnTo>
                  <a:lnTo>
                    <a:pt x="521" y="850"/>
                  </a:lnTo>
                  <a:lnTo>
                    <a:pt x="519" y="846"/>
                  </a:lnTo>
                  <a:lnTo>
                    <a:pt x="519" y="843"/>
                  </a:lnTo>
                  <a:lnTo>
                    <a:pt x="519" y="839"/>
                  </a:lnTo>
                  <a:lnTo>
                    <a:pt x="529" y="817"/>
                  </a:lnTo>
                  <a:lnTo>
                    <a:pt x="529" y="815"/>
                  </a:lnTo>
                  <a:lnTo>
                    <a:pt x="531" y="806"/>
                  </a:lnTo>
                  <a:lnTo>
                    <a:pt x="531" y="800"/>
                  </a:lnTo>
                  <a:lnTo>
                    <a:pt x="530" y="797"/>
                  </a:lnTo>
                  <a:lnTo>
                    <a:pt x="529" y="793"/>
                  </a:lnTo>
                  <a:lnTo>
                    <a:pt x="527" y="790"/>
                  </a:lnTo>
                  <a:lnTo>
                    <a:pt x="524" y="787"/>
                  </a:lnTo>
                  <a:lnTo>
                    <a:pt x="520" y="786"/>
                  </a:lnTo>
                  <a:lnTo>
                    <a:pt x="517" y="786"/>
                  </a:lnTo>
                  <a:lnTo>
                    <a:pt x="501" y="788"/>
                  </a:lnTo>
                  <a:lnTo>
                    <a:pt x="466" y="799"/>
                  </a:lnTo>
                  <a:lnTo>
                    <a:pt x="452" y="801"/>
                  </a:lnTo>
                  <a:lnTo>
                    <a:pt x="449" y="800"/>
                  </a:lnTo>
                  <a:lnTo>
                    <a:pt x="447" y="797"/>
                  </a:lnTo>
                  <a:lnTo>
                    <a:pt x="446" y="790"/>
                  </a:lnTo>
                  <a:lnTo>
                    <a:pt x="445" y="786"/>
                  </a:lnTo>
                  <a:lnTo>
                    <a:pt x="444" y="783"/>
                  </a:lnTo>
                  <a:lnTo>
                    <a:pt x="441" y="781"/>
                  </a:lnTo>
                  <a:lnTo>
                    <a:pt x="436" y="781"/>
                  </a:lnTo>
                  <a:lnTo>
                    <a:pt x="418" y="785"/>
                  </a:lnTo>
                  <a:lnTo>
                    <a:pt x="411" y="785"/>
                  </a:lnTo>
                  <a:lnTo>
                    <a:pt x="406" y="784"/>
                  </a:lnTo>
                  <a:lnTo>
                    <a:pt x="402" y="781"/>
                  </a:lnTo>
                  <a:lnTo>
                    <a:pt x="398" y="777"/>
                  </a:lnTo>
                  <a:lnTo>
                    <a:pt x="384" y="762"/>
                  </a:lnTo>
                  <a:lnTo>
                    <a:pt x="371" y="750"/>
                  </a:lnTo>
                  <a:lnTo>
                    <a:pt x="369" y="747"/>
                  </a:lnTo>
                  <a:lnTo>
                    <a:pt x="362" y="737"/>
                  </a:lnTo>
                  <a:lnTo>
                    <a:pt x="359" y="733"/>
                  </a:lnTo>
                  <a:lnTo>
                    <a:pt x="354" y="731"/>
                  </a:lnTo>
                  <a:lnTo>
                    <a:pt x="349" y="732"/>
                  </a:lnTo>
                  <a:lnTo>
                    <a:pt x="338" y="735"/>
                  </a:lnTo>
                  <a:lnTo>
                    <a:pt x="316" y="737"/>
                  </a:lnTo>
                  <a:lnTo>
                    <a:pt x="312" y="738"/>
                  </a:lnTo>
                  <a:lnTo>
                    <a:pt x="310" y="729"/>
                  </a:lnTo>
                  <a:lnTo>
                    <a:pt x="309" y="724"/>
                  </a:lnTo>
                  <a:lnTo>
                    <a:pt x="309" y="721"/>
                  </a:lnTo>
                  <a:lnTo>
                    <a:pt x="307" y="718"/>
                  </a:lnTo>
                  <a:lnTo>
                    <a:pt x="305" y="716"/>
                  </a:lnTo>
                  <a:lnTo>
                    <a:pt x="305" y="713"/>
                  </a:lnTo>
                  <a:lnTo>
                    <a:pt x="304" y="710"/>
                  </a:lnTo>
                  <a:lnTo>
                    <a:pt x="301" y="712"/>
                  </a:lnTo>
                  <a:lnTo>
                    <a:pt x="299" y="711"/>
                  </a:lnTo>
                  <a:lnTo>
                    <a:pt x="298" y="711"/>
                  </a:lnTo>
                  <a:lnTo>
                    <a:pt x="298" y="714"/>
                  </a:lnTo>
                  <a:lnTo>
                    <a:pt x="300" y="716"/>
                  </a:lnTo>
                  <a:lnTo>
                    <a:pt x="303" y="717"/>
                  </a:lnTo>
                  <a:lnTo>
                    <a:pt x="303" y="719"/>
                  </a:lnTo>
                  <a:lnTo>
                    <a:pt x="298" y="718"/>
                  </a:lnTo>
                  <a:lnTo>
                    <a:pt x="294" y="715"/>
                  </a:lnTo>
                  <a:lnTo>
                    <a:pt x="294" y="706"/>
                  </a:lnTo>
                  <a:lnTo>
                    <a:pt x="286" y="696"/>
                  </a:lnTo>
                  <a:lnTo>
                    <a:pt x="283" y="684"/>
                  </a:lnTo>
                  <a:lnTo>
                    <a:pt x="282" y="679"/>
                  </a:lnTo>
                  <a:lnTo>
                    <a:pt x="281" y="675"/>
                  </a:lnTo>
                  <a:lnTo>
                    <a:pt x="279" y="671"/>
                  </a:lnTo>
                  <a:lnTo>
                    <a:pt x="277" y="668"/>
                  </a:lnTo>
                  <a:lnTo>
                    <a:pt x="275" y="666"/>
                  </a:lnTo>
                  <a:lnTo>
                    <a:pt x="273" y="666"/>
                  </a:lnTo>
                  <a:lnTo>
                    <a:pt x="271" y="665"/>
                  </a:lnTo>
                  <a:lnTo>
                    <a:pt x="270" y="663"/>
                  </a:lnTo>
                  <a:lnTo>
                    <a:pt x="268" y="661"/>
                  </a:lnTo>
                  <a:lnTo>
                    <a:pt x="267" y="657"/>
                  </a:lnTo>
                  <a:lnTo>
                    <a:pt x="265" y="655"/>
                  </a:lnTo>
                  <a:lnTo>
                    <a:pt x="259" y="654"/>
                  </a:lnTo>
                  <a:lnTo>
                    <a:pt x="257" y="652"/>
                  </a:lnTo>
                  <a:lnTo>
                    <a:pt x="256" y="650"/>
                  </a:lnTo>
                  <a:lnTo>
                    <a:pt x="254" y="648"/>
                  </a:lnTo>
                  <a:lnTo>
                    <a:pt x="251" y="644"/>
                  </a:lnTo>
                  <a:lnTo>
                    <a:pt x="247" y="641"/>
                  </a:lnTo>
                  <a:lnTo>
                    <a:pt x="244" y="640"/>
                  </a:lnTo>
                  <a:lnTo>
                    <a:pt x="241" y="640"/>
                  </a:lnTo>
                  <a:lnTo>
                    <a:pt x="237" y="637"/>
                  </a:lnTo>
                  <a:lnTo>
                    <a:pt x="235" y="635"/>
                  </a:lnTo>
                  <a:lnTo>
                    <a:pt x="232" y="632"/>
                  </a:lnTo>
                  <a:lnTo>
                    <a:pt x="228" y="628"/>
                  </a:lnTo>
                  <a:lnTo>
                    <a:pt x="225" y="625"/>
                  </a:lnTo>
                  <a:lnTo>
                    <a:pt x="222" y="623"/>
                  </a:lnTo>
                  <a:lnTo>
                    <a:pt x="217" y="618"/>
                  </a:lnTo>
                  <a:lnTo>
                    <a:pt x="215" y="617"/>
                  </a:lnTo>
                  <a:lnTo>
                    <a:pt x="211" y="618"/>
                  </a:lnTo>
                  <a:lnTo>
                    <a:pt x="208" y="617"/>
                  </a:lnTo>
                  <a:lnTo>
                    <a:pt x="205" y="614"/>
                  </a:lnTo>
                  <a:lnTo>
                    <a:pt x="198" y="610"/>
                  </a:lnTo>
                  <a:lnTo>
                    <a:pt x="193" y="606"/>
                  </a:lnTo>
                  <a:lnTo>
                    <a:pt x="194" y="603"/>
                  </a:lnTo>
                  <a:lnTo>
                    <a:pt x="197" y="602"/>
                  </a:lnTo>
                  <a:lnTo>
                    <a:pt x="201" y="601"/>
                  </a:lnTo>
                  <a:lnTo>
                    <a:pt x="199" y="599"/>
                  </a:lnTo>
                  <a:lnTo>
                    <a:pt x="197" y="600"/>
                  </a:lnTo>
                  <a:lnTo>
                    <a:pt x="194" y="602"/>
                  </a:lnTo>
                  <a:lnTo>
                    <a:pt x="193" y="599"/>
                  </a:lnTo>
                  <a:lnTo>
                    <a:pt x="195" y="596"/>
                  </a:lnTo>
                  <a:lnTo>
                    <a:pt x="195" y="593"/>
                  </a:lnTo>
                  <a:lnTo>
                    <a:pt x="194" y="592"/>
                  </a:lnTo>
                  <a:lnTo>
                    <a:pt x="192" y="594"/>
                  </a:lnTo>
                  <a:lnTo>
                    <a:pt x="190" y="594"/>
                  </a:lnTo>
                  <a:lnTo>
                    <a:pt x="189" y="595"/>
                  </a:lnTo>
                  <a:lnTo>
                    <a:pt x="190" y="597"/>
                  </a:lnTo>
                  <a:lnTo>
                    <a:pt x="191" y="599"/>
                  </a:lnTo>
                  <a:lnTo>
                    <a:pt x="191" y="602"/>
                  </a:lnTo>
                  <a:lnTo>
                    <a:pt x="190" y="603"/>
                  </a:lnTo>
                  <a:lnTo>
                    <a:pt x="187" y="602"/>
                  </a:lnTo>
                  <a:lnTo>
                    <a:pt x="181" y="603"/>
                  </a:lnTo>
                  <a:lnTo>
                    <a:pt x="174" y="598"/>
                  </a:lnTo>
                  <a:lnTo>
                    <a:pt x="172" y="595"/>
                  </a:lnTo>
                  <a:lnTo>
                    <a:pt x="165" y="590"/>
                  </a:lnTo>
                  <a:lnTo>
                    <a:pt x="164" y="587"/>
                  </a:lnTo>
                  <a:lnTo>
                    <a:pt x="161" y="585"/>
                  </a:lnTo>
                  <a:lnTo>
                    <a:pt x="158" y="584"/>
                  </a:lnTo>
                  <a:lnTo>
                    <a:pt x="156" y="582"/>
                  </a:lnTo>
                  <a:lnTo>
                    <a:pt x="153" y="579"/>
                  </a:lnTo>
                  <a:lnTo>
                    <a:pt x="150" y="578"/>
                  </a:lnTo>
                  <a:lnTo>
                    <a:pt x="146" y="578"/>
                  </a:lnTo>
                  <a:lnTo>
                    <a:pt x="144" y="578"/>
                  </a:lnTo>
                  <a:lnTo>
                    <a:pt x="142" y="579"/>
                  </a:lnTo>
                  <a:lnTo>
                    <a:pt x="141" y="582"/>
                  </a:lnTo>
                  <a:lnTo>
                    <a:pt x="142" y="586"/>
                  </a:lnTo>
                  <a:lnTo>
                    <a:pt x="135" y="586"/>
                  </a:lnTo>
                  <a:lnTo>
                    <a:pt x="133" y="583"/>
                  </a:lnTo>
                  <a:lnTo>
                    <a:pt x="128" y="580"/>
                  </a:lnTo>
                  <a:lnTo>
                    <a:pt x="124" y="582"/>
                  </a:lnTo>
                  <a:lnTo>
                    <a:pt x="120" y="578"/>
                  </a:lnTo>
                  <a:lnTo>
                    <a:pt x="118" y="574"/>
                  </a:lnTo>
                  <a:lnTo>
                    <a:pt x="114" y="569"/>
                  </a:lnTo>
                  <a:lnTo>
                    <a:pt x="108" y="564"/>
                  </a:lnTo>
                  <a:lnTo>
                    <a:pt x="106" y="557"/>
                  </a:lnTo>
                  <a:lnTo>
                    <a:pt x="108" y="554"/>
                  </a:lnTo>
                  <a:lnTo>
                    <a:pt x="109" y="554"/>
                  </a:lnTo>
                  <a:lnTo>
                    <a:pt x="112" y="556"/>
                  </a:lnTo>
                  <a:lnTo>
                    <a:pt x="114" y="553"/>
                  </a:lnTo>
                  <a:lnTo>
                    <a:pt x="112" y="549"/>
                  </a:lnTo>
                  <a:lnTo>
                    <a:pt x="100" y="532"/>
                  </a:lnTo>
                  <a:lnTo>
                    <a:pt x="101" y="531"/>
                  </a:lnTo>
                  <a:lnTo>
                    <a:pt x="103" y="519"/>
                  </a:lnTo>
                  <a:lnTo>
                    <a:pt x="104" y="517"/>
                  </a:lnTo>
                  <a:lnTo>
                    <a:pt x="106" y="513"/>
                  </a:lnTo>
                  <a:lnTo>
                    <a:pt x="109" y="511"/>
                  </a:lnTo>
                  <a:lnTo>
                    <a:pt x="112" y="509"/>
                  </a:lnTo>
                  <a:lnTo>
                    <a:pt x="115" y="508"/>
                  </a:lnTo>
                  <a:lnTo>
                    <a:pt x="129" y="508"/>
                  </a:lnTo>
                  <a:lnTo>
                    <a:pt x="135" y="507"/>
                  </a:lnTo>
                  <a:lnTo>
                    <a:pt x="139" y="505"/>
                  </a:lnTo>
                  <a:lnTo>
                    <a:pt x="143" y="504"/>
                  </a:lnTo>
                  <a:lnTo>
                    <a:pt x="148" y="502"/>
                  </a:lnTo>
                  <a:lnTo>
                    <a:pt x="151" y="497"/>
                  </a:lnTo>
                  <a:lnTo>
                    <a:pt x="156" y="492"/>
                  </a:lnTo>
                  <a:lnTo>
                    <a:pt x="159" y="488"/>
                  </a:lnTo>
                  <a:lnTo>
                    <a:pt x="164" y="486"/>
                  </a:lnTo>
                  <a:lnTo>
                    <a:pt x="167" y="485"/>
                  </a:lnTo>
                  <a:lnTo>
                    <a:pt x="171" y="486"/>
                  </a:lnTo>
                  <a:lnTo>
                    <a:pt x="178" y="487"/>
                  </a:lnTo>
                  <a:lnTo>
                    <a:pt x="187" y="487"/>
                  </a:lnTo>
                  <a:lnTo>
                    <a:pt x="190" y="486"/>
                  </a:lnTo>
                  <a:lnTo>
                    <a:pt x="195" y="484"/>
                  </a:lnTo>
                  <a:lnTo>
                    <a:pt x="198" y="481"/>
                  </a:lnTo>
                  <a:lnTo>
                    <a:pt x="202" y="477"/>
                  </a:lnTo>
                  <a:lnTo>
                    <a:pt x="203" y="473"/>
                  </a:lnTo>
                  <a:lnTo>
                    <a:pt x="204" y="470"/>
                  </a:lnTo>
                  <a:lnTo>
                    <a:pt x="202" y="410"/>
                  </a:lnTo>
                  <a:lnTo>
                    <a:pt x="208" y="367"/>
                  </a:lnTo>
                  <a:lnTo>
                    <a:pt x="208" y="364"/>
                  </a:lnTo>
                  <a:lnTo>
                    <a:pt x="206" y="360"/>
                  </a:lnTo>
                  <a:lnTo>
                    <a:pt x="204" y="358"/>
                  </a:lnTo>
                  <a:lnTo>
                    <a:pt x="202" y="357"/>
                  </a:lnTo>
                  <a:lnTo>
                    <a:pt x="198" y="356"/>
                  </a:lnTo>
                  <a:lnTo>
                    <a:pt x="188" y="356"/>
                  </a:lnTo>
                  <a:lnTo>
                    <a:pt x="185" y="355"/>
                  </a:lnTo>
                  <a:lnTo>
                    <a:pt x="183" y="354"/>
                  </a:lnTo>
                  <a:lnTo>
                    <a:pt x="182" y="350"/>
                  </a:lnTo>
                  <a:lnTo>
                    <a:pt x="176" y="328"/>
                  </a:lnTo>
                  <a:lnTo>
                    <a:pt x="171" y="313"/>
                  </a:lnTo>
                  <a:lnTo>
                    <a:pt x="168" y="308"/>
                  </a:lnTo>
                  <a:lnTo>
                    <a:pt x="165" y="305"/>
                  </a:lnTo>
                  <a:lnTo>
                    <a:pt x="163" y="301"/>
                  </a:lnTo>
                  <a:lnTo>
                    <a:pt x="141" y="282"/>
                  </a:lnTo>
                  <a:lnTo>
                    <a:pt x="138" y="279"/>
                  </a:lnTo>
                  <a:lnTo>
                    <a:pt x="136" y="275"/>
                  </a:lnTo>
                  <a:lnTo>
                    <a:pt x="135" y="271"/>
                  </a:lnTo>
                  <a:lnTo>
                    <a:pt x="132" y="261"/>
                  </a:lnTo>
                  <a:lnTo>
                    <a:pt x="130" y="259"/>
                  </a:lnTo>
                  <a:lnTo>
                    <a:pt x="128" y="258"/>
                  </a:lnTo>
                  <a:lnTo>
                    <a:pt x="98" y="240"/>
                  </a:lnTo>
                  <a:lnTo>
                    <a:pt x="95" y="239"/>
                  </a:lnTo>
                  <a:lnTo>
                    <a:pt x="91" y="241"/>
                  </a:lnTo>
                  <a:lnTo>
                    <a:pt x="84" y="245"/>
                  </a:lnTo>
                  <a:lnTo>
                    <a:pt x="82" y="246"/>
                  </a:lnTo>
                  <a:lnTo>
                    <a:pt x="81" y="244"/>
                  </a:lnTo>
                  <a:lnTo>
                    <a:pt x="80" y="241"/>
                  </a:lnTo>
                  <a:lnTo>
                    <a:pt x="78" y="233"/>
                  </a:lnTo>
                  <a:lnTo>
                    <a:pt x="75" y="226"/>
                  </a:lnTo>
                  <a:lnTo>
                    <a:pt x="66" y="206"/>
                  </a:lnTo>
                  <a:lnTo>
                    <a:pt x="65" y="202"/>
                  </a:lnTo>
                  <a:lnTo>
                    <a:pt x="65" y="198"/>
                  </a:lnTo>
                  <a:lnTo>
                    <a:pt x="65" y="194"/>
                  </a:lnTo>
                  <a:lnTo>
                    <a:pt x="66" y="191"/>
                  </a:lnTo>
                  <a:lnTo>
                    <a:pt x="68" y="183"/>
                  </a:lnTo>
                  <a:lnTo>
                    <a:pt x="79" y="166"/>
                  </a:lnTo>
                  <a:lnTo>
                    <a:pt x="80" y="163"/>
                  </a:lnTo>
                  <a:lnTo>
                    <a:pt x="81" y="159"/>
                  </a:lnTo>
                  <a:lnTo>
                    <a:pt x="81" y="154"/>
                  </a:lnTo>
                  <a:lnTo>
                    <a:pt x="79" y="150"/>
                  </a:lnTo>
                  <a:lnTo>
                    <a:pt x="76" y="146"/>
                  </a:lnTo>
                  <a:lnTo>
                    <a:pt x="73" y="145"/>
                  </a:lnTo>
                  <a:lnTo>
                    <a:pt x="53" y="139"/>
                  </a:lnTo>
                  <a:lnTo>
                    <a:pt x="49" y="137"/>
                  </a:lnTo>
                  <a:lnTo>
                    <a:pt x="45" y="135"/>
                  </a:lnTo>
                  <a:lnTo>
                    <a:pt x="42" y="131"/>
                  </a:lnTo>
                  <a:lnTo>
                    <a:pt x="39" y="128"/>
                  </a:lnTo>
                  <a:lnTo>
                    <a:pt x="37" y="123"/>
                  </a:lnTo>
                  <a:lnTo>
                    <a:pt x="35" y="120"/>
                  </a:lnTo>
                  <a:lnTo>
                    <a:pt x="34" y="115"/>
                  </a:lnTo>
                  <a:lnTo>
                    <a:pt x="33" y="111"/>
                  </a:lnTo>
                  <a:lnTo>
                    <a:pt x="33" y="103"/>
                  </a:lnTo>
                  <a:lnTo>
                    <a:pt x="37" y="77"/>
                  </a:lnTo>
                  <a:lnTo>
                    <a:pt x="37" y="67"/>
                  </a:lnTo>
                  <a:lnTo>
                    <a:pt x="37" y="62"/>
                  </a:lnTo>
                  <a:lnTo>
                    <a:pt x="34" y="51"/>
                  </a:lnTo>
                  <a:lnTo>
                    <a:pt x="33" y="47"/>
                  </a:lnTo>
                  <a:lnTo>
                    <a:pt x="31" y="46"/>
                  </a:lnTo>
                  <a:lnTo>
                    <a:pt x="29" y="43"/>
                  </a:lnTo>
                  <a:lnTo>
                    <a:pt x="26" y="40"/>
                  </a:lnTo>
                  <a:lnTo>
                    <a:pt x="22" y="39"/>
                  </a:lnTo>
                  <a:lnTo>
                    <a:pt x="21" y="39"/>
                  </a:lnTo>
                  <a:lnTo>
                    <a:pt x="17" y="39"/>
                  </a:lnTo>
                  <a:lnTo>
                    <a:pt x="7" y="41"/>
                  </a:lnTo>
                  <a:lnTo>
                    <a:pt x="3" y="41"/>
                  </a:lnTo>
                  <a:lnTo>
                    <a:pt x="0" y="39"/>
                  </a:lnTo>
                  <a:lnTo>
                    <a:pt x="0" y="36"/>
                  </a:lnTo>
                  <a:lnTo>
                    <a:pt x="0" y="33"/>
                  </a:lnTo>
                  <a:lnTo>
                    <a:pt x="4" y="30"/>
                  </a:lnTo>
                  <a:lnTo>
                    <a:pt x="7" y="28"/>
                  </a:lnTo>
                  <a:lnTo>
                    <a:pt x="26" y="23"/>
                  </a:lnTo>
                  <a:lnTo>
                    <a:pt x="69" y="3"/>
                  </a:lnTo>
                  <a:lnTo>
                    <a:pt x="73" y="1"/>
                  </a:lnTo>
                  <a:lnTo>
                    <a:pt x="77" y="1"/>
                  </a:lnTo>
                  <a:lnTo>
                    <a:pt x="82" y="3"/>
                  </a:lnTo>
                  <a:lnTo>
                    <a:pt x="90" y="6"/>
                  </a:lnTo>
                  <a:lnTo>
                    <a:pt x="105" y="15"/>
                  </a:lnTo>
                  <a:lnTo>
                    <a:pt x="109" y="17"/>
                  </a:lnTo>
                  <a:lnTo>
                    <a:pt x="116" y="18"/>
                  </a:lnTo>
                  <a:lnTo>
                    <a:pt x="120" y="18"/>
                  </a:lnTo>
                  <a:lnTo>
                    <a:pt x="124" y="17"/>
                  </a:lnTo>
                  <a:lnTo>
                    <a:pt x="128" y="16"/>
                  </a:lnTo>
                  <a:lnTo>
                    <a:pt x="159" y="0"/>
                  </a:lnTo>
                  <a:lnTo>
                    <a:pt x="162" y="0"/>
                  </a:lnTo>
                  <a:lnTo>
                    <a:pt x="165" y="0"/>
                  </a:lnTo>
                  <a:lnTo>
                    <a:pt x="169" y="3"/>
                  </a:lnTo>
                  <a:lnTo>
                    <a:pt x="172" y="7"/>
                  </a:lnTo>
                  <a:lnTo>
                    <a:pt x="173" y="10"/>
                  </a:lnTo>
                  <a:lnTo>
                    <a:pt x="178" y="27"/>
                  </a:lnTo>
                  <a:lnTo>
                    <a:pt x="181" y="35"/>
                  </a:lnTo>
                  <a:lnTo>
                    <a:pt x="185" y="41"/>
                  </a:lnTo>
                  <a:lnTo>
                    <a:pt x="194" y="55"/>
                  </a:lnTo>
                  <a:lnTo>
                    <a:pt x="197" y="59"/>
                  </a:lnTo>
                  <a:lnTo>
                    <a:pt x="203" y="61"/>
                  </a:lnTo>
                  <a:lnTo>
                    <a:pt x="210" y="63"/>
                  </a:lnTo>
                  <a:lnTo>
                    <a:pt x="226" y="63"/>
                  </a:lnTo>
                  <a:lnTo>
                    <a:pt x="231" y="64"/>
                  </a:lnTo>
                  <a:lnTo>
                    <a:pt x="233" y="65"/>
                  </a:lnTo>
                  <a:lnTo>
                    <a:pt x="236" y="68"/>
                  </a:lnTo>
                  <a:lnTo>
                    <a:pt x="238" y="70"/>
                  </a:lnTo>
                  <a:lnTo>
                    <a:pt x="239" y="72"/>
                  </a:lnTo>
                  <a:lnTo>
                    <a:pt x="238" y="76"/>
                  </a:lnTo>
                  <a:lnTo>
                    <a:pt x="239" y="78"/>
                  </a:lnTo>
                  <a:lnTo>
                    <a:pt x="240" y="82"/>
                  </a:lnTo>
                  <a:lnTo>
                    <a:pt x="242" y="84"/>
                  </a:lnTo>
                  <a:lnTo>
                    <a:pt x="253" y="92"/>
                  </a:lnTo>
                  <a:lnTo>
                    <a:pt x="256" y="95"/>
                  </a:lnTo>
                  <a:lnTo>
                    <a:pt x="257" y="99"/>
                  </a:lnTo>
                  <a:lnTo>
                    <a:pt x="257" y="102"/>
                  </a:lnTo>
                  <a:lnTo>
                    <a:pt x="256" y="106"/>
                  </a:lnTo>
                  <a:lnTo>
                    <a:pt x="256" y="109"/>
                  </a:lnTo>
                  <a:lnTo>
                    <a:pt x="258" y="113"/>
                  </a:lnTo>
                  <a:lnTo>
                    <a:pt x="261" y="114"/>
                  </a:lnTo>
                  <a:lnTo>
                    <a:pt x="266" y="112"/>
                  </a:lnTo>
                  <a:lnTo>
                    <a:pt x="271" y="109"/>
                  </a:lnTo>
                  <a:lnTo>
                    <a:pt x="286" y="97"/>
                  </a:lnTo>
                  <a:lnTo>
                    <a:pt x="288" y="96"/>
                  </a:lnTo>
                  <a:lnTo>
                    <a:pt x="292" y="95"/>
                  </a:lnTo>
                  <a:lnTo>
                    <a:pt x="296" y="96"/>
                  </a:lnTo>
                  <a:lnTo>
                    <a:pt x="301" y="97"/>
                  </a:lnTo>
                  <a:lnTo>
                    <a:pt x="314" y="103"/>
                  </a:lnTo>
                  <a:lnTo>
                    <a:pt x="318" y="105"/>
                  </a:lnTo>
                  <a:lnTo>
                    <a:pt x="322" y="105"/>
                  </a:lnTo>
                  <a:lnTo>
                    <a:pt x="326" y="103"/>
                  </a:lnTo>
                  <a:lnTo>
                    <a:pt x="327" y="100"/>
                  </a:lnTo>
                  <a:lnTo>
                    <a:pt x="326" y="97"/>
                  </a:lnTo>
                  <a:lnTo>
                    <a:pt x="325" y="92"/>
                  </a:lnTo>
                  <a:lnTo>
                    <a:pt x="326" y="90"/>
                  </a:lnTo>
                  <a:lnTo>
                    <a:pt x="328" y="87"/>
                  </a:lnTo>
                  <a:lnTo>
                    <a:pt x="331" y="88"/>
                  </a:lnTo>
                  <a:lnTo>
                    <a:pt x="335" y="91"/>
                  </a:lnTo>
                  <a:lnTo>
                    <a:pt x="337" y="95"/>
                  </a:lnTo>
                  <a:lnTo>
                    <a:pt x="339" y="102"/>
                  </a:lnTo>
                  <a:lnTo>
                    <a:pt x="344" y="106"/>
                  </a:lnTo>
                  <a:lnTo>
                    <a:pt x="349" y="109"/>
                  </a:lnTo>
                  <a:lnTo>
                    <a:pt x="370" y="116"/>
                  </a:lnTo>
                  <a:lnTo>
                    <a:pt x="391" y="132"/>
                  </a:lnTo>
                  <a:lnTo>
                    <a:pt x="397" y="134"/>
                  </a:lnTo>
                  <a:lnTo>
                    <a:pt x="406" y="136"/>
                  </a:lnTo>
                  <a:lnTo>
                    <a:pt x="422" y="136"/>
                  </a:lnTo>
                  <a:lnTo>
                    <a:pt x="491" y="124"/>
                  </a:lnTo>
                  <a:lnTo>
                    <a:pt x="496" y="125"/>
                  </a:lnTo>
                  <a:lnTo>
                    <a:pt x="499" y="127"/>
                  </a:lnTo>
                  <a:lnTo>
                    <a:pt x="502" y="130"/>
                  </a:lnTo>
                  <a:lnTo>
                    <a:pt x="508" y="138"/>
                  </a:lnTo>
                  <a:lnTo>
                    <a:pt x="508" y="138"/>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4" name="Freeform 10">
              <a:extLst>
                <a:ext uri="{FF2B5EF4-FFF2-40B4-BE49-F238E27FC236}"/>
              </a:extLst>
            </p:cNvPr>
            <p:cNvSpPr>
              <a:spLocks/>
            </p:cNvSpPr>
            <p:nvPr/>
          </p:nvSpPr>
          <p:spPr bwMode="auto">
            <a:xfrm>
              <a:off x="3514770" y="3322728"/>
              <a:ext cx="910075" cy="802018"/>
            </a:xfrm>
            <a:custGeom>
              <a:avLst/>
              <a:gdLst>
                <a:gd name="T0" fmla="*/ 563 w 574"/>
                <a:gd name="T1" fmla="*/ 35 h 506"/>
                <a:gd name="T2" fmla="*/ 572 w 574"/>
                <a:gd name="T3" fmla="*/ 51 h 506"/>
                <a:gd name="T4" fmla="*/ 573 w 574"/>
                <a:gd name="T5" fmla="*/ 64 h 506"/>
                <a:gd name="T6" fmla="*/ 563 w 574"/>
                <a:gd name="T7" fmla="*/ 74 h 506"/>
                <a:gd name="T8" fmla="*/ 539 w 574"/>
                <a:gd name="T9" fmla="*/ 90 h 506"/>
                <a:gd name="T10" fmla="*/ 515 w 574"/>
                <a:gd name="T11" fmla="*/ 118 h 506"/>
                <a:gd name="T12" fmla="*/ 498 w 574"/>
                <a:gd name="T13" fmla="*/ 127 h 506"/>
                <a:gd name="T14" fmla="*/ 496 w 574"/>
                <a:gd name="T15" fmla="*/ 173 h 506"/>
                <a:gd name="T16" fmla="*/ 501 w 574"/>
                <a:gd name="T17" fmla="*/ 188 h 506"/>
                <a:gd name="T18" fmla="*/ 546 w 574"/>
                <a:gd name="T19" fmla="*/ 249 h 506"/>
                <a:gd name="T20" fmla="*/ 544 w 574"/>
                <a:gd name="T21" fmla="*/ 270 h 506"/>
                <a:gd name="T22" fmla="*/ 554 w 574"/>
                <a:gd name="T23" fmla="*/ 294 h 506"/>
                <a:gd name="T24" fmla="*/ 555 w 574"/>
                <a:gd name="T25" fmla="*/ 321 h 506"/>
                <a:gd name="T26" fmla="*/ 545 w 574"/>
                <a:gd name="T27" fmla="*/ 329 h 506"/>
                <a:gd name="T28" fmla="*/ 446 w 574"/>
                <a:gd name="T29" fmla="*/ 326 h 506"/>
                <a:gd name="T30" fmla="*/ 433 w 574"/>
                <a:gd name="T31" fmla="*/ 331 h 506"/>
                <a:gd name="T32" fmla="*/ 418 w 574"/>
                <a:gd name="T33" fmla="*/ 354 h 506"/>
                <a:gd name="T34" fmla="*/ 390 w 574"/>
                <a:gd name="T35" fmla="*/ 380 h 506"/>
                <a:gd name="T36" fmla="*/ 319 w 574"/>
                <a:gd name="T37" fmla="*/ 401 h 506"/>
                <a:gd name="T38" fmla="*/ 280 w 574"/>
                <a:gd name="T39" fmla="*/ 447 h 506"/>
                <a:gd name="T40" fmla="*/ 286 w 574"/>
                <a:gd name="T41" fmla="*/ 467 h 506"/>
                <a:gd name="T42" fmla="*/ 282 w 574"/>
                <a:gd name="T43" fmla="*/ 487 h 506"/>
                <a:gd name="T44" fmla="*/ 267 w 574"/>
                <a:gd name="T45" fmla="*/ 493 h 506"/>
                <a:gd name="T46" fmla="*/ 214 w 574"/>
                <a:gd name="T47" fmla="*/ 493 h 506"/>
                <a:gd name="T48" fmla="*/ 146 w 574"/>
                <a:gd name="T49" fmla="*/ 476 h 506"/>
                <a:gd name="T50" fmla="*/ 130 w 574"/>
                <a:gd name="T51" fmla="*/ 481 h 506"/>
                <a:gd name="T52" fmla="*/ 99 w 574"/>
                <a:gd name="T53" fmla="*/ 496 h 506"/>
                <a:gd name="T54" fmla="*/ 83 w 574"/>
                <a:gd name="T55" fmla="*/ 447 h 506"/>
                <a:gd name="T56" fmla="*/ 72 w 574"/>
                <a:gd name="T57" fmla="*/ 432 h 506"/>
                <a:gd name="T58" fmla="*/ 39 w 574"/>
                <a:gd name="T59" fmla="*/ 415 h 506"/>
                <a:gd name="T60" fmla="*/ 40 w 574"/>
                <a:gd name="T61" fmla="*/ 355 h 506"/>
                <a:gd name="T62" fmla="*/ 25 w 574"/>
                <a:gd name="T63" fmla="*/ 342 h 506"/>
                <a:gd name="T64" fmla="*/ 13 w 574"/>
                <a:gd name="T65" fmla="*/ 327 h 506"/>
                <a:gd name="T66" fmla="*/ 61 w 574"/>
                <a:gd name="T67" fmla="*/ 307 h 506"/>
                <a:gd name="T68" fmla="*/ 90 w 574"/>
                <a:gd name="T69" fmla="*/ 301 h 506"/>
                <a:gd name="T70" fmla="*/ 81 w 574"/>
                <a:gd name="T71" fmla="*/ 278 h 506"/>
                <a:gd name="T72" fmla="*/ 83 w 574"/>
                <a:gd name="T73" fmla="*/ 261 h 506"/>
                <a:gd name="T74" fmla="*/ 98 w 574"/>
                <a:gd name="T75" fmla="*/ 255 h 506"/>
                <a:gd name="T76" fmla="*/ 121 w 574"/>
                <a:gd name="T77" fmla="*/ 260 h 506"/>
                <a:gd name="T78" fmla="*/ 121 w 574"/>
                <a:gd name="T79" fmla="*/ 233 h 506"/>
                <a:gd name="T80" fmla="*/ 125 w 574"/>
                <a:gd name="T81" fmla="*/ 215 h 506"/>
                <a:gd name="T82" fmla="*/ 137 w 574"/>
                <a:gd name="T83" fmla="*/ 202 h 506"/>
                <a:gd name="T84" fmla="*/ 157 w 574"/>
                <a:gd name="T85" fmla="*/ 198 h 506"/>
                <a:gd name="T86" fmla="*/ 168 w 574"/>
                <a:gd name="T87" fmla="*/ 176 h 506"/>
                <a:gd name="T88" fmla="*/ 290 w 574"/>
                <a:gd name="T89" fmla="*/ 88 h 506"/>
                <a:gd name="T90" fmla="*/ 308 w 574"/>
                <a:gd name="T91" fmla="*/ 60 h 506"/>
                <a:gd name="T92" fmla="*/ 399 w 574"/>
                <a:gd name="T93" fmla="*/ 4 h 506"/>
                <a:gd name="T94" fmla="*/ 418 w 574"/>
                <a:gd name="T95" fmla="*/ 0 h 506"/>
                <a:gd name="T96" fmla="*/ 444 w 574"/>
                <a:gd name="T97" fmla="*/ 22 h 506"/>
                <a:gd name="T98" fmla="*/ 494 w 574"/>
                <a:gd name="T99" fmla="*/ 46 h 506"/>
                <a:gd name="T100" fmla="*/ 515 w 574"/>
                <a:gd name="T101" fmla="*/ 46 h 506"/>
                <a:gd name="T102" fmla="*/ 538 w 574"/>
                <a:gd name="T103" fmla="*/ 19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4" h="506">
                  <a:moveTo>
                    <a:pt x="538" y="19"/>
                  </a:moveTo>
                  <a:lnTo>
                    <a:pt x="549" y="25"/>
                  </a:lnTo>
                  <a:lnTo>
                    <a:pt x="556" y="30"/>
                  </a:lnTo>
                  <a:lnTo>
                    <a:pt x="563" y="35"/>
                  </a:lnTo>
                  <a:lnTo>
                    <a:pt x="566" y="39"/>
                  </a:lnTo>
                  <a:lnTo>
                    <a:pt x="569" y="43"/>
                  </a:lnTo>
                  <a:lnTo>
                    <a:pt x="572" y="47"/>
                  </a:lnTo>
                  <a:lnTo>
                    <a:pt x="572" y="51"/>
                  </a:lnTo>
                  <a:lnTo>
                    <a:pt x="573" y="55"/>
                  </a:lnTo>
                  <a:lnTo>
                    <a:pt x="574" y="58"/>
                  </a:lnTo>
                  <a:lnTo>
                    <a:pt x="574" y="62"/>
                  </a:lnTo>
                  <a:lnTo>
                    <a:pt x="573" y="64"/>
                  </a:lnTo>
                  <a:lnTo>
                    <a:pt x="572" y="67"/>
                  </a:lnTo>
                  <a:lnTo>
                    <a:pt x="570" y="71"/>
                  </a:lnTo>
                  <a:lnTo>
                    <a:pt x="566" y="72"/>
                  </a:lnTo>
                  <a:lnTo>
                    <a:pt x="563" y="74"/>
                  </a:lnTo>
                  <a:lnTo>
                    <a:pt x="555" y="78"/>
                  </a:lnTo>
                  <a:lnTo>
                    <a:pt x="550" y="80"/>
                  </a:lnTo>
                  <a:lnTo>
                    <a:pt x="546" y="83"/>
                  </a:lnTo>
                  <a:lnTo>
                    <a:pt x="539" y="90"/>
                  </a:lnTo>
                  <a:lnTo>
                    <a:pt x="533" y="97"/>
                  </a:lnTo>
                  <a:lnTo>
                    <a:pt x="520" y="115"/>
                  </a:lnTo>
                  <a:lnTo>
                    <a:pt x="518" y="118"/>
                  </a:lnTo>
                  <a:lnTo>
                    <a:pt x="515" y="118"/>
                  </a:lnTo>
                  <a:lnTo>
                    <a:pt x="509" y="120"/>
                  </a:lnTo>
                  <a:lnTo>
                    <a:pt x="504" y="121"/>
                  </a:lnTo>
                  <a:lnTo>
                    <a:pt x="501" y="124"/>
                  </a:lnTo>
                  <a:lnTo>
                    <a:pt x="498" y="127"/>
                  </a:lnTo>
                  <a:lnTo>
                    <a:pt x="497" y="132"/>
                  </a:lnTo>
                  <a:lnTo>
                    <a:pt x="499" y="141"/>
                  </a:lnTo>
                  <a:lnTo>
                    <a:pt x="499" y="148"/>
                  </a:lnTo>
                  <a:lnTo>
                    <a:pt x="496" y="173"/>
                  </a:lnTo>
                  <a:lnTo>
                    <a:pt x="496" y="177"/>
                  </a:lnTo>
                  <a:lnTo>
                    <a:pt x="497" y="180"/>
                  </a:lnTo>
                  <a:lnTo>
                    <a:pt x="498" y="185"/>
                  </a:lnTo>
                  <a:lnTo>
                    <a:pt x="501" y="188"/>
                  </a:lnTo>
                  <a:lnTo>
                    <a:pt x="514" y="202"/>
                  </a:lnTo>
                  <a:lnTo>
                    <a:pt x="519" y="207"/>
                  </a:lnTo>
                  <a:lnTo>
                    <a:pt x="533" y="232"/>
                  </a:lnTo>
                  <a:lnTo>
                    <a:pt x="546" y="249"/>
                  </a:lnTo>
                  <a:lnTo>
                    <a:pt x="546" y="249"/>
                  </a:lnTo>
                  <a:lnTo>
                    <a:pt x="547" y="255"/>
                  </a:lnTo>
                  <a:lnTo>
                    <a:pt x="545" y="264"/>
                  </a:lnTo>
                  <a:lnTo>
                    <a:pt x="544" y="270"/>
                  </a:lnTo>
                  <a:lnTo>
                    <a:pt x="545" y="274"/>
                  </a:lnTo>
                  <a:lnTo>
                    <a:pt x="550" y="282"/>
                  </a:lnTo>
                  <a:lnTo>
                    <a:pt x="552" y="288"/>
                  </a:lnTo>
                  <a:lnTo>
                    <a:pt x="554" y="294"/>
                  </a:lnTo>
                  <a:lnTo>
                    <a:pt x="556" y="306"/>
                  </a:lnTo>
                  <a:lnTo>
                    <a:pt x="556" y="312"/>
                  </a:lnTo>
                  <a:lnTo>
                    <a:pt x="556" y="317"/>
                  </a:lnTo>
                  <a:lnTo>
                    <a:pt x="555" y="321"/>
                  </a:lnTo>
                  <a:lnTo>
                    <a:pt x="554" y="324"/>
                  </a:lnTo>
                  <a:lnTo>
                    <a:pt x="552" y="327"/>
                  </a:lnTo>
                  <a:lnTo>
                    <a:pt x="549" y="329"/>
                  </a:lnTo>
                  <a:lnTo>
                    <a:pt x="545" y="329"/>
                  </a:lnTo>
                  <a:lnTo>
                    <a:pt x="530" y="328"/>
                  </a:lnTo>
                  <a:lnTo>
                    <a:pt x="490" y="331"/>
                  </a:lnTo>
                  <a:lnTo>
                    <a:pt x="454" y="326"/>
                  </a:lnTo>
                  <a:lnTo>
                    <a:pt x="446" y="326"/>
                  </a:lnTo>
                  <a:lnTo>
                    <a:pt x="443" y="327"/>
                  </a:lnTo>
                  <a:lnTo>
                    <a:pt x="439" y="328"/>
                  </a:lnTo>
                  <a:lnTo>
                    <a:pt x="436" y="330"/>
                  </a:lnTo>
                  <a:lnTo>
                    <a:pt x="433" y="331"/>
                  </a:lnTo>
                  <a:lnTo>
                    <a:pt x="431" y="333"/>
                  </a:lnTo>
                  <a:lnTo>
                    <a:pt x="429" y="336"/>
                  </a:lnTo>
                  <a:lnTo>
                    <a:pt x="423" y="342"/>
                  </a:lnTo>
                  <a:lnTo>
                    <a:pt x="418" y="354"/>
                  </a:lnTo>
                  <a:lnTo>
                    <a:pt x="414" y="360"/>
                  </a:lnTo>
                  <a:lnTo>
                    <a:pt x="411" y="363"/>
                  </a:lnTo>
                  <a:lnTo>
                    <a:pt x="399" y="371"/>
                  </a:lnTo>
                  <a:lnTo>
                    <a:pt x="390" y="380"/>
                  </a:lnTo>
                  <a:lnTo>
                    <a:pt x="386" y="383"/>
                  </a:lnTo>
                  <a:lnTo>
                    <a:pt x="379" y="386"/>
                  </a:lnTo>
                  <a:lnTo>
                    <a:pt x="323" y="400"/>
                  </a:lnTo>
                  <a:lnTo>
                    <a:pt x="319" y="401"/>
                  </a:lnTo>
                  <a:lnTo>
                    <a:pt x="316" y="404"/>
                  </a:lnTo>
                  <a:lnTo>
                    <a:pt x="300" y="420"/>
                  </a:lnTo>
                  <a:lnTo>
                    <a:pt x="283" y="442"/>
                  </a:lnTo>
                  <a:lnTo>
                    <a:pt x="280" y="447"/>
                  </a:lnTo>
                  <a:lnTo>
                    <a:pt x="280" y="452"/>
                  </a:lnTo>
                  <a:lnTo>
                    <a:pt x="280" y="455"/>
                  </a:lnTo>
                  <a:lnTo>
                    <a:pt x="282" y="459"/>
                  </a:lnTo>
                  <a:lnTo>
                    <a:pt x="286" y="467"/>
                  </a:lnTo>
                  <a:lnTo>
                    <a:pt x="288" y="471"/>
                  </a:lnTo>
                  <a:lnTo>
                    <a:pt x="287" y="476"/>
                  </a:lnTo>
                  <a:lnTo>
                    <a:pt x="286" y="483"/>
                  </a:lnTo>
                  <a:lnTo>
                    <a:pt x="282" y="487"/>
                  </a:lnTo>
                  <a:lnTo>
                    <a:pt x="278" y="491"/>
                  </a:lnTo>
                  <a:lnTo>
                    <a:pt x="273" y="492"/>
                  </a:lnTo>
                  <a:lnTo>
                    <a:pt x="271" y="493"/>
                  </a:lnTo>
                  <a:lnTo>
                    <a:pt x="267" y="493"/>
                  </a:lnTo>
                  <a:lnTo>
                    <a:pt x="254" y="490"/>
                  </a:lnTo>
                  <a:lnTo>
                    <a:pt x="246" y="490"/>
                  </a:lnTo>
                  <a:lnTo>
                    <a:pt x="222" y="493"/>
                  </a:lnTo>
                  <a:lnTo>
                    <a:pt x="214" y="493"/>
                  </a:lnTo>
                  <a:lnTo>
                    <a:pt x="183" y="490"/>
                  </a:lnTo>
                  <a:lnTo>
                    <a:pt x="172" y="487"/>
                  </a:lnTo>
                  <a:lnTo>
                    <a:pt x="165" y="484"/>
                  </a:lnTo>
                  <a:lnTo>
                    <a:pt x="146" y="476"/>
                  </a:lnTo>
                  <a:lnTo>
                    <a:pt x="143" y="475"/>
                  </a:lnTo>
                  <a:lnTo>
                    <a:pt x="139" y="475"/>
                  </a:lnTo>
                  <a:lnTo>
                    <a:pt x="135" y="477"/>
                  </a:lnTo>
                  <a:lnTo>
                    <a:pt x="130" y="481"/>
                  </a:lnTo>
                  <a:lnTo>
                    <a:pt x="128" y="483"/>
                  </a:lnTo>
                  <a:lnTo>
                    <a:pt x="117" y="499"/>
                  </a:lnTo>
                  <a:lnTo>
                    <a:pt x="114" y="506"/>
                  </a:lnTo>
                  <a:lnTo>
                    <a:pt x="99" y="496"/>
                  </a:lnTo>
                  <a:lnTo>
                    <a:pt x="97" y="493"/>
                  </a:lnTo>
                  <a:lnTo>
                    <a:pt x="95" y="490"/>
                  </a:lnTo>
                  <a:lnTo>
                    <a:pt x="91" y="482"/>
                  </a:lnTo>
                  <a:lnTo>
                    <a:pt x="83" y="447"/>
                  </a:lnTo>
                  <a:lnTo>
                    <a:pt x="80" y="440"/>
                  </a:lnTo>
                  <a:lnTo>
                    <a:pt x="77" y="435"/>
                  </a:lnTo>
                  <a:lnTo>
                    <a:pt x="75" y="433"/>
                  </a:lnTo>
                  <a:lnTo>
                    <a:pt x="72" y="432"/>
                  </a:lnTo>
                  <a:lnTo>
                    <a:pt x="51" y="426"/>
                  </a:lnTo>
                  <a:lnTo>
                    <a:pt x="46" y="424"/>
                  </a:lnTo>
                  <a:lnTo>
                    <a:pt x="43" y="421"/>
                  </a:lnTo>
                  <a:lnTo>
                    <a:pt x="39" y="415"/>
                  </a:lnTo>
                  <a:lnTo>
                    <a:pt x="38" y="412"/>
                  </a:lnTo>
                  <a:lnTo>
                    <a:pt x="38" y="407"/>
                  </a:lnTo>
                  <a:lnTo>
                    <a:pt x="40" y="360"/>
                  </a:lnTo>
                  <a:lnTo>
                    <a:pt x="40" y="355"/>
                  </a:lnTo>
                  <a:lnTo>
                    <a:pt x="38" y="351"/>
                  </a:lnTo>
                  <a:lnTo>
                    <a:pt x="36" y="346"/>
                  </a:lnTo>
                  <a:lnTo>
                    <a:pt x="33" y="345"/>
                  </a:lnTo>
                  <a:lnTo>
                    <a:pt x="25" y="342"/>
                  </a:lnTo>
                  <a:lnTo>
                    <a:pt x="3" y="337"/>
                  </a:lnTo>
                  <a:lnTo>
                    <a:pt x="0" y="335"/>
                  </a:lnTo>
                  <a:lnTo>
                    <a:pt x="6" y="329"/>
                  </a:lnTo>
                  <a:lnTo>
                    <a:pt x="13" y="327"/>
                  </a:lnTo>
                  <a:lnTo>
                    <a:pt x="22" y="326"/>
                  </a:lnTo>
                  <a:lnTo>
                    <a:pt x="28" y="324"/>
                  </a:lnTo>
                  <a:lnTo>
                    <a:pt x="55" y="309"/>
                  </a:lnTo>
                  <a:lnTo>
                    <a:pt x="61" y="307"/>
                  </a:lnTo>
                  <a:lnTo>
                    <a:pt x="67" y="306"/>
                  </a:lnTo>
                  <a:lnTo>
                    <a:pt x="83" y="304"/>
                  </a:lnTo>
                  <a:lnTo>
                    <a:pt x="87" y="302"/>
                  </a:lnTo>
                  <a:lnTo>
                    <a:pt x="90" y="301"/>
                  </a:lnTo>
                  <a:lnTo>
                    <a:pt x="90" y="297"/>
                  </a:lnTo>
                  <a:lnTo>
                    <a:pt x="90" y="294"/>
                  </a:lnTo>
                  <a:lnTo>
                    <a:pt x="90" y="292"/>
                  </a:lnTo>
                  <a:lnTo>
                    <a:pt x="81" y="278"/>
                  </a:lnTo>
                  <a:lnTo>
                    <a:pt x="80" y="273"/>
                  </a:lnTo>
                  <a:lnTo>
                    <a:pt x="80" y="269"/>
                  </a:lnTo>
                  <a:lnTo>
                    <a:pt x="81" y="265"/>
                  </a:lnTo>
                  <a:lnTo>
                    <a:pt x="83" y="261"/>
                  </a:lnTo>
                  <a:lnTo>
                    <a:pt x="87" y="256"/>
                  </a:lnTo>
                  <a:lnTo>
                    <a:pt x="91" y="255"/>
                  </a:lnTo>
                  <a:lnTo>
                    <a:pt x="95" y="254"/>
                  </a:lnTo>
                  <a:lnTo>
                    <a:pt x="98" y="255"/>
                  </a:lnTo>
                  <a:lnTo>
                    <a:pt x="111" y="260"/>
                  </a:lnTo>
                  <a:lnTo>
                    <a:pt x="114" y="261"/>
                  </a:lnTo>
                  <a:lnTo>
                    <a:pt x="119" y="261"/>
                  </a:lnTo>
                  <a:lnTo>
                    <a:pt x="121" y="260"/>
                  </a:lnTo>
                  <a:lnTo>
                    <a:pt x="124" y="256"/>
                  </a:lnTo>
                  <a:lnTo>
                    <a:pt x="124" y="254"/>
                  </a:lnTo>
                  <a:lnTo>
                    <a:pt x="124" y="249"/>
                  </a:lnTo>
                  <a:lnTo>
                    <a:pt x="121" y="233"/>
                  </a:lnTo>
                  <a:lnTo>
                    <a:pt x="120" y="230"/>
                  </a:lnTo>
                  <a:lnTo>
                    <a:pt x="121" y="226"/>
                  </a:lnTo>
                  <a:lnTo>
                    <a:pt x="121" y="223"/>
                  </a:lnTo>
                  <a:lnTo>
                    <a:pt x="125" y="215"/>
                  </a:lnTo>
                  <a:lnTo>
                    <a:pt x="128" y="207"/>
                  </a:lnTo>
                  <a:lnTo>
                    <a:pt x="130" y="203"/>
                  </a:lnTo>
                  <a:lnTo>
                    <a:pt x="134" y="202"/>
                  </a:lnTo>
                  <a:lnTo>
                    <a:pt x="137" y="202"/>
                  </a:lnTo>
                  <a:lnTo>
                    <a:pt x="142" y="202"/>
                  </a:lnTo>
                  <a:lnTo>
                    <a:pt x="146" y="202"/>
                  </a:lnTo>
                  <a:lnTo>
                    <a:pt x="153" y="200"/>
                  </a:lnTo>
                  <a:lnTo>
                    <a:pt x="157" y="198"/>
                  </a:lnTo>
                  <a:lnTo>
                    <a:pt x="159" y="195"/>
                  </a:lnTo>
                  <a:lnTo>
                    <a:pt x="160" y="191"/>
                  </a:lnTo>
                  <a:lnTo>
                    <a:pt x="163" y="185"/>
                  </a:lnTo>
                  <a:lnTo>
                    <a:pt x="168" y="176"/>
                  </a:lnTo>
                  <a:lnTo>
                    <a:pt x="188" y="154"/>
                  </a:lnTo>
                  <a:lnTo>
                    <a:pt x="232" y="118"/>
                  </a:lnTo>
                  <a:lnTo>
                    <a:pt x="252" y="104"/>
                  </a:lnTo>
                  <a:lnTo>
                    <a:pt x="290" y="88"/>
                  </a:lnTo>
                  <a:lnTo>
                    <a:pt x="296" y="84"/>
                  </a:lnTo>
                  <a:lnTo>
                    <a:pt x="300" y="80"/>
                  </a:lnTo>
                  <a:lnTo>
                    <a:pt x="301" y="76"/>
                  </a:lnTo>
                  <a:lnTo>
                    <a:pt x="308" y="60"/>
                  </a:lnTo>
                  <a:lnTo>
                    <a:pt x="315" y="53"/>
                  </a:lnTo>
                  <a:lnTo>
                    <a:pt x="323" y="45"/>
                  </a:lnTo>
                  <a:lnTo>
                    <a:pt x="335" y="37"/>
                  </a:lnTo>
                  <a:lnTo>
                    <a:pt x="399" y="4"/>
                  </a:lnTo>
                  <a:lnTo>
                    <a:pt x="406" y="1"/>
                  </a:lnTo>
                  <a:lnTo>
                    <a:pt x="411" y="0"/>
                  </a:lnTo>
                  <a:lnTo>
                    <a:pt x="414" y="0"/>
                  </a:lnTo>
                  <a:lnTo>
                    <a:pt x="418" y="0"/>
                  </a:lnTo>
                  <a:lnTo>
                    <a:pt x="422" y="2"/>
                  </a:lnTo>
                  <a:lnTo>
                    <a:pt x="426" y="4"/>
                  </a:lnTo>
                  <a:lnTo>
                    <a:pt x="432" y="9"/>
                  </a:lnTo>
                  <a:lnTo>
                    <a:pt x="444" y="22"/>
                  </a:lnTo>
                  <a:lnTo>
                    <a:pt x="466" y="39"/>
                  </a:lnTo>
                  <a:lnTo>
                    <a:pt x="473" y="44"/>
                  </a:lnTo>
                  <a:lnTo>
                    <a:pt x="477" y="45"/>
                  </a:lnTo>
                  <a:lnTo>
                    <a:pt x="494" y="46"/>
                  </a:lnTo>
                  <a:lnTo>
                    <a:pt x="505" y="49"/>
                  </a:lnTo>
                  <a:lnTo>
                    <a:pt x="509" y="49"/>
                  </a:lnTo>
                  <a:lnTo>
                    <a:pt x="512" y="48"/>
                  </a:lnTo>
                  <a:lnTo>
                    <a:pt x="515" y="46"/>
                  </a:lnTo>
                  <a:lnTo>
                    <a:pt x="518" y="44"/>
                  </a:lnTo>
                  <a:lnTo>
                    <a:pt x="531" y="26"/>
                  </a:lnTo>
                  <a:lnTo>
                    <a:pt x="538" y="19"/>
                  </a:lnTo>
                  <a:lnTo>
                    <a:pt x="538" y="19"/>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5" name="Freeform 11">
              <a:extLst>
                <a:ext uri="{FF2B5EF4-FFF2-40B4-BE49-F238E27FC236}"/>
              </a:extLst>
            </p:cNvPr>
            <p:cNvSpPr>
              <a:spLocks/>
            </p:cNvSpPr>
            <p:nvPr/>
          </p:nvSpPr>
          <p:spPr bwMode="auto">
            <a:xfrm>
              <a:off x="2873307" y="2853548"/>
              <a:ext cx="1539513" cy="1066684"/>
            </a:xfrm>
            <a:custGeom>
              <a:avLst/>
              <a:gdLst>
                <a:gd name="T0" fmla="*/ 948 w 970"/>
                <a:gd name="T1" fmla="*/ 274 h 671"/>
                <a:gd name="T2" fmla="*/ 938 w 970"/>
                <a:gd name="T3" fmla="*/ 301 h 671"/>
                <a:gd name="T4" fmla="*/ 922 w 970"/>
                <a:gd name="T5" fmla="*/ 338 h 671"/>
                <a:gd name="T6" fmla="*/ 898 w 970"/>
                <a:gd name="T7" fmla="*/ 340 h 671"/>
                <a:gd name="T8" fmla="*/ 836 w 970"/>
                <a:gd name="T9" fmla="*/ 303 h 671"/>
                <a:gd name="T10" fmla="*/ 815 w 970"/>
                <a:gd name="T11" fmla="*/ 294 h 671"/>
                <a:gd name="T12" fmla="*/ 719 w 970"/>
                <a:gd name="T13" fmla="*/ 347 h 671"/>
                <a:gd name="T14" fmla="*/ 694 w 970"/>
                <a:gd name="T15" fmla="*/ 382 h 671"/>
                <a:gd name="T16" fmla="*/ 567 w 970"/>
                <a:gd name="T17" fmla="*/ 479 h 671"/>
                <a:gd name="T18" fmla="*/ 550 w 970"/>
                <a:gd name="T19" fmla="*/ 496 h 671"/>
                <a:gd name="T20" fmla="*/ 532 w 970"/>
                <a:gd name="T21" fmla="*/ 501 h 671"/>
                <a:gd name="T22" fmla="*/ 525 w 970"/>
                <a:gd name="T23" fmla="*/ 527 h 671"/>
                <a:gd name="T24" fmla="*/ 523 w 970"/>
                <a:gd name="T25" fmla="*/ 555 h 671"/>
                <a:gd name="T26" fmla="*/ 495 w 970"/>
                <a:gd name="T27" fmla="*/ 549 h 671"/>
                <a:gd name="T28" fmla="*/ 484 w 970"/>
                <a:gd name="T29" fmla="*/ 567 h 671"/>
                <a:gd name="T30" fmla="*/ 494 w 970"/>
                <a:gd name="T31" fmla="*/ 595 h 671"/>
                <a:gd name="T32" fmla="*/ 459 w 970"/>
                <a:gd name="T33" fmla="*/ 603 h 671"/>
                <a:gd name="T34" fmla="*/ 404 w 970"/>
                <a:gd name="T35" fmla="*/ 629 h 671"/>
                <a:gd name="T36" fmla="*/ 303 w 970"/>
                <a:gd name="T37" fmla="*/ 622 h 671"/>
                <a:gd name="T38" fmla="*/ 276 w 970"/>
                <a:gd name="T39" fmla="*/ 649 h 671"/>
                <a:gd name="T40" fmla="*/ 256 w 970"/>
                <a:gd name="T41" fmla="*/ 655 h 671"/>
                <a:gd name="T42" fmla="*/ 178 w 970"/>
                <a:gd name="T43" fmla="*/ 671 h 671"/>
                <a:gd name="T44" fmla="*/ 163 w 970"/>
                <a:gd name="T45" fmla="*/ 663 h 671"/>
                <a:gd name="T46" fmla="*/ 157 w 970"/>
                <a:gd name="T47" fmla="*/ 582 h 671"/>
                <a:gd name="T48" fmla="*/ 160 w 970"/>
                <a:gd name="T49" fmla="*/ 485 h 671"/>
                <a:gd name="T50" fmla="*/ 139 w 970"/>
                <a:gd name="T51" fmla="*/ 480 h 671"/>
                <a:gd name="T52" fmla="*/ 133 w 970"/>
                <a:gd name="T53" fmla="*/ 461 h 671"/>
                <a:gd name="T54" fmla="*/ 140 w 970"/>
                <a:gd name="T55" fmla="*/ 432 h 671"/>
                <a:gd name="T56" fmla="*/ 145 w 970"/>
                <a:gd name="T57" fmla="*/ 408 h 671"/>
                <a:gd name="T58" fmla="*/ 192 w 970"/>
                <a:gd name="T59" fmla="*/ 336 h 671"/>
                <a:gd name="T60" fmla="*/ 192 w 970"/>
                <a:gd name="T61" fmla="*/ 316 h 671"/>
                <a:gd name="T62" fmla="*/ 155 w 970"/>
                <a:gd name="T63" fmla="*/ 291 h 671"/>
                <a:gd name="T64" fmla="*/ 122 w 970"/>
                <a:gd name="T65" fmla="*/ 195 h 671"/>
                <a:gd name="T66" fmla="*/ 83 w 970"/>
                <a:gd name="T67" fmla="*/ 166 h 671"/>
                <a:gd name="T68" fmla="*/ 6 w 970"/>
                <a:gd name="T69" fmla="*/ 140 h 671"/>
                <a:gd name="T70" fmla="*/ 27 w 970"/>
                <a:gd name="T71" fmla="*/ 109 h 671"/>
                <a:gd name="T72" fmla="*/ 248 w 970"/>
                <a:gd name="T73" fmla="*/ 8 h 671"/>
                <a:gd name="T74" fmla="*/ 380 w 970"/>
                <a:gd name="T75" fmla="*/ 0 h 671"/>
                <a:gd name="T76" fmla="*/ 451 w 970"/>
                <a:gd name="T77" fmla="*/ 15 h 671"/>
                <a:gd name="T78" fmla="*/ 502 w 970"/>
                <a:gd name="T79" fmla="*/ 8 h 671"/>
                <a:gd name="T80" fmla="*/ 595 w 970"/>
                <a:gd name="T81" fmla="*/ 54 h 671"/>
                <a:gd name="T82" fmla="*/ 625 w 970"/>
                <a:gd name="T83" fmla="*/ 66 h 671"/>
                <a:gd name="T84" fmla="*/ 658 w 970"/>
                <a:gd name="T85" fmla="*/ 53 h 671"/>
                <a:gd name="T86" fmla="*/ 670 w 970"/>
                <a:gd name="T87" fmla="*/ 72 h 671"/>
                <a:gd name="T88" fmla="*/ 684 w 970"/>
                <a:gd name="T89" fmla="*/ 92 h 671"/>
                <a:gd name="T90" fmla="*/ 720 w 970"/>
                <a:gd name="T91" fmla="*/ 94 h 671"/>
                <a:gd name="T92" fmla="*/ 759 w 970"/>
                <a:gd name="T93" fmla="*/ 103 h 671"/>
                <a:gd name="T94" fmla="*/ 797 w 970"/>
                <a:gd name="T95" fmla="*/ 92 h 671"/>
                <a:gd name="T96" fmla="*/ 852 w 970"/>
                <a:gd name="T97" fmla="*/ 197 h 671"/>
                <a:gd name="T98" fmla="*/ 924 w 970"/>
                <a:gd name="T99" fmla="*/ 214 h 671"/>
                <a:gd name="T100" fmla="*/ 970 w 970"/>
                <a:gd name="T101" fmla="*/ 25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671">
                  <a:moveTo>
                    <a:pt x="970" y="258"/>
                  </a:moveTo>
                  <a:lnTo>
                    <a:pt x="961" y="261"/>
                  </a:lnTo>
                  <a:lnTo>
                    <a:pt x="958" y="263"/>
                  </a:lnTo>
                  <a:lnTo>
                    <a:pt x="953" y="268"/>
                  </a:lnTo>
                  <a:lnTo>
                    <a:pt x="948" y="274"/>
                  </a:lnTo>
                  <a:lnTo>
                    <a:pt x="944" y="282"/>
                  </a:lnTo>
                  <a:lnTo>
                    <a:pt x="941" y="287"/>
                  </a:lnTo>
                  <a:lnTo>
                    <a:pt x="939" y="293"/>
                  </a:lnTo>
                  <a:lnTo>
                    <a:pt x="938" y="297"/>
                  </a:lnTo>
                  <a:lnTo>
                    <a:pt x="938" y="301"/>
                  </a:lnTo>
                  <a:lnTo>
                    <a:pt x="938" y="305"/>
                  </a:lnTo>
                  <a:lnTo>
                    <a:pt x="940" y="312"/>
                  </a:lnTo>
                  <a:lnTo>
                    <a:pt x="942" y="313"/>
                  </a:lnTo>
                  <a:lnTo>
                    <a:pt x="935" y="320"/>
                  </a:lnTo>
                  <a:lnTo>
                    <a:pt x="922" y="338"/>
                  </a:lnTo>
                  <a:lnTo>
                    <a:pt x="919" y="340"/>
                  </a:lnTo>
                  <a:lnTo>
                    <a:pt x="916" y="342"/>
                  </a:lnTo>
                  <a:lnTo>
                    <a:pt x="913" y="343"/>
                  </a:lnTo>
                  <a:lnTo>
                    <a:pt x="909" y="343"/>
                  </a:lnTo>
                  <a:lnTo>
                    <a:pt x="898" y="340"/>
                  </a:lnTo>
                  <a:lnTo>
                    <a:pt x="881" y="339"/>
                  </a:lnTo>
                  <a:lnTo>
                    <a:pt x="877" y="338"/>
                  </a:lnTo>
                  <a:lnTo>
                    <a:pt x="870" y="333"/>
                  </a:lnTo>
                  <a:lnTo>
                    <a:pt x="848" y="316"/>
                  </a:lnTo>
                  <a:lnTo>
                    <a:pt x="836" y="303"/>
                  </a:lnTo>
                  <a:lnTo>
                    <a:pt x="830" y="298"/>
                  </a:lnTo>
                  <a:lnTo>
                    <a:pt x="826" y="296"/>
                  </a:lnTo>
                  <a:lnTo>
                    <a:pt x="822" y="294"/>
                  </a:lnTo>
                  <a:lnTo>
                    <a:pt x="818" y="294"/>
                  </a:lnTo>
                  <a:lnTo>
                    <a:pt x="815" y="294"/>
                  </a:lnTo>
                  <a:lnTo>
                    <a:pt x="810" y="295"/>
                  </a:lnTo>
                  <a:lnTo>
                    <a:pt x="803" y="298"/>
                  </a:lnTo>
                  <a:lnTo>
                    <a:pt x="739" y="331"/>
                  </a:lnTo>
                  <a:lnTo>
                    <a:pt x="727" y="339"/>
                  </a:lnTo>
                  <a:lnTo>
                    <a:pt x="719" y="347"/>
                  </a:lnTo>
                  <a:lnTo>
                    <a:pt x="712" y="354"/>
                  </a:lnTo>
                  <a:lnTo>
                    <a:pt x="705" y="370"/>
                  </a:lnTo>
                  <a:lnTo>
                    <a:pt x="704" y="374"/>
                  </a:lnTo>
                  <a:lnTo>
                    <a:pt x="700" y="378"/>
                  </a:lnTo>
                  <a:lnTo>
                    <a:pt x="694" y="382"/>
                  </a:lnTo>
                  <a:lnTo>
                    <a:pt x="656" y="398"/>
                  </a:lnTo>
                  <a:lnTo>
                    <a:pt x="636" y="412"/>
                  </a:lnTo>
                  <a:lnTo>
                    <a:pt x="592" y="448"/>
                  </a:lnTo>
                  <a:lnTo>
                    <a:pt x="572" y="470"/>
                  </a:lnTo>
                  <a:lnTo>
                    <a:pt x="567" y="479"/>
                  </a:lnTo>
                  <a:lnTo>
                    <a:pt x="564" y="485"/>
                  </a:lnTo>
                  <a:lnTo>
                    <a:pt x="563" y="489"/>
                  </a:lnTo>
                  <a:lnTo>
                    <a:pt x="561" y="492"/>
                  </a:lnTo>
                  <a:lnTo>
                    <a:pt x="557" y="494"/>
                  </a:lnTo>
                  <a:lnTo>
                    <a:pt x="550" y="496"/>
                  </a:lnTo>
                  <a:lnTo>
                    <a:pt x="546" y="496"/>
                  </a:lnTo>
                  <a:lnTo>
                    <a:pt x="541" y="496"/>
                  </a:lnTo>
                  <a:lnTo>
                    <a:pt x="538" y="496"/>
                  </a:lnTo>
                  <a:lnTo>
                    <a:pt x="534" y="497"/>
                  </a:lnTo>
                  <a:lnTo>
                    <a:pt x="532" y="501"/>
                  </a:lnTo>
                  <a:lnTo>
                    <a:pt x="529" y="509"/>
                  </a:lnTo>
                  <a:lnTo>
                    <a:pt x="525" y="517"/>
                  </a:lnTo>
                  <a:lnTo>
                    <a:pt x="525" y="520"/>
                  </a:lnTo>
                  <a:lnTo>
                    <a:pt x="524" y="524"/>
                  </a:lnTo>
                  <a:lnTo>
                    <a:pt x="525" y="527"/>
                  </a:lnTo>
                  <a:lnTo>
                    <a:pt x="528" y="543"/>
                  </a:lnTo>
                  <a:lnTo>
                    <a:pt x="528" y="548"/>
                  </a:lnTo>
                  <a:lnTo>
                    <a:pt x="528" y="550"/>
                  </a:lnTo>
                  <a:lnTo>
                    <a:pt x="525" y="554"/>
                  </a:lnTo>
                  <a:lnTo>
                    <a:pt x="523" y="555"/>
                  </a:lnTo>
                  <a:lnTo>
                    <a:pt x="518" y="555"/>
                  </a:lnTo>
                  <a:lnTo>
                    <a:pt x="515" y="554"/>
                  </a:lnTo>
                  <a:lnTo>
                    <a:pt x="502" y="549"/>
                  </a:lnTo>
                  <a:lnTo>
                    <a:pt x="499" y="548"/>
                  </a:lnTo>
                  <a:lnTo>
                    <a:pt x="495" y="549"/>
                  </a:lnTo>
                  <a:lnTo>
                    <a:pt x="491" y="550"/>
                  </a:lnTo>
                  <a:lnTo>
                    <a:pt x="487" y="555"/>
                  </a:lnTo>
                  <a:lnTo>
                    <a:pt x="485" y="559"/>
                  </a:lnTo>
                  <a:lnTo>
                    <a:pt x="484" y="563"/>
                  </a:lnTo>
                  <a:lnTo>
                    <a:pt x="484" y="567"/>
                  </a:lnTo>
                  <a:lnTo>
                    <a:pt x="485" y="572"/>
                  </a:lnTo>
                  <a:lnTo>
                    <a:pt x="494" y="586"/>
                  </a:lnTo>
                  <a:lnTo>
                    <a:pt x="494" y="588"/>
                  </a:lnTo>
                  <a:lnTo>
                    <a:pt x="494" y="591"/>
                  </a:lnTo>
                  <a:lnTo>
                    <a:pt x="494" y="595"/>
                  </a:lnTo>
                  <a:lnTo>
                    <a:pt x="491" y="596"/>
                  </a:lnTo>
                  <a:lnTo>
                    <a:pt x="487" y="598"/>
                  </a:lnTo>
                  <a:lnTo>
                    <a:pt x="471" y="600"/>
                  </a:lnTo>
                  <a:lnTo>
                    <a:pt x="465" y="601"/>
                  </a:lnTo>
                  <a:lnTo>
                    <a:pt x="459" y="603"/>
                  </a:lnTo>
                  <a:lnTo>
                    <a:pt x="432" y="618"/>
                  </a:lnTo>
                  <a:lnTo>
                    <a:pt x="426" y="620"/>
                  </a:lnTo>
                  <a:lnTo>
                    <a:pt x="417" y="621"/>
                  </a:lnTo>
                  <a:lnTo>
                    <a:pt x="410" y="623"/>
                  </a:lnTo>
                  <a:lnTo>
                    <a:pt x="404" y="629"/>
                  </a:lnTo>
                  <a:lnTo>
                    <a:pt x="389" y="625"/>
                  </a:lnTo>
                  <a:lnTo>
                    <a:pt x="342" y="617"/>
                  </a:lnTo>
                  <a:lnTo>
                    <a:pt x="314" y="619"/>
                  </a:lnTo>
                  <a:lnTo>
                    <a:pt x="308" y="620"/>
                  </a:lnTo>
                  <a:lnTo>
                    <a:pt x="303" y="622"/>
                  </a:lnTo>
                  <a:lnTo>
                    <a:pt x="298" y="625"/>
                  </a:lnTo>
                  <a:lnTo>
                    <a:pt x="294" y="628"/>
                  </a:lnTo>
                  <a:lnTo>
                    <a:pt x="282" y="644"/>
                  </a:lnTo>
                  <a:lnTo>
                    <a:pt x="279" y="648"/>
                  </a:lnTo>
                  <a:lnTo>
                    <a:pt x="276" y="649"/>
                  </a:lnTo>
                  <a:lnTo>
                    <a:pt x="273" y="651"/>
                  </a:lnTo>
                  <a:lnTo>
                    <a:pt x="270" y="652"/>
                  </a:lnTo>
                  <a:lnTo>
                    <a:pt x="267" y="653"/>
                  </a:lnTo>
                  <a:lnTo>
                    <a:pt x="263" y="654"/>
                  </a:lnTo>
                  <a:lnTo>
                    <a:pt x="256" y="655"/>
                  </a:lnTo>
                  <a:lnTo>
                    <a:pt x="237" y="654"/>
                  </a:lnTo>
                  <a:lnTo>
                    <a:pt x="228" y="655"/>
                  </a:lnTo>
                  <a:lnTo>
                    <a:pt x="186" y="671"/>
                  </a:lnTo>
                  <a:lnTo>
                    <a:pt x="183" y="671"/>
                  </a:lnTo>
                  <a:lnTo>
                    <a:pt x="178" y="671"/>
                  </a:lnTo>
                  <a:lnTo>
                    <a:pt x="175" y="671"/>
                  </a:lnTo>
                  <a:lnTo>
                    <a:pt x="171" y="669"/>
                  </a:lnTo>
                  <a:lnTo>
                    <a:pt x="169" y="668"/>
                  </a:lnTo>
                  <a:lnTo>
                    <a:pt x="166" y="666"/>
                  </a:lnTo>
                  <a:lnTo>
                    <a:pt x="163" y="663"/>
                  </a:lnTo>
                  <a:lnTo>
                    <a:pt x="162" y="660"/>
                  </a:lnTo>
                  <a:lnTo>
                    <a:pt x="160" y="655"/>
                  </a:lnTo>
                  <a:lnTo>
                    <a:pt x="158" y="650"/>
                  </a:lnTo>
                  <a:lnTo>
                    <a:pt x="160" y="602"/>
                  </a:lnTo>
                  <a:lnTo>
                    <a:pt x="157" y="582"/>
                  </a:lnTo>
                  <a:lnTo>
                    <a:pt x="152" y="562"/>
                  </a:lnTo>
                  <a:lnTo>
                    <a:pt x="151" y="557"/>
                  </a:lnTo>
                  <a:lnTo>
                    <a:pt x="151" y="552"/>
                  </a:lnTo>
                  <a:lnTo>
                    <a:pt x="161" y="489"/>
                  </a:lnTo>
                  <a:lnTo>
                    <a:pt x="160" y="485"/>
                  </a:lnTo>
                  <a:lnTo>
                    <a:pt x="158" y="481"/>
                  </a:lnTo>
                  <a:lnTo>
                    <a:pt x="155" y="478"/>
                  </a:lnTo>
                  <a:lnTo>
                    <a:pt x="151" y="478"/>
                  </a:lnTo>
                  <a:lnTo>
                    <a:pt x="143" y="480"/>
                  </a:lnTo>
                  <a:lnTo>
                    <a:pt x="139" y="480"/>
                  </a:lnTo>
                  <a:lnTo>
                    <a:pt x="135" y="478"/>
                  </a:lnTo>
                  <a:lnTo>
                    <a:pt x="133" y="475"/>
                  </a:lnTo>
                  <a:lnTo>
                    <a:pt x="131" y="471"/>
                  </a:lnTo>
                  <a:lnTo>
                    <a:pt x="130" y="466"/>
                  </a:lnTo>
                  <a:lnTo>
                    <a:pt x="133" y="461"/>
                  </a:lnTo>
                  <a:lnTo>
                    <a:pt x="139" y="450"/>
                  </a:lnTo>
                  <a:lnTo>
                    <a:pt x="139" y="448"/>
                  </a:lnTo>
                  <a:lnTo>
                    <a:pt x="140" y="441"/>
                  </a:lnTo>
                  <a:lnTo>
                    <a:pt x="140" y="436"/>
                  </a:lnTo>
                  <a:lnTo>
                    <a:pt x="140" y="432"/>
                  </a:lnTo>
                  <a:lnTo>
                    <a:pt x="140" y="428"/>
                  </a:lnTo>
                  <a:lnTo>
                    <a:pt x="137" y="420"/>
                  </a:lnTo>
                  <a:lnTo>
                    <a:pt x="139" y="418"/>
                  </a:lnTo>
                  <a:lnTo>
                    <a:pt x="142" y="414"/>
                  </a:lnTo>
                  <a:lnTo>
                    <a:pt x="145" y="408"/>
                  </a:lnTo>
                  <a:lnTo>
                    <a:pt x="155" y="378"/>
                  </a:lnTo>
                  <a:lnTo>
                    <a:pt x="160" y="367"/>
                  </a:lnTo>
                  <a:lnTo>
                    <a:pt x="167" y="358"/>
                  </a:lnTo>
                  <a:lnTo>
                    <a:pt x="188" y="339"/>
                  </a:lnTo>
                  <a:lnTo>
                    <a:pt x="192" y="336"/>
                  </a:lnTo>
                  <a:lnTo>
                    <a:pt x="193" y="332"/>
                  </a:lnTo>
                  <a:lnTo>
                    <a:pt x="195" y="328"/>
                  </a:lnTo>
                  <a:lnTo>
                    <a:pt x="196" y="324"/>
                  </a:lnTo>
                  <a:lnTo>
                    <a:pt x="195" y="320"/>
                  </a:lnTo>
                  <a:lnTo>
                    <a:pt x="192" y="316"/>
                  </a:lnTo>
                  <a:lnTo>
                    <a:pt x="188" y="313"/>
                  </a:lnTo>
                  <a:lnTo>
                    <a:pt x="167" y="302"/>
                  </a:lnTo>
                  <a:lnTo>
                    <a:pt x="161" y="298"/>
                  </a:lnTo>
                  <a:lnTo>
                    <a:pt x="158" y="295"/>
                  </a:lnTo>
                  <a:lnTo>
                    <a:pt x="155" y="291"/>
                  </a:lnTo>
                  <a:lnTo>
                    <a:pt x="154" y="288"/>
                  </a:lnTo>
                  <a:lnTo>
                    <a:pt x="136" y="214"/>
                  </a:lnTo>
                  <a:lnTo>
                    <a:pt x="134" y="209"/>
                  </a:lnTo>
                  <a:lnTo>
                    <a:pt x="132" y="206"/>
                  </a:lnTo>
                  <a:lnTo>
                    <a:pt x="122" y="195"/>
                  </a:lnTo>
                  <a:lnTo>
                    <a:pt x="103" y="179"/>
                  </a:lnTo>
                  <a:lnTo>
                    <a:pt x="92" y="174"/>
                  </a:lnTo>
                  <a:lnTo>
                    <a:pt x="88" y="170"/>
                  </a:lnTo>
                  <a:lnTo>
                    <a:pt x="83" y="167"/>
                  </a:lnTo>
                  <a:lnTo>
                    <a:pt x="83" y="166"/>
                  </a:lnTo>
                  <a:lnTo>
                    <a:pt x="79" y="161"/>
                  </a:lnTo>
                  <a:lnTo>
                    <a:pt x="73" y="158"/>
                  </a:lnTo>
                  <a:lnTo>
                    <a:pt x="64" y="154"/>
                  </a:lnTo>
                  <a:lnTo>
                    <a:pt x="10" y="142"/>
                  </a:lnTo>
                  <a:lnTo>
                    <a:pt x="6" y="140"/>
                  </a:lnTo>
                  <a:lnTo>
                    <a:pt x="3" y="138"/>
                  </a:lnTo>
                  <a:lnTo>
                    <a:pt x="0" y="135"/>
                  </a:lnTo>
                  <a:lnTo>
                    <a:pt x="19" y="115"/>
                  </a:lnTo>
                  <a:lnTo>
                    <a:pt x="22" y="112"/>
                  </a:lnTo>
                  <a:lnTo>
                    <a:pt x="27" y="109"/>
                  </a:lnTo>
                  <a:lnTo>
                    <a:pt x="89" y="78"/>
                  </a:lnTo>
                  <a:lnTo>
                    <a:pt x="119" y="70"/>
                  </a:lnTo>
                  <a:lnTo>
                    <a:pt x="181" y="35"/>
                  </a:lnTo>
                  <a:lnTo>
                    <a:pt x="245" y="8"/>
                  </a:lnTo>
                  <a:lnTo>
                    <a:pt x="248" y="8"/>
                  </a:lnTo>
                  <a:lnTo>
                    <a:pt x="259" y="11"/>
                  </a:lnTo>
                  <a:lnTo>
                    <a:pt x="277" y="19"/>
                  </a:lnTo>
                  <a:lnTo>
                    <a:pt x="287" y="22"/>
                  </a:lnTo>
                  <a:lnTo>
                    <a:pt x="291" y="22"/>
                  </a:lnTo>
                  <a:lnTo>
                    <a:pt x="380" y="0"/>
                  </a:lnTo>
                  <a:lnTo>
                    <a:pt x="392" y="0"/>
                  </a:lnTo>
                  <a:lnTo>
                    <a:pt x="399" y="0"/>
                  </a:lnTo>
                  <a:lnTo>
                    <a:pt x="404" y="0"/>
                  </a:lnTo>
                  <a:lnTo>
                    <a:pt x="445" y="14"/>
                  </a:lnTo>
                  <a:lnTo>
                    <a:pt x="451" y="15"/>
                  </a:lnTo>
                  <a:lnTo>
                    <a:pt x="456" y="15"/>
                  </a:lnTo>
                  <a:lnTo>
                    <a:pt x="460" y="15"/>
                  </a:lnTo>
                  <a:lnTo>
                    <a:pt x="479" y="9"/>
                  </a:lnTo>
                  <a:lnTo>
                    <a:pt x="498" y="8"/>
                  </a:lnTo>
                  <a:lnTo>
                    <a:pt x="502" y="8"/>
                  </a:lnTo>
                  <a:lnTo>
                    <a:pt x="559" y="22"/>
                  </a:lnTo>
                  <a:lnTo>
                    <a:pt x="567" y="24"/>
                  </a:lnTo>
                  <a:lnTo>
                    <a:pt x="571" y="27"/>
                  </a:lnTo>
                  <a:lnTo>
                    <a:pt x="575" y="31"/>
                  </a:lnTo>
                  <a:lnTo>
                    <a:pt x="595" y="54"/>
                  </a:lnTo>
                  <a:lnTo>
                    <a:pt x="600" y="59"/>
                  </a:lnTo>
                  <a:lnTo>
                    <a:pt x="606" y="62"/>
                  </a:lnTo>
                  <a:lnTo>
                    <a:pt x="614" y="66"/>
                  </a:lnTo>
                  <a:lnTo>
                    <a:pt x="620" y="67"/>
                  </a:lnTo>
                  <a:lnTo>
                    <a:pt x="625" y="66"/>
                  </a:lnTo>
                  <a:lnTo>
                    <a:pt x="630" y="65"/>
                  </a:lnTo>
                  <a:lnTo>
                    <a:pt x="635" y="63"/>
                  </a:lnTo>
                  <a:lnTo>
                    <a:pt x="649" y="55"/>
                  </a:lnTo>
                  <a:lnTo>
                    <a:pt x="653" y="54"/>
                  </a:lnTo>
                  <a:lnTo>
                    <a:pt x="658" y="53"/>
                  </a:lnTo>
                  <a:lnTo>
                    <a:pt x="664" y="53"/>
                  </a:lnTo>
                  <a:lnTo>
                    <a:pt x="667" y="54"/>
                  </a:lnTo>
                  <a:lnTo>
                    <a:pt x="669" y="56"/>
                  </a:lnTo>
                  <a:lnTo>
                    <a:pt x="669" y="58"/>
                  </a:lnTo>
                  <a:lnTo>
                    <a:pt x="670" y="72"/>
                  </a:lnTo>
                  <a:lnTo>
                    <a:pt x="670" y="75"/>
                  </a:lnTo>
                  <a:lnTo>
                    <a:pt x="672" y="78"/>
                  </a:lnTo>
                  <a:lnTo>
                    <a:pt x="675" y="84"/>
                  </a:lnTo>
                  <a:lnTo>
                    <a:pt x="678" y="89"/>
                  </a:lnTo>
                  <a:lnTo>
                    <a:pt x="684" y="92"/>
                  </a:lnTo>
                  <a:lnTo>
                    <a:pt x="689" y="94"/>
                  </a:lnTo>
                  <a:lnTo>
                    <a:pt x="693" y="94"/>
                  </a:lnTo>
                  <a:lnTo>
                    <a:pt x="710" y="92"/>
                  </a:lnTo>
                  <a:lnTo>
                    <a:pt x="715" y="93"/>
                  </a:lnTo>
                  <a:lnTo>
                    <a:pt x="720" y="94"/>
                  </a:lnTo>
                  <a:lnTo>
                    <a:pt x="737" y="104"/>
                  </a:lnTo>
                  <a:lnTo>
                    <a:pt x="744" y="106"/>
                  </a:lnTo>
                  <a:lnTo>
                    <a:pt x="749" y="107"/>
                  </a:lnTo>
                  <a:lnTo>
                    <a:pt x="752" y="106"/>
                  </a:lnTo>
                  <a:lnTo>
                    <a:pt x="759" y="103"/>
                  </a:lnTo>
                  <a:lnTo>
                    <a:pt x="779" y="90"/>
                  </a:lnTo>
                  <a:lnTo>
                    <a:pt x="783" y="88"/>
                  </a:lnTo>
                  <a:lnTo>
                    <a:pt x="789" y="87"/>
                  </a:lnTo>
                  <a:lnTo>
                    <a:pt x="794" y="89"/>
                  </a:lnTo>
                  <a:lnTo>
                    <a:pt x="797" y="92"/>
                  </a:lnTo>
                  <a:lnTo>
                    <a:pt x="800" y="96"/>
                  </a:lnTo>
                  <a:lnTo>
                    <a:pt x="828" y="147"/>
                  </a:lnTo>
                  <a:lnTo>
                    <a:pt x="842" y="184"/>
                  </a:lnTo>
                  <a:lnTo>
                    <a:pt x="848" y="193"/>
                  </a:lnTo>
                  <a:lnTo>
                    <a:pt x="852" y="197"/>
                  </a:lnTo>
                  <a:lnTo>
                    <a:pt x="857" y="200"/>
                  </a:lnTo>
                  <a:lnTo>
                    <a:pt x="863" y="203"/>
                  </a:lnTo>
                  <a:lnTo>
                    <a:pt x="867" y="205"/>
                  </a:lnTo>
                  <a:lnTo>
                    <a:pt x="919" y="213"/>
                  </a:lnTo>
                  <a:lnTo>
                    <a:pt x="924" y="214"/>
                  </a:lnTo>
                  <a:lnTo>
                    <a:pt x="932" y="219"/>
                  </a:lnTo>
                  <a:lnTo>
                    <a:pt x="936" y="221"/>
                  </a:lnTo>
                  <a:lnTo>
                    <a:pt x="963" y="246"/>
                  </a:lnTo>
                  <a:lnTo>
                    <a:pt x="968" y="252"/>
                  </a:lnTo>
                  <a:lnTo>
                    <a:pt x="970" y="258"/>
                  </a:lnTo>
                  <a:lnTo>
                    <a:pt x="970" y="258"/>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6" name="Freeform 12">
              <a:extLst>
                <a:ext uri="{FF2B5EF4-FFF2-40B4-BE49-F238E27FC236}"/>
              </a:extLst>
            </p:cNvPr>
            <p:cNvSpPr>
              <a:spLocks noEditPoints="1"/>
            </p:cNvSpPr>
            <p:nvPr/>
          </p:nvSpPr>
          <p:spPr bwMode="auto">
            <a:xfrm>
              <a:off x="1698625" y="2817456"/>
              <a:ext cx="1487395" cy="1327342"/>
            </a:xfrm>
            <a:custGeom>
              <a:avLst/>
              <a:gdLst>
                <a:gd name="T0" fmla="*/ 402 w 936"/>
                <a:gd name="T1" fmla="*/ 671 h 836"/>
                <a:gd name="T2" fmla="*/ 385 w 936"/>
                <a:gd name="T3" fmla="*/ 670 h 836"/>
                <a:gd name="T4" fmla="*/ 396 w 936"/>
                <a:gd name="T5" fmla="*/ 676 h 836"/>
                <a:gd name="T6" fmla="*/ 369 w 936"/>
                <a:gd name="T7" fmla="*/ 660 h 836"/>
                <a:gd name="T8" fmla="*/ 382 w 936"/>
                <a:gd name="T9" fmla="*/ 646 h 836"/>
                <a:gd name="T10" fmla="*/ 386 w 936"/>
                <a:gd name="T11" fmla="*/ 667 h 836"/>
                <a:gd name="T12" fmla="*/ 367 w 936"/>
                <a:gd name="T13" fmla="*/ 655 h 836"/>
                <a:gd name="T14" fmla="*/ 360 w 936"/>
                <a:gd name="T15" fmla="*/ 646 h 836"/>
                <a:gd name="T16" fmla="*/ 389 w 936"/>
                <a:gd name="T17" fmla="*/ 640 h 836"/>
                <a:gd name="T18" fmla="*/ 346 w 936"/>
                <a:gd name="T19" fmla="*/ 645 h 836"/>
                <a:gd name="T20" fmla="*/ 327 w 936"/>
                <a:gd name="T21" fmla="*/ 640 h 836"/>
                <a:gd name="T22" fmla="*/ 328 w 936"/>
                <a:gd name="T23" fmla="*/ 632 h 836"/>
                <a:gd name="T24" fmla="*/ 331 w 936"/>
                <a:gd name="T25" fmla="*/ 617 h 836"/>
                <a:gd name="T26" fmla="*/ 337 w 936"/>
                <a:gd name="T27" fmla="*/ 614 h 836"/>
                <a:gd name="T28" fmla="*/ 832 w 936"/>
                <a:gd name="T29" fmla="*/ 196 h 836"/>
                <a:gd name="T30" fmla="*/ 935 w 936"/>
                <a:gd name="T31" fmla="*/ 342 h 836"/>
                <a:gd name="T32" fmla="*/ 871 w 936"/>
                <a:gd name="T33" fmla="*/ 434 h 836"/>
                <a:gd name="T34" fmla="*/ 704 w 936"/>
                <a:gd name="T35" fmla="*/ 395 h 836"/>
                <a:gd name="T36" fmla="*/ 661 w 936"/>
                <a:gd name="T37" fmla="*/ 399 h 836"/>
                <a:gd name="T38" fmla="*/ 611 w 936"/>
                <a:gd name="T39" fmla="*/ 388 h 836"/>
                <a:gd name="T40" fmla="*/ 563 w 936"/>
                <a:gd name="T41" fmla="*/ 359 h 836"/>
                <a:gd name="T42" fmla="*/ 485 w 936"/>
                <a:gd name="T43" fmla="*/ 322 h 836"/>
                <a:gd name="T44" fmla="*/ 369 w 936"/>
                <a:gd name="T45" fmla="*/ 343 h 836"/>
                <a:gd name="T46" fmla="*/ 406 w 936"/>
                <a:gd name="T47" fmla="*/ 381 h 836"/>
                <a:gd name="T48" fmla="*/ 448 w 936"/>
                <a:gd name="T49" fmla="*/ 454 h 836"/>
                <a:gd name="T50" fmla="*/ 449 w 936"/>
                <a:gd name="T51" fmla="*/ 545 h 836"/>
                <a:gd name="T52" fmla="*/ 510 w 936"/>
                <a:gd name="T53" fmla="*/ 586 h 836"/>
                <a:gd name="T54" fmla="*/ 575 w 936"/>
                <a:gd name="T55" fmla="*/ 664 h 836"/>
                <a:gd name="T56" fmla="*/ 536 w 936"/>
                <a:gd name="T57" fmla="*/ 789 h 836"/>
                <a:gd name="T58" fmla="*/ 475 w 936"/>
                <a:gd name="T59" fmla="*/ 817 h 836"/>
                <a:gd name="T60" fmla="*/ 443 w 936"/>
                <a:gd name="T61" fmla="*/ 787 h 836"/>
                <a:gd name="T62" fmla="*/ 451 w 936"/>
                <a:gd name="T63" fmla="*/ 754 h 836"/>
                <a:gd name="T64" fmla="*/ 433 w 936"/>
                <a:gd name="T65" fmla="*/ 701 h 836"/>
                <a:gd name="T66" fmla="*/ 409 w 936"/>
                <a:gd name="T67" fmla="*/ 659 h 836"/>
                <a:gd name="T68" fmla="*/ 386 w 936"/>
                <a:gd name="T69" fmla="*/ 626 h 836"/>
                <a:gd name="T70" fmla="*/ 354 w 936"/>
                <a:gd name="T71" fmla="*/ 604 h 836"/>
                <a:gd name="T72" fmla="*/ 354 w 936"/>
                <a:gd name="T73" fmla="*/ 561 h 836"/>
                <a:gd name="T74" fmla="*/ 259 w 936"/>
                <a:gd name="T75" fmla="*/ 429 h 836"/>
                <a:gd name="T76" fmla="*/ 205 w 936"/>
                <a:gd name="T77" fmla="*/ 346 h 836"/>
                <a:gd name="T78" fmla="*/ 156 w 936"/>
                <a:gd name="T79" fmla="*/ 271 h 836"/>
                <a:gd name="T80" fmla="*/ 128 w 936"/>
                <a:gd name="T81" fmla="*/ 221 h 836"/>
                <a:gd name="T82" fmla="*/ 107 w 936"/>
                <a:gd name="T83" fmla="*/ 182 h 836"/>
                <a:gd name="T84" fmla="*/ 91 w 936"/>
                <a:gd name="T85" fmla="*/ 174 h 836"/>
                <a:gd name="T86" fmla="*/ 60 w 936"/>
                <a:gd name="T87" fmla="*/ 171 h 836"/>
                <a:gd name="T88" fmla="*/ 45 w 936"/>
                <a:gd name="T89" fmla="*/ 173 h 836"/>
                <a:gd name="T90" fmla="*/ 40 w 936"/>
                <a:gd name="T91" fmla="*/ 172 h 836"/>
                <a:gd name="T92" fmla="*/ 33 w 936"/>
                <a:gd name="T93" fmla="*/ 171 h 836"/>
                <a:gd name="T94" fmla="*/ 20 w 936"/>
                <a:gd name="T95" fmla="*/ 164 h 836"/>
                <a:gd name="T96" fmla="*/ 11 w 936"/>
                <a:gd name="T97" fmla="*/ 178 h 836"/>
                <a:gd name="T98" fmla="*/ 0 w 936"/>
                <a:gd name="T99" fmla="*/ 167 h 836"/>
                <a:gd name="T100" fmla="*/ 15 w 936"/>
                <a:gd name="T101" fmla="*/ 154 h 836"/>
                <a:gd name="T102" fmla="*/ 17 w 936"/>
                <a:gd name="T103" fmla="*/ 137 h 836"/>
                <a:gd name="T104" fmla="*/ 37 w 936"/>
                <a:gd name="T105" fmla="*/ 50 h 836"/>
                <a:gd name="T106" fmla="*/ 70 w 936"/>
                <a:gd name="T107" fmla="*/ 19 h 836"/>
                <a:gd name="T108" fmla="*/ 251 w 936"/>
                <a:gd name="T109" fmla="*/ 11 h 836"/>
                <a:gd name="T110" fmla="*/ 429 w 936"/>
                <a:gd name="T111" fmla="*/ 76 h 836"/>
                <a:gd name="T112" fmla="*/ 526 w 936"/>
                <a:gd name="T113" fmla="*/ 23 h 836"/>
                <a:gd name="T114" fmla="*/ 557 w 936"/>
                <a:gd name="T115" fmla="*/ 129 h 836"/>
                <a:gd name="T116" fmla="*/ 672 w 936"/>
                <a:gd name="T117" fmla="*/ 145 h 836"/>
                <a:gd name="T118" fmla="*/ 740 w 936"/>
                <a:gd name="T119" fmla="*/ 157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6" h="836">
                  <a:moveTo>
                    <a:pt x="406" y="664"/>
                  </a:moveTo>
                  <a:lnTo>
                    <a:pt x="407" y="668"/>
                  </a:lnTo>
                  <a:lnTo>
                    <a:pt x="409" y="667"/>
                  </a:lnTo>
                  <a:lnTo>
                    <a:pt x="410" y="673"/>
                  </a:lnTo>
                  <a:lnTo>
                    <a:pt x="412" y="675"/>
                  </a:lnTo>
                  <a:lnTo>
                    <a:pt x="412" y="675"/>
                  </a:lnTo>
                  <a:lnTo>
                    <a:pt x="410" y="675"/>
                  </a:lnTo>
                  <a:lnTo>
                    <a:pt x="409" y="677"/>
                  </a:lnTo>
                  <a:lnTo>
                    <a:pt x="406" y="675"/>
                  </a:lnTo>
                  <a:lnTo>
                    <a:pt x="406" y="672"/>
                  </a:lnTo>
                  <a:lnTo>
                    <a:pt x="406" y="671"/>
                  </a:lnTo>
                  <a:lnTo>
                    <a:pt x="404" y="671"/>
                  </a:lnTo>
                  <a:lnTo>
                    <a:pt x="402" y="671"/>
                  </a:lnTo>
                  <a:lnTo>
                    <a:pt x="400" y="670"/>
                  </a:lnTo>
                  <a:lnTo>
                    <a:pt x="400" y="668"/>
                  </a:lnTo>
                  <a:lnTo>
                    <a:pt x="399" y="668"/>
                  </a:lnTo>
                  <a:lnTo>
                    <a:pt x="397" y="669"/>
                  </a:lnTo>
                  <a:lnTo>
                    <a:pt x="397" y="668"/>
                  </a:lnTo>
                  <a:lnTo>
                    <a:pt x="398" y="664"/>
                  </a:lnTo>
                  <a:lnTo>
                    <a:pt x="399" y="662"/>
                  </a:lnTo>
                  <a:lnTo>
                    <a:pt x="401" y="662"/>
                  </a:lnTo>
                  <a:lnTo>
                    <a:pt x="404" y="662"/>
                  </a:lnTo>
                  <a:lnTo>
                    <a:pt x="406" y="664"/>
                  </a:lnTo>
                  <a:close/>
                  <a:moveTo>
                    <a:pt x="376" y="666"/>
                  </a:moveTo>
                  <a:lnTo>
                    <a:pt x="379" y="667"/>
                  </a:lnTo>
                  <a:lnTo>
                    <a:pt x="385" y="670"/>
                  </a:lnTo>
                  <a:lnTo>
                    <a:pt x="388" y="670"/>
                  </a:lnTo>
                  <a:lnTo>
                    <a:pt x="390" y="670"/>
                  </a:lnTo>
                  <a:lnTo>
                    <a:pt x="391" y="671"/>
                  </a:lnTo>
                  <a:lnTo>
                    <a:pt x="392" y="673"/>
                  </a:lnTo>
                  <a:lnTo>
                    <a:pt x="389" y="673"/>
                  </a:lnTo>
                  <a:lnTo>
                    <a:pt x="388" y="676"/>
                  </a:lnTo>
                  <a:lnTo>
                    <a:pt x="390" y="677"/>
                  </a:lnTo>
                  <a:lnTo>
                    <a:pt x="391" y="677"/>
                  </a:lnTo>
                  <a:lnTo>
                    <a:pt x="393" y="675"/>
                  </a:lnTo>
                  <a:lnTo>
                    <a:pt x="396" y="673"/>
                  </a:lnTo>
                  <a:lnTo>
                    <a:pt x="399" y="673"/>
                  </a:lnTo>
                  <a:lnTo>
                    <a:pt x="399" y="674"/>
                  </a:lnTo>
                  <a:lnTo>
                    <a:pt x="396" y="676"/>
                  </a:lnTo>
                  <a:lnTo>
                    <a:pt x="395" y="677"/>
                  </a:lnTo>
                  <a:lnTo>
                    <a:pt x="393" y="678"/>
                  </a:lnTo>
                  <a:lnTo>
                    <a:pt x="391" y="682"/>
                  </a:lnTo>
                  <a:lnTo>
                    <a:pt x="389" y="684"/>
                  </a:lnTo>
                  <a:lnTo>
                    <a:pt x="385" y="682"/>
                  </a:lnTo>
                  <a:lnTo>
                    <a:pt x="383" y="678"/>
                  </a:lnTo>
                  <a:lnTo>
                    <a:pt x="379" y="676"/>
                  </a:lnTo>
                  <a:lnTo>
                    <a:pt x="372" y="668"/>
                  </a:lnTo>
                  <a:lnTo>
                    <a:pt x="371" y="667"/>
                  </a:lnTo>
                  <a:lnTo>
                    <a:pt x="372" y="666"/>
                  </a:lnTo>
                  <a:lnTo>
                    <a:pt x="372" y="664"/>
                  </a:lnTo>
                  <a:lnTo>
                    <a:pt x="370" y="662"/>
                  </a:lnTo>
                  <a:lnTo>
                    <a:pt x="369" y="660"/>
                  </a:lnTo>
                  <a:lnTo>
                    <a:pt x="369" y="659"/>
                  </a:lnTo>
                  <a:lnTo>
                    <a:pt x="370" y="659"/>
                  </a:lnTo>
                  <a:lnTo>
                    <a:pt x="372" y="661"/>
                  </a:lnTo>
                  <a:lnTo>
                    <a:pt x="375" y="664"/>
                  </a:lnTo>
                  <a:lnTo>
                    <a:pt x="376" y="666"/>
                  </a:lnTo>
                  <a:lnTo>
                    <a:pt x="376" y="666"/>
                  </a:lnTo>
                  <a:close/>
                  <a:moveTo>
                    <a:pt x="381" y="651"/>
                  </a:moveTo>
                  <a:lnTo>
                    <a:pt x="381" y="652"/>
                  </a:lnTo>
                  <a:lnTo>
                    <a:pt x="379" y="652"/>
                  </a:lnTo>
                  <a:lnTo>
                    <a:pt x="376" y="649"/>
                  </a:lnTo>
                  <a:lnTo>
                    <a:pt x="377" y="647"/>
                  </a:lnTo>
                  <a:lnTo>
                    <a:pt x="379" y="645"/>
                  </a:lnTo>
                  <a:lnTo>
                    <a:pt x="382" y="646"/>
                  </a:lnTo>
                  <a:lnTo>
                    <a:pt x="384" y="647"/>
                  </a:lnTo>
                  <a:lnTo>
                    <a:pt x="384" y="649"/>
                  </a:lnTo>
                  <a:lnTo>
                    <a:pt x="381" y="651"/>
                  </a:lnTo>
                  <a:lnTo>
                    <a:pt x="381" y="651"/>
                  </a:lnTo>
                  <a:close/>
                  <a:moveTo>
                    <a:pt x="360" y="646"/>
                  </a:moveTo>
                  <a:lnTo>
                    <a:pt x="368" y="652"/>
                  </a:lnTo>
                  <a:lnTo>
                    <a:pt x="369" y="653"/>
                  </a:lnTo>
                  <a:lnTo>
                    <a:pt x="369" y="655"/>
                  </a:lnTo>
                  <a:lnTo>
                    <a:pt x="372" y="656"/>
                  </a:lnTo>
                  <a:lnTo>
                    <a:pt x="375" y="657"/>
                  </a:lnTo>
                  <a:lnTo>
                    <a:pt x="379" y="660"/>
                  </a:lnTo>
                  <a:lnTo>
                    <a:pt x="384" y="665"/>
                  </a:lnTo>
                  <a:lnTo>
                    <a:pt x="386" y="667"/>
                  </a:lnTo>
                  <a:lnTo>
                    <a:pt x="386" y="667"/>
                  </a:lnTo>
                  <a:lnTo>
                    <a:pt x="384" y="668"/>
                  </a:lnTo>
                  <a:lnTo>
                    <a:pt x="382" y="666"/>
                  </a:lnTo>
                  <a:lnTo>
                    <a:pt x="380" y="664"/>
                  </a:lnTo>
                  <a:lnTo>
                    <a:pt x="378" y="664"/>
                  </a:lnTo>
                  <a:lnTo>
                    <a:pt x="376" y="661"/>
                  </a:lnTo>
                  <a:lnTo>
                    <a:pt x="375" y="661"/>
                  </a:lnTo>
                  <a:lnTo>
                    <a:pt x="374" y="661"/>
                  </a:lnTo>
                  <a:lnTo>
                    <a:pt x="372" y="661"/>
                  </a:lnTo>
                  <a:lnTo>
                    <a:pt x="370" y="659"/>
                  </a:lnTo>
                  <a:lnTo>
                    <a:pt x="369" y="657"/>
                  </a:lnTo>
                  <a:lnTo>
                    <a:pt x="368" y="657"/>
                  </a:lnTo>
                  <a:lnTo>
                    <a:pt x="367" y="655"/>
                  </a:lnTo>
                  <a:lnTo>
                    <a:pt x="367" y="654"/>
                  </a:lnTo>
                  <a:lnTo>
                    <a:pt x="365" y="653"/>
                  </a:lnTo>
                  <a:lnTo>
                    <a:pt x="362" y="653"/>
                  </a:lnTo>
                  <a:lnTo>
                    <a:pt x="362" y="652"/>
                  </a:lnTo>
                  <a:lnTo>
                    <a:pt x="361" y="649"/>
                  </a:lnTo>
                  <a:lnTo>
                    <a:pt x="359" y="647"/>
                  </a:lnTo>
                  <a:lnTo>
                    <a:pt x="355" y="648"/>
                  </a:lnTo>
                  <a:lnTo>
                    <a:pt x="354" y="649"/>
                  </a:lnTo>
                  <a:lnTo>
                    <a:pt x="353" y="650"/>
                  </a:lnTo>
                  <a:lnTo>
                    <a:pt x="353" y="648"/>
                  </a:lnTo>
                  <a:lnTo>
                    <a:pt x="354" y="646"/>
                  </a:lnTo>
                  <a:lnTo>
                    <a:pt x="356" y="645"/>
                  </a:lnTo>
                  <a:lnTo>
                    <a:pt x="360" y="646"/>
                  </a:lnTo>
                  <a:lnTo>
                    <a:pt x="360" y="646"/>
                  </a:lnTo>
                  <a:close/>
                  <a:moveTo>
                    <a:pt x="393" y="642"/>
                  </a:moveTo>
                  <a:lnTo>
                    <a:pt x="393" y="644"/>
                  </a:lnTo>
                  <a:lnTo>
                    <a:pt x="391" y="643"/>
                  </a:lnTo>
                  <a:lnTo>
                    <a:pt x="391" y="645"/>
                  </a:lnTo>
                  <a:lnTo>
                    <a:pt x="391" y="645"/>
                  </a:lnTo>
                  <a:lnTo>
                    <a:pt x="392" y="648"/>
                  </a:lnTo>
                  <a:lnTo>
                    <a:pt x="393" y="653"/>
                  </a:lnTo>
                  <a:lnTo>
                    <a:pt x="393" y="655"/>
                  </a:lnTo>
                  <a:lnTo>
                    <a:pt x="391" y="652"/>
                  </a:lnTo>
                  <a:lnTo>
                    <a:pt x="390" y="651"/>
                  </a:lnTo>
                  <a:lnTo>
                    <a:pt x="389" y="649"/>
                  </a:lnTo>
                  <a:lnTo>
                    <a:pt x="389" y="640"/>
                  </a:lnTo>
                  <a:lnTo>
                    <a:pt x="390" y="639"/>
                  </a:lnTo>
                  <a:lnTo>
                    <a:pt x="391" y="638"/>
                  </a:lnTo>
                  <a:lnTo>
                    <a:pt x="392" y="639"/>
                  </a:lnTo>
                  <a:lnTo>
                    <a:pt x="393" y="641"/>
                  </a:lnTo>
                  <a:lnTo>
                    <a:pt x="393" y="642"/>
                  </a:lnTo>
                  <a:lnTo>
                    <a:pt x="393" y="642"/>
                  </a:lnTo>
                  <a:close/>
                  <a:moveTo>
                    <a:pt x="333" y="635"/>
                  </a:moveTo>
                  <a:lnTo>
                    <a:pt x="338" y="639"/>
                  </a:lnTo>
                  <a:lnTo>
                    <a:pt x="340" y="641"/>
                  </a:lnTo>
                  <a:lnTo>
                    <a:pt x="342" y="641"/>
                  </a:lnTo>
                  <a:lnTo>
                    <a:pt x="344" y="641"/>
                  </a:lnTo>
                  <a:lnTo>
                    <a:pt x="345" y="644"/>
                  </a:lnTo>
                  <a:lnTo>
                    <a:pt x="346" y="645"/>
                  </a:lnTo>
                  <a:lnTo>
                    <a:pt x="347" y="645"/>
                  </a:lnTo>
                  <a:lnTo>
                    <a:pt x="349" y="643"/>
                  </a:lnTo>
                  <a:lnTo>
                    <a:pt x="350" y="643"/>
                  </a:lnTo>
                  <a:lnTo>
                    <a:pt x="353" y="645"/>
                  </a:lnTo>
                  <a:lnTo>
                    <a:pt x="353" y="646"/>
                  </a:lnTo>
                  <a:lnTo>
                    <a:pt x="351" y="648"/>
                  </a:lnTo>
                  <a:lnTo>
                    <a:pt x="350" y="648"/>
                  </a:lnTo>
                  <a:lnTo>
                    <a:pt x="349" y="648"/>
                  </a:lnTo>
                  <a:lnTo>
                    <a:pt x="346" y="647"/>
                  </a:lnTo>
                  <a:lnTo>
                    <a:pt x="333" y="639"/>
                  </a:lnTo>
                  <a:lnTo>
                    <a:pt x="330" y="639"/>
                  </a:lnTo>
                  <a:lnTo>
                    <a:pt x="329" y="641"/>
                  </a:lnTo>
                  <a:lnTo>
                    <a:pt x="327" y="640"/>
                  </a:lnTo>
                  <a:lnTo>
                    <a:pt x="323" y="638"/>
                  </a:lnTo>
                  <a:lnTo>
                    <a:pt x="322" y="635"/>
                  </a:lnTo>
                  <a:lnTo>
                    <a:pt x="321" y="631"/>
                  </a:lnTo>
                  <a:lnTo>
                    <a:pt x="322" y="628"/>
                  </a:lnTo>
                  <a:lnTo>
                    <a:pt x="326" y="624"/>
                  </a:lnTo>
                  <a:lnTo>
                    <a:pt x="328" y="621"/>
                  </a:lnTo>
                  <a:lnTo>
                    <a:pt x="330" y="620"/>
                  </a:lnTo>
                  <a:lnTo>
                    <a:pt x="330" y="622"/>
                  </a:lnTo>
                  <a:lnTo>
                    <a:pt x="329" y="624"/>
                  </a:lnTo>
                  <a:lnTo>
                    <a:pt x="326" y="628"/>
                  </a:lnTo>
                  <a:lnTo>
                    <a:pt x="326" y="630"/>
                  </a:lnTo>
                  <a:lnTo>
                    <a:pt x="327" y="631"/>
                  </a:lnTo>
                  <a:lnTo>
                    <a:pt x="328" y="632"/>
                  </a:lnTo>
                  <a:lnTo>
                    <a:pt x="330" y="632"/>
                  </a:lnTo>
                  <a:lnTo>
                    <a:pt x="331" y="633"/>
                  </a:lnTo>
                  <a:lnTo>
                    <a:pt x="333" y="635"/>
                  </a:lnTo>
                  <a:lnTo>
                    <a:pt x="333" y="635"/>
                  </a:lnTo>
                  <a:close/>
                  <a:moveTo>
                    <a:pt x="337" y="618"/>
                  </a:moveTo>
                  <a:lnTo>
                    <a:pt x="338" y="619"/>
                  </a:lnTo>
                  <a:lnTo>
                    <a:pt x="340" y="618"/>
                  </a:lnTo>
                  <a:lnTo>
                    <a:pt x="340" y="619"/>
                  </a:lnTo>
                  <a:lnTo>
                    <a:pt x="339" y="621"/>
                  </a:lnTo>
                  <a:lnTo>
                    <a:pt x="338" y="622"/>
                  </a:lnTo>
                  <a:lnTo>
                    <a:pt x="336" y="621"/>
                  </a:lnTo>
                  <a:lnTo>
                    <a:pt x="332" y="618"/>
                  </a:lnTo>
                  <a:lnTo>
                    <a:pt x="331" y="617"/>
                  </a:lnTo>
                  <a:lnTo>
                    <a:pt x="330" y="615"/>
                  </a:lnTo>
                  <a:lnTo>
                    <a:pt x="329" y="609"/>
                  </a:lnTo>
                  <a:lnTo>
                    <a:pt x="329" y="602"/>
                  </a:lnTo>
                  <a:lnTo>
                    <a:pt x="331" y="595"/>
                  </a:lnTo>
                  <a:lnTo>
                    <a:pt x="336" y="592"/>
                  </a:lnTo>
                  <a:lnTo>
                    <a:pt x="333" y="596"/>
                  </a:lnTo>
                  <a:lnTo>
                    <a:pt x="331" y="599"/>
                  </a:lnTo>
                  <a:lnTo>
                    <a:pt x="331" y="603"/>
                  </a:lnTo>
                  <a:lnTo>
                    <a:pt x="332" y="606"/>
                  </a:lnTo>
                  <a:lnTo>
                    <a:pt x="336" y="609"/>
                  </a:lnTo>
                  <a:lnTo>
                    <a:pt x="338" y="610"/>
                  </a:lnTo>
                  <a:lnTo>
                    <a:pt x="338" y="611"/>
                  </a:lnTo>
                  <a:lnTo>
                    <a:pt x="337" y="614"/>
                  </a:lnTo>
                  <a:lnTo>
                    <a:pt x="337" y="617"/>
                  </a:lnTo>
                  <a:lnTo>
                    <a:pt x="337" y="618"/>
                  </a:lnTo>
                  <a:close/>
                  <a:moveTo>
                    <a:pt x="740" y="157"/>
                  </a:moveTo>
                  <a:lnTo>
                    <a:pt x="743" y="160"/>
                  </a:lnTo>
                  <a:lnTo>
                    <a:pt x="746" y="162"/>
                  </a:lnTo>
                  <a:lnTo>
                    <a:pt x="750" y="164"/>
                  </a:lnTo>
                  <a:lnTo>
                    <a:pt x="804" y="176"/>
                  </a:lnTo>
                  <a:lnTo>
                    <a:pt x="813" y="180"/>
                  </a:lnTo>
                  <a:lnTo>
                    <a:pt x="819" y="183"/>
                  </a:lnTo>
                  <a:lnTo>
                    <a:pt x="823" y="188"/>
                  </a:lnTo>
                  <a:lnTo>
                    <a:pt x="823" y="189"/>
                  </a:lnTo>
                  <a:lnTo>
                    <a:pt x="828" y="192"/>
                  </a:lnTo>
                  <a:lnTo>
                    <a:pt x="832" y="196"/>
                  </a:lnTo>
                  <a:lnTo>
                    <a:pt x="843" y="201"/>
                  </a:lnTo>
                  <a:lnTo>
                    <a:pt x="862" y="217"/>
                  </a:lnTo>
                  <a:lnTo>
                    <a:pt x="872" y="228"/>
                  </a:lnTo>
                  <a:lnTo>
                    <a:pt x="874" y="231"/>
                  </a:lnTo>
                  <a:lnTo>
                    <a:pt x="876" y="236"/>
                  </a:lnTo>
                  <a:lnTo>
                    <a:pt x="894" y="310"/>
                  </a:lnTo>
                  <a:lnTo>
                    <a:pt x="895" y="313"/>
                  </a:lnTo>
                  <a:lnTo>
                    <a:pt x="898" y="317"/>
                  </a:lnTo>
                  <a:lnTo>
                    <a:pt x="901" y="320"/>
                  </a:lnTo>
                  <a:lnTo>
                    <a:pt x="907" y="324"/>
                  </a:lnTo>
                  <a:lnTo>
                    <a:pt x="928" y="335"/>
                  </a:lnTo>
                  <a:lnTo>
                    <a:pt x="932" y="338"/>
                  </a:lnTo>
                  <a:lnTo>
                    <a:pt x="935" y="342"/>
                  </a:lnTo>
                  <a:lnTo>
                    <a:pt x="936" y="346"/>
                  </a:lnTo>
                  <a:lnTo>
                    <a:pt x="935" y="350"/>
                  </a:lnTo>
                  <a:lnTo>
                    <a:pt x="933" y="354"/>
                  </a:lnTo>
                  <a:lnTo>
                    <a:pt x="932" y="358"/>
                  </a:lnTo>
                  <a:lnTo>
                    <a:pt x="928" y="361"/>
                  </a:lnTo>
                  <a:lnTo>
                    <a:pt x="907" y="380"/>
                  </a:lnTo>
                  <a:lnTo>
                    <a:pt x="900" y="389"/>
                  </a:lnTo>
                  <a:lnTo>
                    <a:pt x="895" y="400"/>
                  </a:lnTo>
                  <a:lnTo>
                    <a:pt x="885" y="430"/>
                  </a:lnTo>
                  <a:lnTo>
                    <a:pt x="882" y="436"/>
                  </a:lnTo>
                  <a:lnTo>
                    <a:pt x="879" y="440"/>
                  </a:lnTo>
                  <a:lnTo>
                    <a:pt x="877" y="442"/>
                  </a:lnTo>
                  <a:lnTo>
                    <a:pt x="871" y="434"/>
                  </a:lnTo>
                  <a:lnTo>
                    <a:pt x="868" y="431"/>
                  </a:lnTo>
                  <a:lnTo>
                    <a:pt x="865" y="429"/>
                  </a:lnTo>
                  <a:lnTo>
                    <a:pt x="860" y="428"/>
                  </a:lnTo>
                  <a:lnTo>
                    <a:pt x="791" y="440"/>
                  </a:lnTo>
                  <a:lnTo>
                    <a:pt x="775" y="440"/>
                  </a:lnTo>
                  <a:lnTo>
                    <a:pt x="766" y="438"/>
                  </a:lnTo>
                  <a:lnTo>
                    <a:pt x="760" y="436"/>
                  </a:lnTo>
                  <a:lnTo>
                    <a:pt x="739" y="420"/>
                  </a:lnTo>
                  <a:lnTo>
                    <a:pt x="718" y="413"/>
                  </a:lnTo>
                  <a:lnTo>
                    <a:pt x="713" y="410"/>
                  </a:lnTo>
                  <a:lnTo>
                    <a:pt x="708" y="406"/>
                  </a:lnTo>
                  <a:lnTo>
                    <a:pt x="706" y="399"/>
                  </a:lnTo>
                  <a:lnTo>
                    <a:pt x="704" y="395"/>
                  </a:lnTo>
                  <a:lnTo>
                    <a:pt x="700" y="392"/>
                  </a:lnTo>
                  <a:lnTo>
                    <a:pt x="697" y="391"/>
                  </a:lnTo>
                  <a:lnTo>
                    <a:pt x="695" y="394"/>
                  </a:lnTo>
                  <a:lnTo>
                    <a:pt x="694" y="396"/>
                  </a:lnTo>
                  <a:lnTo>
                    <a:pt x="695" y="401"/>
                  </a:lnTo>
                  <a:lnTo>
                    <a:pt x="696" y="404"/>
                  </a:lnTo>
                  <a:lnTo>
                    <a:pt x="695" y="407"/>
                  </a:lnTo>
                  <a:lnTo>
                    <a:pt x="691" y="409"/>
                  </a:lnTo>
                  <a:lnTo>
                    <a:pt x="687" y="409"/>
                  </a:lnTo>
                  <a:lnTo>
                    <a:pt x="683" y="407"/>
                  </a:lnTo>
                  <a:lnTo>
                    <a:pt x="670" y="401"/>
                  </a:lnTo>
                  <a:lnTo>
                    <a:pt x="665" y="400"/>
                  </a:lnTo>
                  <a:lnTo>
                    <a:pt x="661" y="399"/>
                  </a:lnTo>
                  <a:lnTo>
                    <a:pt x="657" y="400"/>
                  </a:lnTo>
                  <a:lnTo>
                    <a:pt x="655" y="401"/>
                  </a:lnTo>
                  <a:lnTo>
                    <a:pt x="640" y="413"/>
                  </a:lnTo>
                  <a:lnTo>
                    <a:pt x="635" y="416"/>
                  </a:lnTo>
                  <a:lnTo>
                    <a:pt x="630" y="418"/>
                  </a:lnTo>
                  <a:lnTo>
                    <a:pt x="627" y="417"/>
                  </a:lnTo>
                  <a:lnTo>
                    <a:pt x="625" y="413"/>
                  </a:lnTo>
                  <a:lnTo>
                    <a:pt x="625" y="410"/>
                  </a:lnTo>
                  <a:lnTo>
                    <a:pt x="626" y="406"/>
                  </a:lnTo>
                  <a:lnTo>
                    <a:pt x="626" y="403"/>
                  </a:lnTo>
                  <a:lnTo>
                    <a:pt x="625" y="399"/>
                  </a:lnTo>
                  <a:lnTo>
                    <a:pt x="622" y="396"/>
                  </a:lnTo>
                  <a:lnTo>
                    <a:pt x="611" y="388"/>
                  </a:lnTo>
                  <a:lnTo>
                    <a:pt x="609" y="386"/>
                  </a:lnTo>
                  <a:lnTo>
                    <a:pt x="608" y="382"/>
                  </a:lnTo>
                  <a:lnTo>
                    <a:pt x="607" y="380"/>
                  </a:lnTo>
                  <a:lnTo>
                    <a:pt x="608" y="376"/>
                  </a:lnTo>
                  <a:lnTo>
                    <a:pt x="607" y="374"/>
                  </a:lnTo>
                  <a:lnTo>
                    <a:pt x="605" y="372"/>
                  </a:lnTo>
                  <a:lnTo>
                    <a:pt x="602" y="369"/>
                  </a:lnTo>
                  <a:lnTo>
                    <a:pt x="600" y="368"/>
                  </a:lnTo>
                  <a:lnTo>
                    <a:pt x="595" y="367"/>
                  </a:lnTo>
                  <a:lnTo>
                    <a:pt x="579" y="367"/>
                  </a:lnTo>
                  <a:lnTo>
                    <a:pt x="572" y="365"/>
                  </a:lnTo>
                  <a:lnTo>
                    <a:pt x="566" y="363"/>
                  </a:lnTo>
                  <a:lnTo>
                    <a:pt x="563" y="359"/>
                  </a:lnTo>
                  <a:lnTo>
                    <a:pt x="554" y="345"/>
                  </a:lnTo>
                  <a:lnTo>
                    <a:pt x="550" y="339"/>
                  </a:lnTo>
                  <a:lnTo>
                    <a:pt x="547" y="331"/>
                  </a:lnTo>
                  <a:lnTo>
                    <a:pt x="542" y="314"/>
                  </a:lnTo>
                  <a:lnTo>
                    <a:pt x="541" y="311"/>
                  </a:lnTo>
                  <a:lnTo>
                    <a:pt x="538" y="307"/>
                  </a:lnTo>
                  <a:lnTo>
                    <a:pt x="534" y="304"/>
                  </a:lnTo>
                  <a:lnTo>
                    <a:pt x="531" y="304"/>
                  </a:lnTo>
                  <a:lnTo>
                    <a:pt x="528" y="304"/>
                  </a:lnTo>
                  <a:lnTo>
                    <a:pt x="497" y="320"/>
                  </a:lnTo>
                  <a:lnTo>
                    <a:pt x="493" y="321"/>
                  </a:lnTo>
                  <a:lnTo>
                    <a:pt x="489" y="322"/>
                  </a:lnTo>
                  <a:lnTo>
                    <a:pt x="485" y="322"/>
                  </a:lnTo>
                  <a:lnTo>
                    <a:pt x="478" y="321"/>
                  </a:lnTo>
                  <a:lnTo>
                    <a:pt x="474" y="319"/>
                  </a:lnTo>
                  <a:lnTo>
                    <a:pt x="459" y="310"/>
                  </a:lnTo>
                  <a:lnTo>
                    <a:pt x="451" y="307"/>
                  </a:lnTo>
                  <a:lnTo>
                    <a:pt x="446" y="305"/>
                  </a:lnTo>
                  <a:lnTo>
                    <a:pt x="442" y="305"/>
                  </a:lnTo>
                  <a:lnTo>
                    <a:pt x="438" y="307"/>
                  </a:lnTo>
                  <a:lnTo>
                    <a:pt x="395" y="327"/>
                  </a:lnTo>
                  <a:lnTo>
                    <a:pt x="376" y="332"/>
                  </a:lnTo>
                  <a:lnTo>
                    <a:pt x="373" y="334"/>
                  </a:lnTo>
                  <a:lnTo>
                    <a:pt x="369" y="337"/>
                  </a:lnTo>
                  <a:lnTo>
                    <a:pt x="369" y="340"/>
                  </a:lnTo>
                  <a:lnTo>
                    <a:pt x="369" y="343"/>
                  </a:lnTo>
                  <a:lnTo>
                    <a:pt x="372" y="345"/>
                  </a:lnTo>
                  <a:lnTo>
                    <a:pt x="376" y="345"/>
                  </a:lnTo>
                  <a:lnTo>
                    <a:pt x="386" y="343"/>
                  </a:lnTo>
                  <a:lnTo>
                    <a:pt x="390" y="343"/>
                  </a:lnTo>
                  <a:lnTo>
                    <a:pt x="391" y="343"/>
                  </a:lnTo>
                  <a:lnTo>
                    <a:pt x="395" y="344"/>
                  </a:lnTo>
                  <a:lnTo>
                    <a:pt x="398" y="347"/>
                  </a:lnTo>
                  <a:lnTo>
                    <a:pt x="400" y="350"/>
                  </a:lnTo>
                  <a:lnTo>
                    <a:pt x="402" y="351"/>
                  </a:lnTo>
                  <a:lnTo>
                    <a:pt x="403" y="355"/>
                  </a:lnTo>
                  <a:lnTo>
                    <a:pt x="406" y="366"/>
                  </a:lnTo>
                  <a:lnTo>
                    <a:pt x="406" y="371"/>
                  </a:lnTo>
                  <a:lnTo>
                    <a:pt x="406" y="381"/>
                  </a:lnTo>
                  <a:lnTo>
                    <a:pt x="402" y="407"/>
                  </a:lnTo>
                  <a:lnTo>
                    <a:pt x="402" y="415"/>
                  </a:lnTo>
                  <a:lnTo>
                    <a:pt x="403" y="419"/>
                  </a:lnTo>
                  <a:lnTo>
                    <a:pt x="404" y="424"/>
                  </a:lnTo>
                  <a:lnTo>
                    <a:pt x="406" y="427"/>
                  </a:lnTo>
                  <a:lnTo>
                    <a:pt x="408" y="432"/>
                  </a:lnTo>
                  <a:lnTo>
                    <a:pt x="411" y="435"/>
                  </a:lnTo>
                  <a:lnTo>
                    <a:pt x="414" y="439"/>
                  </a:lnTo>
                  <a:lnTo>
                    <a:pt x="418" y="441"/>
                  </a:lnTo>
                  <a:lnTo>
                    <a:pt x="422" y="443"/>
                  </a:lnTo>
                  <a:lnTo>
                    <a:pt x="442" y="449"/>
                  </a:lnTo>
                  <a:lnTo>
                    <a:pt x="445" y="450"/>
                  </a:lnTo>
                  <a:lnTo>
                    <a:pt x="448" y="454"/>
                  </a:lnTo>
                  <a:lnTo>
                    <a:pt x="450" y="458"/>
                  </a:lnTo>
                  <a:lnTo>
                    <a:pt x="450" y="463"/>
                  </a:lnTo>
                  <a:lnTo>
                    <a:pt x="449" y="467"/>
                  </a:lnTo>
                  <a:lnTo>
                    <a:pt x="448" y="470"/>
                  </a:lnTo>
                  <a:lnTo>
                    <a:pt x="437" y="487"/>
                  </a:lnTo>
                  <a:lnTo>
                    <a:pt x="435" y="495"/>
                  </a:lnTo>
                  <a:lnTo>
                    <a:pt x="434" y="498"/>
                  </a:lnTo>
                  <a:lnTo>
                    <a:pt x="434" y="502"/>
                  </a:lnTo>
                  <a:lnTo>
                    <a:pt x="434" y="506"/>
                  </a:lnTo>
                  <a:lnTo>
                    <a:pt x="435" y="510"/>
                  </a:lnTo>
                  <a:lnTo>
                    <a:pt x="444" y="530"/>
                  </a:lnTo>
                  <a:lnTo>
                    <a:pt x="447" y="537"/>
                  </a:lnTo>
                  <a:lnTo>
                    <a:pt x="449" y="545"/>
                  </a:lnTo>
                  <a:lnTo>
                    <a:pt x="450" y="548"/>
                  </a:lnTo>
                  <a:lnTo>
                    <a:pt x="451" y="550"/>
                  </a:lnTo>
                  <a:lnTo>
                    <a:pt x="453" y="549"/>
                  </a:lnTo>
                  <a:lnTo>
                    <a:pt x="460" y="545"/>
                  </a:lnTo>
                  <a:lnTo>
                    <a:pt x="464" y="543"/>
                  </a:lnTo>
                  <a:lnTo>
                    <a:pt x="467" y="544"/>
                  </a:lnTo>
                  <a:lnTo>
                    <a:pt x="497" y="562"/>
                  </a:lnTo>
                  <a:lnTo>
                    <a:pt x="499" y="563"/>
                  </a:lnTo>
                  <a:lnTo>
                    <a:pt x="501" y="565"/>
                  </a:lnTo>
                  <a:lnTo>
                    <a:pt x="504" y="575"/>
                  </a:lnTo>
                  <a:lnTo>
                    <a:pt x="505" y="579"/>
                  </a:lnTo>
                  <a:lnTo>
                    <a:pt x="507" y="583"/>
                  </a:lnTo>
                  <a:lnTo>
                    <a:pt x="510" y="586"/>
                  </a:lnTo>
                  <a:lnTo>
                    <a:pt x="532" y="605"/>
                  </a:lnTo>
                  <a:lnTo>
                    <a:pt x="534" y="609"/>
                  </a:lnTo>
                  <a:lnTo>
                    <a:pt x="537" y="612"/>
                  </a:lnTo>
                  <a:lnTo>
                    <a:pt x="540" y="617"/>
                  </a:lnTo>
                  <a:lnTo>
                    <a:pt x="545" y="632"/>
                  </a:lnTo>
                  <a:lnTo>
                    <a:pt x="551" y="654"/>
                  </a:lnTo>
                  <a:lnTo>
                    <a:pt x="552" y="658"/>
                  </a:lnTo>
                  <a:lnTo>
                    <a:pt x="554" y="659"/>
                  </a:lnTo>
                  <a:lnTo>
                    <a:pt x="557" y="660"/>
                  </a:lnTo>
                  <a:lnTo>
                    <a:pt x="567" y="660"/>
                  </a:lnTo>
                  <a:lnTo>
                    <a:pt x="571" y="661"/>
                  </a:lnTo>
                  <a:lnTo>
                    <a:pt x="573" y="662"/>
                  </a:lnTo>
                  <a:lnTo>
                    <a:pt x="575" y="664"/>
                  </a:lnTo>
                  <a:lnTo>
                    <a:pt x="577" y="668"/>
                  </a:lnTo>
                  <a:lnTo>
                    <a:pt x="577" y="671"/>
                  </a:lnTo>
                  <a:lnTo>
                    <a:pt x="571" y="714"/>
                  </a:lnTo>
                  <a:lnTo>
                    <a:pt x="573" y="774"/>
                  </a:lnTo>
                  <a:lnTo>
                    <a:pt x="572" y="777"/>
                  </a:lnTo>
                  <a:lnTo>
                    <a:pt x="571" y="781"/>
                  </a:lnTo>
                  <a:lnTo>
                    <a:pt x="567" y="785"/>
                  </a:lnTo>
                  <a:lnTo>
                    <a:pt x="564" y="788"/>
                  </a:lnTo>
                  <a:lnTo>
                    <a:pt x="559" y="790"/>
                  </a:lnTo>
                  <a:lnTo>
                    <a:pt x="556" y="791"/>
                  </a:lnTo>
                  <a:lnTo>
                    <a:pt x="547" y="791"/>
                  </a:lnTo>
                  <a:lnTo>
                    <a:pt x="540" y="790"/>
                  </a:lnTo>
                  <a:lnTo>
                    <a:pt x="536" y="789"/>
                  </a:lnTo>
                  <a:lnTo>
                    <a:pt x="533" y="790"/>
                  </a:lnTo>
                  <a:lnTo>
                    <a:pt x="528" y="792"/>
                  </a:lnTo>
                  <a:lnTo>
                    <a:pt x="525" y="796"/>
                  </a:lnTo>
                  <a:lnTo>
                    <a:pt x="520" y="801"/>
                  </a:lnTo>
                  <a:lnTo>
                    <a:pt x="517" y="806"/>
                  </a:lnTo>
                  <a:lnTo>
                    <a:pt x="512" y="808"/>
                  </a:lnTo>
                  <a:lnTo>
                    <a:pt x="508" y="809"/>
                  </a:lnTo>
                  <a:lnTo>
                    <a:pt x="504" y="811"/>
                  </a:lnTo>
                  <a:lnTo>
                    <a:pt x="498" y="812"/>
                  </a:lnTo>
                  <a:lnTo>
                    <a:pt x="484" y="812"/>
                  </a:lnTo>
                  <a:lnTo>
                    <a:pt x="481" y="813"/>
                  </a:lnTo>
                  <a:lnTo>
                    <a:pt x="478" y="815"/>
                  </a:lnTo>
                  <a:lnTo>
                    <a:pt x="475" y="817"/>
                  </a:lnTo>
                  <a:lnTo>
                    <a:pt x="473" y="821"/>
                  </a:lnTo>
                  <a:lnTo>
                    <a:pt x="472" y="823"/>
                  </a:lnTo>
                  <a:lnTo>
                    <a:pt x="470" y="835"/>
                  </a:lnTo>
                  <a:lnTo>
                    <a:pt x="469" y="836"/>
                  </a:lnTo>
                  <a:lnTo>
                    <a:pt x="459" y="820"/>
                  </a:lnTo>
                  <a:lnTo>
                    <a:pt x="449" y="806"/>
                  </a:lnTo>
                  <a:lnTo>
                    <a:pt x="444" y="799"/>
                  </a:lnTo>
                  <a:lnTo>
                    <a:pt x="444" y="794"/>
                  </a:lnTo>
                  <a:lnTo>
                    <a:pt x="444" y="793"/>
                  </a:lnTo>
                  <a:lnTo>
                    <a:pt x="444" y="791"/>
                  </a:lnTo>
                  <a:lnTo>
                    <a:pt x="444" y="789"/>
                  </a:lnTo>
                  <a:lnTo>
                    <a:pt x="444" y="788"/>
                  </a:lnTo>
                  <a:lnTo>
                    <a:pt x="443" y="787"/>
                  </a:lnTo>
                  <a:lnTo>
                    <a:pt x="440" y="790"/>
                  </a:lnTo>
                  <a:lnTo>
                    <a:pt x="438" y="790"/>
                  </a:lnTo>
                  <a:lnTo>
                    <a:pt x="436" y="788"/>
                  </a:lnTo>
                  <a:lnTo>
                    <a:pt x="434" y="784"/>
                  </a:lnTo>
                  <a:lnTo>
                    <a:pt x="430" y="778"/>
                  </a:lnTo>
                  <a:lnTo>
                    <a:pt x="435" y="778"/>
                  </a:lnTo>
                  <a:lnTo>
                    <a:pt x="438" y="779"/>
                  </a:lnTo>
                  <a:lnTo>
                    <a:pt x="443" y="779"/>
                  </a:lnTo>
                  <a:lnTo>
                    <a:pt x="446" y="777"/>
                  </a:lnTo>
                  <a:lnTo>
                    <a:pt x="449" y="775"/>
                  </a:lnTo>
                  <a:lnTo>
                    <a:pt x="449" y="765"/>
                  </a:lnTo>
                  <a:lnTo>
                    <a:pt x="452" y="758"/>
                  </a:lnTo>
                  <a:lnTo>
                    <a:pt x="451" y="754"/>
                  </a:lnTo>
                  <a:lnTo>
                    <a:pt x="449" y="746"/>
                  </a:lnTo>
                  <a:lnTo>
                    <a:pt x="448" y="741"/>
                  </a:lnTo>
                  <a:lnTo>
                    <a:pt x="449" y="730"/>
                  </a:lnTo>
                  <a:lnTo>
                    <a:pt x="448" y="726"/>
                  </a:lnTo>
                  <a:lnTo>
                    <a:pt x="448" y="722"/>
                  </a:lnTo>
                  <a:lnTo>
                    <a:pt x="446" y="718"/>
                  </a:lnTo>
                  <a:lnTo>
                    <a:pt x="444" y="715"/>
                  </a:lnTo>
                  <a:lnTo>
                    <a:pt x="441" y="711"/>
                  </a:lnTo>
                  <a:lnTo>
                    <a:pt x="439" y="709"/>
                  </a:lnTo>
                  <a:lnTo>
                    <a:pt x="437" y="708"/>
                  </a:lnTo>
                  <a:lnTo>
                    <a:pt x="436" y="707"/>
                  </a:lnTo>
                  <a:lnTo>
                    <a:pt x="434" y="703"/>
                  </a:lnTo>
                  <a:lnTo>
                    <a:pt x="433" y="701"/>
                  </a:lnTo>
                  <a:lnTo>
                    <a:pt x="429" y="699"/>
                  </a:lnTo>
                  <a:lnTo>
                    <a:pt x="426" y="695"/>
                  </a:lnTo>
                  <a:lnTo>
                    <a:pt x="423" y="691"/>
                  </a:lnTo>
                  <a:lnTo>
                    <a:pt x="421" y="687"/>
                  </a:lnTo>
                  <a:lnTo>
                    <a:pt x="421" y="685"/>
                  </a:lnTo>
                  <a:lnTo>
                    <a:pt x="421" y="681"/>
                  </a:lnTo>
                  <a:lnTo>
                    <a:pt x="420" y="679"/>
                  </a:lnTo>
                  <a:lnTo>
                    <a:pt x="419" y="677"/>
                  </a:lnTo>
                  <a:lnTo>
                    <a:pt x="416" y="675"/>
                  </a:lnTo>
                  <a:lnTo>
                    <a:pt x="415" y="673"/>
                  </a:lnTo>
                  <a:lnTo>
                    <a:pt x="419" y="671"/>
                  </a:lnTo>
                  <a:lnTo>
                    <a:pt x="416" y="667"/>
                  </a:lnTo>
                  <a:lnTo>
                    <a:pt x="409" y="659"/>
                  </a:lnTo>
                  <a:lnTo>
                    <a:pt x="407" y="657"/>
                  </a:lnTo>
                  <a:lnTo>
                    <a:pt x="405" y="648"/>
                  </a:lnTo>
                  <a:lnTo>
                    <a:pt x="404" y="647"/>
                  </a:lnTo>
                  <a:lnTo>
                    <a:pt x="401" y="646"/>
                  </a:lnTo>
                  <a:lnTo>
                    <a:pt x="400" y="645"/>
                  </a:lnTo>
                  <a:lnTo>
                    <a:pt x="400" y="644"/>
                  </a:lnTo>
                  <a:lnTo>
                    <a:pt x="400" y="641"/>
                  </a:lnTo>
                  <a:lnTo>
                    <a:pt x="399" y="639"/>
                  </a:lnTo>
                  <a:lnTo>
                    <a:pt x="396" y="632"/>
                  </a:lnTo>
                  <a:lnTo>
                    <a:pt x="395" y="631"/>
                  </a:lnTo>
                  <a:lnTo>
                    <a:pt x="393" y="629"/>
                  </a:lnTo>
                  <a:lnTo>
                    <a:pt x="388" y="627"/>
                  </a:lnTo>
                  <a:lnTo>
                    <a:pt x="386" y="626"/>
                  </a:lnTo>
                  <a:lnTo>
                    <a:pt x="379" y="616"/>
                  </a:lnTo>
                  <a:lnTo>
                    <a:pt x="375" y="610"/>
                  </a:lnTo>
                  <a:lnTo>
                    <a:pt x="371" y="609"/>
                  </a:lnTo>
                  <a:lnTo>
                    <a:pt x="371" y="612"/>
                  </a:lnTo>
                  <a:lnTo>
                    <a:pt x="372" y="614"/>
                  </a:lnTo>
                  <a:lnTo>
                    <a:pt x="373" y="616"/>
                  </a:lnTo>
                  <a:lnTo>
                    <a:pt x="371" y="617"/>
                  </a:lnTo>
                  <a:lnTo>
                    <a:pt x="369" y="617"/>
                  </a:lnTo>
                  <a:lnTo>
                    <a:pt x="363" y="613"/>
                  </a:lnTo>
                  <a:lnTo>
                    <a:pt x="361" y="612"/>
                  </a:lnTo>
                  <a:lnTo>
                    <a:pt x="360" y="611"/>
                  </a:lnTo>
                  <a:lnTo>
                    <a:pt x="356" y="606"/>
                  </a:lnTo>
                  <a:lnTo>
                    <a:pt x="354" y="604"/>
                  </a:lnTo>
                  <a:lnTo>
                    <a:pt x="354" y="603"/>
                  </a:lnTo>
                  <a:lnTo>
                    <a:pt x="354" y="599"/>
                  </a:lnTo>
                  <a:lnTo>
                    <a:pt x="354" y="598"/>
                  </a:lnTo>
                  <a:lnTo>
                    <a:pt x="353" y="597"/>
                  </a:lnTo>
                  <a:lnTo>
                    <a:pt x="351" y="597"/>
                  </a:lnTo>
                  <a:lnTo>
                    <a:pt x="349" y="592"/>
                  </a:lnTo>
                  <a:lnTo>
                    <a:pt x="349" y="587"/>
                  </a:lnTo>
                  <a:lnTo>
                    <a:pt x="351" y="583"/>
                  </a:lnTo>
                  <a:lnTo>
                    <a:pt x="354" y="579"/>
                  </a:lnTo>
                  <a:lnTo>
                    <a:pt x="356" y="576"/>
                  </a:lnTo>
                  <a:lnTo>
                    <a:pt x="357" y="571"/>
                  </a:lnTo>
                  <a:lnTo>
                    <a:pt x="356" y="565"/>
                  </a:lnTo>
                  <a:lnTo>
                    <a:pt x="354" y="561"/>
                  </a:lnTo>
                  <a:lnTo>
                    <a:pt x="351" y="556"/>
                  </a:lnTo>
                  <a:lnTo>
                    <a:pt x="346" y="554"/>
                  </a:lnTo>
                  <a:lnTo>
                    <a:pt x="339" y="552"/>
                  </a:lnTo>
                  <a:lnTo>
                    <a:pt x="334" y="552"/>
                  </a:lnTo>
                  <a:lnTo>
                    <a:pt x="328" y="549"/>
                  </a:lnTo>
                  <a:lnTo>
                    <a:pt x="324" y="544"/>
                  </a:lnTo>
                  <a:lnTo>
                    <a:pt x="314" y="519"/>
                  </a:lnTo>
                  <a:lnTo>
                    <a:pt x="309" y="512"/>
                  </a:lnTo>
                  <a:lnTo>
                    <a:pt x="302" y="502"/>
                  </a:lnTo>
                  <a:lnTo>
                    <a:pt x="290" y="472"/>
                  </a:lnTo>
                  <a:lnTo>
                    <a:pt x="277" y="448"/>
                  </a:lnTo>
                  <a:lnTo>
                    <a:pt x="269" y="438"/>
                  </a:lnTo>
                  <a:lnTo>
                    <a:pt x="259" y="429"/>
                  </a:lnTo>
                  <a:lnTo>
                    <a:pt x="255" y="424"/>
                  </a:lnTo>
                  <a:lnTo>
                    <a:pt x="252" y="416"/>
                  </a:lnTo>
                  <a:lnTo>
                    <a:pt x="247" y="407"/>
                  </a:lnTo>
                  <a:lnTo>
                    <a:pt x="243" y="396"/>
                  </a:lnTo>
                  <a:lnTo>
                    <a:pt x="241" y="396"/>
                  </a:lnTo>
                  <a:lnTo>
                    <a:pt x="238" y="394"/>
                  </a:lnTo>
                  <a:lnTo>
                    <a:pt x="234" y="388"/>
                  </a:lnTo>
                  <a:lnTo>
                    <a:pt x="224" y="378"/>
                  </a:lnTo>
                  <a:lnTo>
                    <a:pt x="210" y="360"/>
                  </a:lnTo>
                  <a:lnTo>
                    <a:pt x="205" y="351"/>
                  </a:lnTo>
                  <a:lnTo>
                    <a:pt x="204" y="350"/>
                  </a:lnTo>
                  <a:lnTo>
                    <a:pt x="204" y="348"/>
                  </a:lnTo>
                  <a:lnTo>
                    <a:pt x="205" y="346"/>
                  </a:lnTo>
                  <a:lnTo>
                    <a:pt x="206" y="343"/>
                  </a:lnTo>
                  <a:lnTo>
                    <a:pt x="207" y="342"/>
                  </a:lnTo>
                  <a:lnTo>
                    <a:pt x="206" y="339"/>
                  </a:lnTo>
                  <a:lnTo>
                    <a:pt x="203" y="334"/>
                  </a:lnTo>
                  <a:lnTo>
                    <a:pt x="188" y="316"/>
                  </a:lnTo>
                  <a:lnTo>
                    <a:pt x="180" y="311"/>
                  </a:lnTo>
                  <a:lnTo>
                    <a:pt x="178" y="309"/>
                  </a:lnTo>
                  <a:lnTo>
                    <a:pt x="174" y="304"/>
                  </a:lnTo>
                  <a:lnTo>
                    <a:pt x="170" y="297"/>
                  </a:lnTo>
                  <a:lnTo>
                    <a:pt x="165" y="291"/>
                  </a:lnTo>
                  <a:lnTo>
                    <a:pt x="158" y="280"/>
                  </a:lnTo>
                  <a:lnTo>
                    <a:pt x="157" y="275"/>
                  </a:lnTo>
                  <a:lnTo>
                    <a:pt x="156" y="271"/>
                  </a:lnTo>
                  <a:lnTo>
                    <a:pt x="156" y="265"/>
                  </a:lnTo>
                  <a:lnTo>
                    <a:pt x="155" y="261"/>
                  </a:lnTo>
                  <a:lnTo>
                    <a:pt x="153" y="259"/>
                  </a:lnTo>
                  <a:lnTo>
                    <a:pt x="148" y="252"/>
                  </a:lnTo>
                  <a:lnTo>
                    <a:pt x="144" y="247"/>
                  </a:lnTo>
                  <a:lnTo>
                    <a:pt x="141" y="236"/>
                  </a:lnTo>
                  <a:lnTo>
                    <a:pt x="137" y="231"/>
                  </a:lnTo>
                  <a:lnTo>
                    <a:pt x="135" y="229"/>
                  </a:lnTo>
                  <a:lnTo>
                    <a:pt x="132" y="228"/>
                  </a:lnTo>
                  <a:lnTo>
                    <a:pt x="131" y="228"/>
                  </a:lnTo>
                  <a:lnTo>
                    <a:pt x="130" y="226"/>
                  </a:lnTo>
                  <a:lnTo>
                    <a:pt x="129" y="224"/>
                  </a:lnTo>
                  <a:lnTo>
                    <a:pt x="128" y="221"/>
                  </a:lnTo>
                  <a:lnTo>
                    <a:pt x="127" y="214"/>
                  </a:lnTo>
                  <a:lnTo>
                    <a:pt x="125" y="212"/>
                  </a:lnTo>
                  <a:lnTo>
                    <a:pt x="116" y="202"/>
                  </a:lnTo>
                  <a:lnTo>
                    <a:pt x="113" y="198"/>
                  </a:lnTo>
                  <a:lnTo>
                    <a:pt x="113" y="196"/>
                  </a:lnTo>
                  <a:lnTo>
                    <a:pt x="109" y="194"/>
                  </a:lnTo>
                  <a:lnTo>
                    <a:pt x="101" y="188"/>
                  </a:lnTo>
                  <a:lnTo>
                    <a:pt x="101" y="190"/>
                  </a:lnTo>
                  <a:lnTo>
                    <a:pt x="100" y="190"/>
                  </a:lnTo>
                  <a:lnTo>
                    <a:pt x="98" y="187"/>
                  </a:lnTo>
                  <a:lnTo>
                    <a:pt x="100" y="185"/>
                  </a:lnTo>
                  <a:lnTo>
                    <a:pt x="105" y="183"/>
                  </a:lnTo>
                  <a:lnTo>
                    <a:pt x="107" y="182"/>
                  </a:lnTo>
                  <a:lnTo>
                    <a:pt x="109" y="182"/>
                  </a:lnTo>
                  <a:lnTo>
                    <a:pt x="109" y="182"/>
                  </a:lnTo>
                  <a:lnTo>
                    <a:pt x="107" y="178"/>
                  </a:lnTo>
                  <a:lnTo>
                    <a:pt x="106" y="178"/>
                  </a:lnTo>
                  <a:lnTo>
                    <a:pt x="102" y="176"/>
                  </a:lnTo>
                  <a:lnTo>
                    <a:pt x="100" y="176"/>
                  </a:lnTo>
                  <a:lnTo>
                    <a:pt x="99" y="176"/>
                  </a:lnTo>
                  <a:lnTo>
                    <a:pt x="99" y="177"/>
                  </a:lnTo>
                  <a:lnTo>
                    <a:pt x="98" y="177"/>
                  </a:lnTo>
                  <a:lnTo>
                    <a:pt x="97" y="175"/>
                  </a:lnTo>
                  <a:lnTo>
                    <a:pt x="95" y="174"/>
                  </a:lnTo>
                  <a:lnTo>
                    <a:pt x="94" y="174"/>
                  </a:lnTo>
                  <a:lnTo>
                    <a:pt x="91" y="174"/>
                  </a:lnTo>
                  <a:lnTo>
                    <a:pt x="90" y="174"/>
                  </a:lnTo>
                  <a:lnTo>
                    <a:pt x="88" y="171"/>
                  </a:lnTo>
                  <a:lnTo>
                    <a:pt x="80" y="166"/>
                  </a:lnTo>
                  <a:lnTo>
                    <a:pt x="78" y="167"/>
                  </a:lnTo>
                  <a:lnTo>
                    <a:pt x="75" y="167"/>
                  </a:lnTo>
                  <a:lnTo>
                    <a:pt x="75" y="167"/>
                  </a:lnTo>
                  <a:lnTo>
                    <a:pt x="75" y="169"/>
                  </a:lnTo>
                  <a:lnTo>
                    <a:pt x="73" y="167"/>
                  </a:lnTo>
                  <a:lnTo>
                    <a:pt x="70" y="167"/>
                  </a:lnTo>
                  <a:lnTo>
                    <a:pt x="68" y="167"/>
                  </a:lnTo>
                  <a:lnTo>
                    <a:pt x="67" y="169"/>
                  </a:lnTo>
                  <a:lnTo>
                    <a:pt x="62" y="170"/>
                  </a:lnTo>
                  <a:lnTo>
                    <a:pt x="60" y="171"/>
                  </a:lnTo>
                  <a:lnTo>
                    <a:pt x="60" y="172"/>
                  </a:lnTo>
                  <a:lnTo>
                    <a:pt x="59" y="174"/>
                  </a:lnTo>
                  <a:lnTo>
                    <a:pt x="58" y="174"/>
                  </a:lnTo>
                  <a:lnTo>
                    <a:pt x="58" y="173"/>
                  </a:lnTo>
                  <a:lnTo>
                    <a:pt x="57" y="173"/>
                  </a:lnTo>
                  <a:lnTo>
                    <a:pt x="54" y="173"/>
                  </a:lnTo>
                  <a:lnTo>
                    <a:pt x="51" y="172"/>
                  </a:lnTo>
                  <a:lnTo>
                    <a:pt x="47" y="173"/>
                  </a:lnTo>
                  <a:lnTo>
                    <a:pt x="45" y="175"/>
                  </a:lnTo>
                  <a:lnTo>
                    <a:pt x="45" y="174"/>
                  </a:lnTo>
                  <a:lnTo>
                    <a:pt x="44" y="174"/>
                  </a:lnTo>
                  <a:lnTo>
                    <a:pt x="44" y="173"/>
                  </a:lnTo>
                  <a:lnTo>
                    <a:pt x="45" y="173"/>
                  </a:lnTo>
                  <a:lnTo>
                    <a:pt x="45" y="171"/>
                  </a:lnTo>
                  <a:lnTo>
                    <a:pt x="45" y="169"/>
                  </a:lnTo>
                  <a:lnTo>
                    <a:pt x="45" y="168"/>
                  </a:lnTo>
                  <a:lnTo>
                    <a:pt x="49" y="167"/>
                  </a:lnTo>
                  <a:lnTo>
                    <a:pt x="47" y="167"/>
                  </a:lnTo>
                  <a:lnTo>
                    <a:pt x="45" y="166"/>
                  </a:lnTo>
                  <a:lnTo>
                    <a:pt x="44" y="167"/>
                  </a:lnTo>
                  <a:lnTo>
                    <a:pt x="42" y="167"/>
                  </a:lnTo>
                  <a:lnTo>
                    <a:pt x="42" y="168"/>
                  </a:lnTo>
                  <a:lnTo>
                    <a:pt x="43" y="168"/>
                  </a:lnTo>
                  <a:lnTo>
                    <a:pt x="43" y="169"/>
                  </a:lnTo>
                  <a:lnTo>
                    <a:pt x="41" y="170"/>
                  </a:lnTo>
                  <a:lnTo>
                    <a:pt x="40" y="172"/>
                  </a:lnTo>
                  <a:lnTo>
                    <a:pt x="38" y="175"/>
                  </a:lnTo>
                  <a:lnTo>
                    <a:pt x="37" y="175"/>
                  </a:lnTo>
                  <a:lnTo>
                    <a:pt x="37" y="174"/>
                  </a:lnTo>
                  <a:lnTo>
                    <a:pt x="37" y="171"/>
                  </a:lnTo>
                  <a:lnTo>
                    <a:pt x="39" y="170"/>
                  </a:lnTo>
                  <a:lnTo>
                    <a:pt x="41" y="169"/>
                  </a:lnTo>
                  <a:lnTo>
                    <a:pt x="41" y="167"/>
                  </a:lnTo>
                  <a:lnTo>
                    <a:pt x="38" y="167"/>
                  </a:lnTo>
                  <a:lnTo>
                    <a:pt x="37" y="167"/>
                  </a:lnTo>
                  <a:lnTo>
                    <a:pt x="35" y="168"/>
                  </a:lnTo>
                  <a:lnTo>
                    <a:pt x="35" y="171"/>
                  </a:lnTo>
                  <a:lnTo>
                    <a:pt x="34" y="170"/>
                  </a:lnTo>
                  <a:lnTo>
                    <a:pt x="33" y="171"/>
                  </a:lnTo>
                  <a:lnTo>
                    <a:pt x="33" y="168"/>
                  </a:lnTo>
                  <a:lnTo>
                    <a:pt x="31" y="168"/>
                  </a:lnTo>
                  <a:lnTo>
                    <a:pt x="31" y="169"/>
                  </a:lnTo>
                  <a:lnTo>
                    <a:pt x="30" y="169"/>
                  </a:lnTo>
                  <a:lnTo>
                    <a:pt x="30" y="168"/>
                  </a:lnTo>
                  <a:lnTo>
                    <a:pt x="29" y="167"/>
                  </a:lnTo>
                  <a:lnTo>
                    <a:pt x="28" y="167"/>
                  </a:lnTo>
                  <a:lnTo>
                    <a:pt x="27" y="168"/>
                  </a:lnTo>
                  <a:lnTo>
                    <a:pt x="25" y="167"/>
                  </a:lnTo>
                  <a:lnTo>
                    <a:pt x="23" y="164"/>
                  </a:lnTo>
                  <a:lnTo>
                    <a:pt x="22" y="162"/>
                  </a:lnTo>
                  <a:lnTo>
                    <a:pt x="21" y="164"/>
                  </a:lnTo>
                  <a:lnTo>
                    <a:pt x="20" y="164"/>
                  </a:lnTo>
                  <a:lnTo>
                    <a:pt x="18" y="163"/>
                  </a:lnTo>
                  <a:lnTo>
                    <a:pt x="17" y="164"/>
                  </a:lnTo>
                  <a:lnTo>
                    <a:pt x="17" y="166"/>
                  </a:lnTo>
                  <a:lnTo>
                    <a:pt x="16" y="167"/>
                  </a:lnTo>
                  <a:lnTo>
                    <a:pt x="13" y="169"/>
                  </a:lnTo>
                  <a:lnTo>
                    <a:pt x="12" y="169"/>
                  </a:lnTo>
                  <a:lnTo>
                    <a:pt x="12" y="171"/>
                  </a:lnTo>
                  <a:lnTo>
                    <a:pt x="15" y="174"/>
                  </a:lnTo>
                  <a:lnTo>
                    <a:pt x="15" y="175"/>
                  </a:lnTo>
                  <a:lnTo>
                    <a:pt x="15" y="175"/>
                  </a:lnTo>
                  <a:lnTo>
                    <a:pt x="14" y="176"/>
                  </a:lnTo>
                  <a:lnTo>
                    <a:pt x="12" y="175"/>
                  </a:lnTo>
                  <a:lnTo>
                    <a:pt x="11" y="178"/>
                  </a:lnTo>
                  <a:lnTo>
                    <a:pt x="11" y="181"/>
                  </a:lnTo>
                  <a:lnTo>
                    <a:pt x="10" y="182"/>
                  </a:lnTo>
                  <a:lnTo>
                    <a:pt x="7" y="182"/>
                  </a:lnTo>
                  <a:lnTo>
                    <a:pt x="7" y="182"/>
                  </a:lnTo>
                  <a:lnTo>
                    <a:pt x="7" y="182"/>
                  </a:lnTo>
                  <a:lnTo>
                    <a:pt x="7" y="180"/>
                  </a:lnTo>
                  <a:lnTo>
                    <a:pt x="6" y="177"/>
                  </a:lnTo>
                  <a:lnTo>
                    <a:pt x="5" y="175"/>
                  </a:lnTo>
                  <a:lnTo>
                    <a:pt x="5" y="170"/>
                  </a:lnTo>
                  <a:lnTo>
                    <a:pt x="4" y="169"/>
                  </a:lnTo>
                  <a:lnTo>
                    <a:pt x="0" y="171"/>
                  </a:lnTo>
                  <a:lnTo>
                    <a:pt x="0" y="168"/>
                  </a:lnTo>
                  <a:lnTo>
                    <a:pt x="0" y="167"/>
                  </a:lnTo>
                  <a:lnTo>
                    <a:pt x="2" y="164"/>
                  </a:lnTo>
                  <a:lnTo>
                    <a:pt x="3" y="162"/>
                  </a:lnTo>
                  <a:lnTo>
                    <a:pt x="5" y="161"/>
                  </a:lnTo>
                  <a:lnTo>
                    <a:pt x="5" y="160"/>
                  </a:lnTo>
                  <a:lnTo>
                    <a:pt x="7" y="160"/>
                  </a:lnTo>
                  <a:lnTo>
                    <a:pt x="8" y="158"/>
                  </a:lnTo>
                  <a:lnTo>
                    <a:pt x="7" y="157"/>
                  </a:lnTo>
                  <a:lnTo>
                    <a:pt x="8" y="155"/>
                  </a:lnTo>
                  <a:lnTo>
                    <a:pt x="11" y="154"/>
                  </a:lnTo>
                  <a:lnTo>
                    <a:pt x="11" y="156"/>
                  </a:lnTo>
                  <a:lnTo>
                    <a:pt x="13" y="157"/>
                  </a:lnTo>
                  <a:lnTo>
                    <a:pt x="14" y="156"/>
                  </a:lnTo>
                  <a:lnTo>
                    <a:pt x="15" y="154"/>
                  </a:lnTo>
                  <a:lnTo>
                    <a:pt x="14" y="154"/>
                  </a:lnTo>
                  <a:lnTo>
                    <a:pt x="14" y="152"/>
                  </a:lnTo>
                  <a:lnTo>
                    <a:pt x="12" y="152"/>
                  </a:lnTo>
                  <a:lnTo>
                    <a:pt x="12" y="150"/>
                  </a:lnTo>
                  <a:lnTo>
                    <a:pt x="14" y="150"/>
                  </a:lnTo>
                  <a:lnTo>
                    <a:pt x="15" y="149"/>
                  </a:lnTo>
                  <a:lnTo>
                    <a:pt x="15" y="147"/>
                  </a:lnTo>
                  <a:lnTo>
                    <a:pt x="15" y="146"/>
                  </a:lnTo>
                  <a:lnTo>
                    <a:pt x="16" y="137"/>
                  </a:lnTo>
                  <a:lnTo>
                    <a:pt x="18" y="137"/>
                  </a:lnTo>
                  <a:lnTo>
                    <a:pt x="19" y="137"/>
                  </a:lnTo>
                  <a:lnTo>
                    <a:pt x="19" y="136"/>
                  </a:lnTo>
                  <a:lnTo>
                    <a:pt x="17" y="137"/>
                  </a:lnTo>
                  <a:lnTo>
                    <a:pt x="16" y="136"/>
                  </a:lnTo>
                  <a:lnTo>
                    <a:pt x="20" y="132"/>
                  </a:lnTo>
                  <a:lnTo>
                    <a:pt x="23" y="126"/>
                  </a:lnTo>
                  <a:lnTo>
                    <a:pt x="26" y="120"/>
                  </a:lnTo>
                  <a:lnTo>
                    <a:pt x="28" y="110"/>
                  </a:lnTo>
                  <a:lnTo>
                    <a:pt x="31" y="106"/>
                  </a:lnTo>
                  <a:lnTo>
                    <a:pt x="32" y="99"/>
                  </a:lnTo>
                  <a:lnTo>
                    <a:pt x="33" y="97"/>
                  </a:lnTo>
                  <a:lnTo>
                    <a:pt x="38" y="88"/>
                  </a:lnTo>
                  <a:lnTo>
                    <a:pt x="37" y="79"/>
                  </a:lnTo>
                  <a:lnTo>
                    <a:pt x="37" y="70"/>
                  </a:lnTo>
                  <a:lnTo>
                    <a:pt x="34" y="61"/>
                  </a:lnTo>
                  <a:lnTo>
                    <a:pt x="37" y="50"/>
                  </a:lnTo>
                  <a:lnTo>
                    <a:pt x="39" y="44"/>
                  </a:lnTo>
                  <a:lnTo>
                    <a:pt x="42" y="39"/>
                  </a:lnTo>
                  <a:lnTo>
                    <a:pt x="42" y="38"/>
                  </a:lnTo>
                  <a:lnTo>
                    <a:pt x="41" y="38"/>
                  </a:lnTo>
                  <a:lnTo>
                    <a:pt x="44" y="33"/>
                  </a:lnTo>
                  <a:lnTo>
                    <a:pt x="44" y="30"/>
                  </a:lnTo>
                  <a:lnTo>
                    <a:pt x="43" y="29"/>
                  </a:lnTo>
                  <a:lnTo>
                    <a:pt x="43" y="27"/>
                  </a:lnTo>
                  <a:lnTo>
                    <a:pt x="45" y="22"/>
                  </a:lnTo>
                  <a:lnTo>
                    <a:pt x="45" y="20"/>
                  </a:lnTo>
                  <a:lnTo>
                    <a:pt x="59" y="19"/>
                  </a:lnTo>
                  <a:lnTo>
                    <a:pt x="65" y="18"/>
                  </a:lnTo>
                  <a:lnTo>
                    <a:pt x="70" y="19"/>
                  </a:lnTo>
                  <a:lnTo>
                    <a:pt x="84" y="22"/>
                  </a:lnTo>
                  <a:lnTo>
                    <a:pt x="108" y="24"/>
                  </a:lnTo>
                  <a:lnTo>
                    <a:pt x="112" y="23"/>
                  </a:lnTo>
                  <a:lnTo>
                    <a:pt x="115" y="22"/>
                  </a:lnTo>
                  <a:lnTo>
                    <a:pt x="120" y="16"/>
                  </a:lnTo>
                  <a:lnTo>
                    <a:pt x="127" y="14"/>
                  </a:lnTo>
                  <a:lnTo>
                    <a:pt x="134" y="11"/>
                  </a:lnTo>
                  <a:lnTo>
                    <a:pt x="168" y="5"/>
                  </a:lnTo>
                  <a:lnTo>
                    <a:pt x="190" y="3"/>
                  </a:lnTo>
                  <a:lnTo>
                    <a:pt x="203" y="0"/>
                  </a:lnTo>
                  <a:lnTo>
                    <a:pt x="214" y="0"/>
                  </a:lnTo>
                  <a:lnTo>
                    <a:pt x="247" y="8"/>
                  </a:lnTo>
                  <a:lnTo>
                    <a:pt x="251" y="11"/>
                  </a:lnTo>
                  <a:lnTo>
                    <a:pt x="258" y="15"/>
                  </a:lnTo>
                  <a:lnTo>
                    <a:pt x="263" y="21"/>
                  </a:lnTo>
                  <a:lnTo>
                    <a:pt x="307" y="77"/>
                  </a:lnTo>
                  <a:lnTo>
                    <a:pt x="308" y="78"/>
                  </a:lnTo>
                  <a:lnTo>
                    <a:pt x="309" y="79"/>
                  </a:lnTo>
                  <a:lnTo>
                    <a:pt x="316" y="82"/>
                  </a:lnTo>
                  <a:lnTo>
                    <a:pt x="320" y="82"/>
                  </a:lnTo>
                  <a:lnTo>
                    <a:pt x="323" y="82"/>
                  </a:lnTo>
                  <a:lnTo>
                    <a:pt x="341" y="75"/>
                  </a:lnTo>
                  <a:lnTo>
                    <a:pt x="381" y="66"/>
                  </a:lnTo>
                  <a:lnTo>
                    <a:pt x="395" y="66"/>
                  </a:lnTo>
                  <a:lnTo>
                    <a:pt x="404" y="67"/>
                  </a:lnTo>
                  <a:lnTo>
                    <a:pt x="429" y="76"/>
                  </a:lnTo>
                  <a:lnTo>
                    <a:pt x="444" y="78"/>
                  </a:lnTo>
                  <a:lnTo>
                    <a:pt x="473" y="80"/>
                  </a:lnTo>
                  <a:lnTo>
                    <a:pt x="477" y="79"/>
                  </a:lnTo>
                  <a:lnTo>
                    <a:pt x="481" y="77"/>
                  </a:lnTo>
                  <a:lnTo>
                    <a:pt x="483" y="74"/>
                  </a:lnTo>
                  <a:lnTo>
                    <a:pt x="486" y="70"/>
                  </a:lnTo>
                  <a:lnTo>
                    <a:pt x="492" y="53"/>
                  </a:lnTo>
                  <a:lnTo>
                    <a:pt x="494" y="48"/>
                  </a:lnTo>
                  <a:lnTo>
                    <a:pt x="497" y="45"/>
                  </a:lnTo>
                  <a:lnTo>
                    <a:pt x="500" y="42"/>
                  </a:lnTo>
                  <a:lnTo>
                    <a:pt x="512" y="35"/>
                  </a:lnTo>
                  <a:lnTo>
                    <a:pt x="522" y="24"/>
                  </a:lnTo>
                  <a:lnTo>
                    <a:pt x="526" y="23"/>
                  </a:lnTo>
                  <a:lnTo>
                    <a:pt x="529" y="24"/>
                  </a:lnTo>
                  <a:lnTo>
                    <a:pt x="532" y="26"/>
                  </a:lnTo>
                  <a:lnTo>
                    <a:pt x="534" y="30"/>
                  </a:lnTo>
                  <a:lnTo>
                    <a:pt x="534" y="35"/>
                  </a:lnTo>
                  <a:lnTo>
                    <a:pt x="533" y="65"/>
                  </a:lnTo>
                  <a:lnTo>
                    <a:pt x="534" y="83"/>
                  </a:lnTo>
                  <a:lnTo>
                    <a:pt x="534" y="93"/>
                  </a:lnTo>
                  <a:lnTo>
                    <a:pt x="536" y="101"/>
                  </a:lnTo>
                  <a:lnTo>
                    <a:pt x="539" y="107"/>
                  </a:lnTo>
                  <a:lnTo>
                    <a:pt x="542" y="112"/>
                  </a:lnTo>
                  <a:lnTo>
                    <a:pt x="543" y="116"/>
                  </a:lnTo>
                  <a:lnTo>
                    <a:pt x="547" y="120"/>
                  </a:lnTo>
                  <a:lnTo>
                    <a:pt x="557" y="129"/>
                  </a:lnTo>
                  <a:lnTo>
                    <a:pt x="565" y="133"/>
                  </a:lnTo>
                  <a:lnTo>
                    <a:pt x="584" y="139"/>
                  </a:lnTo>
                  <a:lnTo>
                    <a:pt x="594" y="142"/>
                  </a:lnTo>
                  <a:lnTo>
                    <a:pt x="628" y="145"/>
                  </a:lnTo>
                  <a:lnTo>
                    <a:pt x="633" y="144"/>
                  </a:lnTo>
                  <a:lnTo>
                    <a:pt x="640" y="143"/>
                  </a:lnTo>
                  <a:lnTo>
                    <a:pt x="644" y="141"/>
                  </a:lnTo>
                  <a:lnTo>
                    <a:pt x="649" y="139"/>
                  </a:lnTo>
                  <a:lnTo>
                    <a:pt x="653" y="140"/>
                  </a:lnTo>
                  <a:lnTo>
                    <a:pt x="659" y="144"/>
                  </a:lnTo>
                  <a:lnTo>
                    <a:pt x="662" y="145"/>
                  </a:lnTo>
                  <a:lnTo>
                    <a:pt x="665" y="145"/>
                  </a:lnTo>
                  <a:lnTo>
                    <a:pt x="672" y="145"/>
                  </a:lnTo>
                  <a:lnTo>
                    <a:pt x="677" y="157"/>
                  </a:lnTo>
                  <a:lnTo>
                    <a:pt x="680" y="160"/>
                  </a:lnTo>
                  <a:lnTo>
                    <a:pt x="684" y="162"/>
                  </a:lnTo>
                  <a:lnTo>
                    <a:pt x="688" y="162"/>
                  </a:lnTo>
                  <a:lnTo>
                    <a:pt x="692" y="162"/>
                  </a:lnTo>
                  <a:lnTo>
                    <a:pt x="696" y="160"/>
                  </a:lnTo>
                  <a:lnTo>
                    <a:pt x="714" y="152"/>
                  </a:lnTo>
                  <a:lnTo>
                    <a:pt x="718" y="150"/>
                  </a:lnTo>
                  <a:lnTo>
                    <a:pt x="724" y="149"/>
                  </a:lnTo>
                  <a:lnTo>
                    <a:pt x="729" y="149"/>
                  </a:lnTo>
                  <a:lnTo>
                    <a:pt x="731" y="150"/>
                  </a:lnTo>
                  <a:lnTo>
                    <a:pt x="734" y="152"/>
                  </a:lnTo>
                  <a:lnTo>
                    <a:pt x="740" y="157"/>
                  </a:lnTo>
                  <a:lnTo>
                    <a:pt x="740" y="157"/>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7" name="Freeform 13">
              <a:extLst>
                <a:ext uri="{FF2B5EF4-FFF2-40B4-BE49-F238E27FC236}"/>
              </a:extLst>
            </p:cNvPr>
            <p:cNvSpPr>
              <a:spLocks/>
            </p:cNvSpPr>
            <p:nvPr/>
          </p:nvSpPr>
          <p:spPr bwMode="auto">
            <a:xfrm>
              <a:off x="2568611" y="1851025"/>
              <a:ext cx="2277196" cy="1431602"/>
            </a:xfrm>
            <a:custGeom>
              <a:avLst/>
              <a:gdLst>
                <a:gd name="T0" fmla="*/ 1329 w 1433"/>
                <a:gd name="T1" fmla="*/ 639 h 901"/>
                <a:gd name="T2" fmla="*/ 1230 w 1433"/>
                <a:gd name="T3" fmla="*/ 795 h 901"/>
                <a:gd name="T4" fmla="*/ 1186 w 1433"/>
                <a:gd name="T5" fmla="*/ 859 h 901"/>
                <a:gd name="T6" fmla="*/ 1185 w 1433"/>
                <a:gd name="T7" fmla="*/ 875 h 901"/>
                <a:gd name="T8" fmla="*/ 1186 w 1433"/>
                <a:gd name="T9" fmla="*/ 897 h 901"/>
                <a:gd name="T10" fmla="*/ 1171 w 1433"/>
                <a:gd name="T11" fmla="*/ 899 h 901"/>
                <a:gd name="T12" fmla="*/ 1159 w 1433"/>
                <a:gd name="T13" fmla="*/ 884 h 901"/>
                <a:gd name="T14" fmla="*/ 1115 w 1433"/>
                <a:gd name="T15" fmla="*/ 846 h 901"/>
                <a:gd name="T16" fmla="*/ 1048 w 1433"/>
                <a:gd name="T17" fmla="*/ 832 h 901"/>
                <a:gd name="T18" fmla="*/ 1019 w 1433"/>
                <a:gd name="T19" fmla="*/ 779 h 901"/>
                <a:gd name="T20" fmla="*/ 980 w 1433"/>
                <a:gd name="T21" fmla="*/ 719 h 901"/>
                <a:gd name="T22" fmla="*/ 943 w 1433"/>
                <a:gd name="T23" fmla="*/ 738 h 901"/>
                <a:gd name="T24" fmla="*/ 911 w 1433"/>
                <a:gd name="T25" fmla="*/ 726 h 901"/>
                <a:gd name="T26" fmla="*/ 880 w 1433"/>
                <a:gd name="T27" fmla="*/ 726 h 901"/>
                <a:gd name="T28" fmla="*/ 863 w 1433"/>
                <a:gd name="T29" fmla="*/ 710 h 901"/>
                <a:gd name="T30" fmla="*/ 860 w 1433"/>
                <a:gd name="T31" fmla="*/ 688 h 901"/>
                <a:gd name="T32" fmla="*/ 844 w 1433"/>
                <a:gd name="T33" fmla="*/ 686 h 901"/>
                <a:gd name="T34" fmla="*/ 816 w 1433"/>
                <a:gd name="T35" fmla="*/ 698 h 901"/>
                <a:gd name="T36" fmla="*/ 791 w 1433"/>
                <a:gd name="T37" fmla="*/ 691 h 901"/>
                <a:gd name="T38" fmla="*/ 758 w 1433"/>
                <a:gd name="T39" fmla="*/ 656 h 901"/>
                <a:gd name="T40" fmla="*/ 670 w 1433"/>
                <a:gd name="T41" fmla="*/ 641 h 901"/>
                <a:gd name="T42" fmla="*/ 636 w 1433"/>
                <a:gd name="T43" fmla="*/ 646 h 901"/>
                <a:gd name="T44" fmla="*/ 571 w 1433"/>
                <a:gd name="T45" fmla="*/ 632 h 901"/>
                <a:gd name="T46" fmla="*/ 450 w 1433"/>
                <a:gd name="T47" fmla="*/ 643 h 901"/>
                <a:gd name="T48" fmla="*/ 478 w 1433"/>
                <a:gd name="T49" fmla="*/ 608 h 901"/>
                <a:gd name="T50" fmla="*/ 487 w 1433"/>
                <a:gd name="T51" fmla="*/ 532 h 901"/>
                <a:gd name="T52" fmla="*/ 652 w 1433"/>
                <a:gd name="T53" fmla="*/ 422 h 901"/>
                <a:gd name="T54" fmla="*/ 678 w 1433"/>
                <a:gd name="T55" fmla="*/ 396 h 901"/>
                <a:gd name="T56" fmla="*/ 640 w 1433"/>
                <a:gd name="T57" fmla="*/ 360 h 901"/>
                <a:gd name="T58" fmla="*/ 622 w 1433"/>
                <a:gd name="T59" fmla="*/ 327 h 901"/>
                <a:gd name="T60" fmla="*/ 603 w 1433"/>
                <a:gd name="T61" fmla="*/ 313 h 901"/>
                <a:gd name="T62" fmla="*/ 556 w 1433"/>
                <a:gd name="T63" fmla="*/ 306 h 901"/>
                <a:gd name="T64" fmla="*/ 505 w 1433"/>
                <a:gd name="T65" fmla="*/ 273 h 901"/>
                <a:gd name="T66" fmla="*/ 372 w 1433"/>
                <a:gd name="T67" fmla="*/ 268 h 901"/>
                <a:gd name="T68" fmla="*/ 346 w 1433"/>
                <a:gd name="T69" fmla="*/ 250 h 901"/>
                <a:gd name="T70" fmla="*/ 201 w 1433"/>
                <a:gd name="T71" fmla="*/ 228 h 901"/>
                <a:gd name="T72" fmla="*/ 60 w 1433"/>
                <a:gd name="T73" fmla="*/ 241 h 901"/>
                <a:gd name="T74" fmla="*/ 45 w 1433"/>
                <a:gd name="T75" fmla="*/ 230 h 901"/>
                <a:gd name="T76" fmla="*/ 26 w 1433"/>
                <a:gd name="T77" fmla="*/ 198 h 901"/>
                <a:gd name="T78" fmla="*/ 3 w 1433"/>
                <a:gd name="T79" fmla="*/ 175 h 901"/>
                <a:gd name="T80" fmla="*/ 1 w 1433"/>
                <a:gd name="T81" fmla="*/ 147 h 901"/>
                <a:gd name="T82" fmla="*/ 191 w 1433"/>
                <a:gd name="T83" fmla="*/ 23 h 901"/>
                <a:gd name="T84" fmla="*/ 250 w 1433"/>
                <a:gd name="T85" fmla="*/ 5 h 901"/>
                <a:gd name="T86" fmla="*/ 429 w 1433"/>
                <a:gd name="T87" fmla="*/ 39 h 901"/>
                <a:gd name="T88" fmla="*/ 515 w 1433"/>
                <a:gd name="T89" fmla="*/ 91 h 901"/>
                <a:gd name="T90" fmla="*/ 706 w 1433"/>
                <a:gd name="T91" fmla="*/ 205 h 901"/>
                <a:gd name="T92" fmla="*/ 821 w 1433"/>
                <a:gd name="T93" fmla="*/ 305 h 901"/>
                <a:gd name="T94" fmla="*/ 933 w 1433"/>
                <a:gd name="T95" fmla="*/ 397 h 901"/>
                <a:gd name="T96" fmla="*/ 1099 w 1433"/>
                <a:gd name="T97" fmla="*/ 533 h 901"/>
                <a:gd name="T98" fmla="*/ 1147 w 1433"/>
                <a:gd name="T99" fmla="*/ 571 h 901"/>
                <a:gd name="T100" fmla="*/ 1433 w 1433"/>
                <a:gd name="T101" fmla="*/ 59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3" h="901">
                  <a:moveTo>
                    <a:pt x="1433" y="593"/>
                  </a:moveTo>
                  <a:lnTo>
                    <a:pt x="1431" y="595"/>
                  </a:lnTo>
                  <a:lnTo>
                    <a:pt x="1352" y="625"/>
                  </a:lnTo>
                  <a:lnTo>
                    <a:pt x="1329" y="639"/>
                  </a:lnTo>
                  <a:lnTo>
                    <a:pt x="1312" y="654"/>
                  </a:lnTo>
                  <a:lnTo>
                    <a:pt x="1299" y="669"/>
                  </a:lnTo>
                  <a:lnTo>
                    <a:pt x="1289" y="684"/>
                  </a:lnTo>
                  <a:lnTo>
                    <a:pt x="1230" y="795"/>
                  </a:lnTo>
                  <a:lnTo>
                    <a:pt x="1222" y="808"/>
                  </a:lnTo>
                  <a:lnTo>
                    <a:pt x="1194" y="841"/>
                  </a:lnTo>
                  <a:lnTo>
                    <a:pt x="1190" y="848"/>
                  </a:lnTo>
                  <a:lnTo>
                    <a:pt x="1186" y="859"/>
                  </a:lnTo>
                  <a:lnTo>
                    <a:pt x="1185" y="864"/>
                  </a:lnTo>
                  <a:lnTo>
                    <a:pt x="1184" y="868"/>
                  </a:lnTo>
                  <a:lnTo>
                    <a:pt x="1184" y="870"/>
                  </a:lnTo>
                  <a:lnTo>
                    <a:pt x="1185" y="875"/>
                  </a:lnTo>
                  <a:lnTo>
                    <a:pt x="1187" y="878"/>
                  </a:lnTo>
                  <a:lnTo>
                    <a:pt x="1191" y="884"/>
                  </a:lnTo>
                  <a:lnTo>
                    <a:pt x="1193" y="887"/>
                  </a:lnTo>
                  <a:lnTo>
                    <a:pt x="1186" y="897"/>
                  </a:lnTo>
                  <a:lnTo>
                    <a:pt x="1182" y="899"/>
                  </a:lnTo>
                  <a:lnTo>
                    <a:pt x="1179" y="901"/>
                  </a:lnTo>
                  <a:lnTo>
                    <a:pt x="1174" y="901"/>
                  </a:lnTo>
                  <a:lnTo>
                    <a:pt x="1171" y="899"/>
                  </a:lnTo>
                  <a:lnTo>
                    <a:pt x="1168" y="897"/>
                  </a:lnTo>
                  <a:lnTo>
                    <a:pt x="1165" y="892"/>
                  </a:lnTo>
                  <a:lnTo>
                    <a:pt x="1161" y="890"/>
                  </a:lnTo>
                  <a:lnTo>
                    <a:pt x="1159" y="884"/>
                  </a:lnTo>
                  <a:lnTo>
                    <a:pt x="1154" y="878"/>
                  </a:lnTo>
                  <a:lnTo>
                    <a:pt x="1127" y="853"/>
                  </a:lnTo>
                  <a:lnTo>
                    <a:pt x="1123" y="851"/>
                  </a:lnTo>
                  <a:lnTo>
                    <a:pt x="1115" y="846"/>
                  </a:lnTo>
                  <a:lnTo>
                    <a:pt x="1110" y="845"/>
                  </a:lnTo>
                  <a:lnTo>
                    <a:pt x="1058" y="837"/>
                  </a:lnTo>
                  <a:lnTo>
                    <a:pt x="1054" y="835"/>
                  </a:lnTo>
                  <a:lnTo>
                    <a:pt x="1048" y="832"/>
                  </a:lnTo>
                  <a:lnTo>
                    <a:pt x="1043" y="829"/>
                  </a:lnTo>
                  <a:lnTo>
                    <a:pt x="1039" y="825"/>
                  </a:lnTo>
                  <a:lnTo>
                    <a:pt x="1033" y="816"/>
                  </a:lnTo>
                  <a:lnTo>
                    <a:pt x="1019" y="779"/>
                  </a:lnTo>
                  <a:lnTo>
                    <a:pt x="991" y="728"/>
                  </a:lnTo>
                  <a:lnTo>
                    <a:pt x="988" y="724"/>
                  </a:lnTo>
                  <a:lnTo>
                    <a:pt x="985" y="721"/>
                  </a:lnTo>
                  <a:lnTo>
                    <a:pt x="980" y="719"/>
                  </a:lnTo>
                  <a:lnTo>
                    <a:pt x="974" y="720"/>
                  </a:lnTo>
                  <a:lnTo>
                    <a:pt x="970" y="722"/>
                  </a:lnTo>
                  <a:lnTo>
                    <a:pt x="950" y="735"/>
                  </a:lnTo>
                  <a:lnTo>
                    <a:pt x="943" y="738"/>
                  </a:lnTo>
                  <a:lnTo>
                    <a:pt x="940" y="739"/>
                  </a:lnTo>
                  <a:lnTo>
                    <a:pt x="935" y="738"/>
                  </a:lnTo>
                  <a:lnTo>
                    <a:pt x="928" y="736"/>
                  </a:lnTo>
                  <a:lnTo>
                    <a:pt x="911" y="726"/>
                  </a:lnTo>
                  <a:lnTo>
                    <a:pt x="906" y="725"/>
                  </a:lnTo>
                  <a:lnTo>
                    <a:pt x="901" y="724"/>
                  </a:lnTo>
                  <a:lnTo>
                    <a:pt x="884" y="726"/>
                  </a:lnTo>
                  <a:lnTo>
                    <a:pt x="880" y="726"/>
                  </a:lnTo>
                  <a:lnTo>
                    <a:pt x="875" y="724"/>
                  </a:lnTo>
                  <a:lnTo>
                    <a:pt x="869" y="721"/>
                  </a:lnTo>
                  <a:lnTo>
                    <a:pt x="866" y="716"/>
                  </a:lnTo>
                  <a:lnTo>
                    <a:pt x="863" y="710"/>
                  </a:lnTo>
                  <a:lnTo>
                    <a:pt x="861" y="707"/>
                  </a:lnTo>
                  <a:lnTo>
                    <a:pt x="861" y="704"/>
                  </a:lnTo>
                  <a:lnTo>
                    <a:pt x="860" y="690"/>
                  </a:lnTo>
                  <a:lnTo>
                    <a:pt x="860" y="688"/>
                  </a:lnTo>
                  <a:lnTo>
                    <a:pt x="858" y="686"/>
                  </a:lnTo>
                  <a:lnTo>
                    <a:pt x="855" y="685"/>
                  </a:lnTo>
                  <a:lnTo>
                    <a:pt x="849" y="685"/>
                  </a:lnTo>
                  <a:lnTo>
                    <a:pt x="844" y="686"/>
                  </a:lnTo>
                  <a:lnTo>
                    <a:pt x="840" y="687"/>
                  </a:lnTo>
                  <a:lnTo>
                    <a:pt x="826" y="695"/>
                  </a:lnTo>
                  <a:lnTo>
                    <a:pt x="821" y="697"/>
                  </a:lnTo>
                  <a:lnTo>
                    <a:pt x="816" y="698"/>
                  </a:lnTo>
                  <a:lnTo>
                    <a:pt x="811" y="699"/>
                  </a:lnTo>
                  <a:lnTo>
                    <a:pt x="805" y="698"/>
                  </a:lnTo>
                  <a:lnTo>
                    <a:pt x="797" y="694"/>
                  </a:lnTo>
                  <a:lnTo>
                    <a:pt x="791" y="691"/>
                  </a:lnTo>
                  <a:lnTo>
                    <a:pt x="786" y="686"/>
                  </a:lnTo>
                  <a:lnTo>
                    <a:pt x="766" y="663"/>
                  </a:lnTo>
                  <a:lnTo>
                    <a:pt x="762" y="659"/>
                  </a:lnTo>
                  <a:lnTo>
                    <a:pt x="758" y="656"/>
                  </a:lnTo>
                  <a:lnTo>
                    <a:pt x="750" y="654"/>
                  </a:lnTo>
                  <a:lnTo>
                    <a:pt x="693" y="640"/>
                  </a:lnTo>
                  <a:lnTo>
                    <a:pt x="689" y="640"/>
                  </a:lnTo>
                  <a:lnTo>
                    <a:pt x="670" y="641"/>
                  </a:lnTo>
                  <a:lnTo>
                    <a:pt x="651" y="647"/>
                  </a:lnTo>
                  <a:lnTo>
                    <a:pt x="647" y="647"/>
                  </a:lnTo>
                  <a:lnTo>
                    <a:pt x="642" y="647"/>
                  </a:lnTo>
                  <a:lnTo>
                    <a:pt x="636" y="646"/>
                  </a:lnTo>
                  <a:lnTo>
                    <a:pt x="595" y="632"/>
                  </a:lnTo>
                  <a:lnTo>
                    <a:pt x="590" y="632"/>
                  </a:lnTo>
                  <a:lnTo>
                    <a:pt x="583" y="632"/>
                  </a:lnTo>
                  <a:lnTo>
                    <a:pt x="571" y="632"/>
                  </a:lnTo>
                  <a:lnTo>
                    <a:pt x="482" y="654"/>
                  </a:lnTo>
                  <a:lnTo>
                    <a:pt x="478" y="654"/>
                  </a:lnTo>
                  <a:lnTo>
                    <a:pt x="468" y="651"/>
                  </a:lnTo>
                  <a:lnTo>
                    <a:pt x="450" y="643"/>
                  </a:lnTo>
                  <a:lnTo>
                    <a:pt x="473" y="619"/>
                  </a:lnTo>
                  <a:lnTo>
                    <a:pt x="476" y="615"/>
                  </a:lnTo>
                  <a:lnTo>
                    <a:pt x="477" y="611"/>
                  </a:lnTo>
                  <a:lnTo>
                    <a:pt x="478" y="608"/>
                  </a:lnTo>
                  <a:lnTo>
                    <a:pt x="482" y="544"/>
                  </a:lnTo>
                  <a:lnTo>
                    <a:pt x="483" y="540"/>
                  </a:lnTo>
                  <a:lnTo>
                    <a:pt x="484" y="535"/>
                  </a:lnTo>
                  <a:lnTo>
                    <a:pt x="487" y="532"/>
                  </a:lnTo>
                  <a:lnTo>
                    <a:pt x="490" y="527"/>
                  </a:lnTo>
                  <a:lnTo>
                    <a:pt x="494" y="524"/>
                  </a:lnTo>
                  <a:lnTo>
                    <a:pt x="512" y="510"/>
                  </a:lnTo>
                  <a:lnTo>
                    <a:pt x="652" y="422"/>
                  </a:lnTo>
                  <a:lnTo>
                    <a:pt x="666" y="411"/>
                  </a:lnTo>
                  <a:lnTo>
                    <a:pt x="673" y="403"/>
                  </a:lnTo>
                  <a:lnTo>
                    <a:pt x="676" y="399"/>
                  </a:lnTo>
                  <a:lnTo>
                    <a:pt x="678" y="396"/>
                  </a:lnTo>
                  <a:lnTo>
                    <a:pt x="676" y="391"/>
                  </a:lnTo>
                  <a:lnTo>
                    <a:pt x="673" y="388"/>
                  </a:lnTo>
                  <a:lnTo>
                    <a:pt x="648" y="368"/>
                  </a:lnTo>
                  <a:lnTo>
                    <a:pt x="640" y="360"/>
                  </a:lnTo>
                  <a:lnTo>
                    <a:pt x="637" y="356"/>
                  </a:lnTo>
                  <a:lnTo>
                    <a:pt x="632" y="348"/>
                  </a:lnTo>
                  <a:lnTo>
                    <a:pt x="625" y="330"/>
                  </a:lnTo>
                  <a:lnTo>
                    <a:pt x="622" y="327"/>
                  </a:lnTo>
                  <a:lnTo>
                    <a:pt x="617" y="321"/>
                  </a:lnTo>
                  <a:lnTo>
                    <a:pt x="615" y="318"/>
                  </a:lnTo>
                  <a:lnTo>
                    <a:pt x="609" y="314"/>
                  </a:lnTo>
                  <a:lnTo>
                    <a:pt x="603" y="313"/>
                  </a:lnTo>
                  <a:lnTo>
                    <a:pt x="584" y="309"/>
                  </a:lnTo>
                  <a:lnTo>
                    <a:pt x="570" y="309"/>
                  </a:lnTo>
                  <a:lnTo>
                    <a:pt x="561" y="308"/>
                  </a:lnTo>
                  <a:lnTo>
                    <a:pt x="556" y="306"/>
                  </a:lnTo>
                  <a:lnTo>
                    <a:pt x="550" y="304"/>
                  </a:lnTo>
                  <a:lnTo>
                    <a:pt x="518" y="277"/>
                  </a:lnTo>
                  <a:lnTo>
                    <a:pt x="512" y="275"/>
                  </a:lnTo>
                  <a:lnTo>
                    <a:pt x="505" y="273"/>
                  </a:lnTo>
                  <a:lnTo>
                    <a:pt x="489" y="273"/>
                  </a:lnTo>
                  <a:lnTo>
                    <a:pt x="479" y="274"/>
                  </a:lnTo>
                  <a:lnTo>
                    <a:pt x="388" y="272"/>
                  </a:lnTo>
                  <a:lnTo>
                    <a:pt x="372" y="268"/>
                  </a:lnTo>
                  <a:lnTo>
                    <a:pt x="367" y="267"/>
                  </a:lnTo>
                  <a:lnTo>
                    <a:pt x="362" y="264"/>
                  </a:lnTo>
                  <a:lnTo>
                    <a:pt x="350" y="252"/>
                  </a:lnTo>
                  <a:lnTo>
                    <a:pt x="346" y="250"/>
                  </a:lnTo>
                  <a:lnTo>
                    <a:pt x="342" y="247"/>
                  </a:lnTo>
                  <a:lnTo>
                    <a:pt x="337" y="246"/>
                  </a:lnTo>
                  <a:lnTo>
                    <a:pt x="223" y="229"/>
                  </a:lnTo>
                  <a:lnTo>
                    <a:pt x="201" y="228"/>
                  </a:lnTo>
                  <a:lnTo>
                    <a:pt x="150" y="236"/>
                  </a:lnTo>
                  <a:lnTo>
                    <a:pt x="76" y="244"/>
                  </a:lnTo>
                  <a:lnTo>
                    <a:pt x="67" y="243"/>
                  </a:lnTo>
                  <a:lnTo>
                    <a:pt x="60" y="241"/>
                  </a:lnTo>
                  <a:lnTo>
                    <a:pt x="56" y="239"/>
                  </a:lnTo>
                  <a:lnTo>
                    <a:pt x="53" y="237"/>
                  </a:lnTo>
                  <a:lnTo>
                    <a:pt x="49" y="234"/>
                  </a:lnTo>
                  <a:lnTo>
                    <a:pt x="45" y="230"/>
                  </a:lnTo>
                  <a:lnTo>
                    <a:pt x="40" y="221"/>
                  </a:lnTo>
                  <a:lnTo>
                    <a:pt x="37" y="214"/>
                  </a:lnTo>
                  <a:lnTo>
                    <a:pt x="32" y="205"/>
                  </a:lnTo>
                  <a:lnTo>
                    <a:pt x="26" y="198"/>
                  </a:lnTo>
                  <a:lnTo>
                    <a:pt x="22" y="192"/>
                  </a:lnTo>
                  <a:lnTo>
                    <a:pt x="7" y="182"/>
                  </a:lnTo>
                  <a:lnTo>
                    <a:pt x="5" y="178"/>
                  </a:lnTo>
                  <a:lnTo>
                    <a:pt x="3" y="175"/>
                  </a:lnTo>
                  <a:lnTo>
                    <a:pt x="3" y="173"/>
                  </a:lnTo>
                  <a:lnTo>
                    <a:pt x="1" y="166"/>
                  </a:lnTo>
                  <a:lnTo>
                    <a:pt x="0" y="154"/>
                  </a:lnTo>
                  <a:lnTo>
                    <a:pt x="1" y="147"/>
                  </a:lnTo>
                  <a:lnTo>
                    <a:pt x="22" y="72"/>
                  </a:lnTo>
                  <a:lnTo>
                    <a:pt x="91" y="53"/>
                  </a:lnTo>
                  <a:lnTo>
                    <a:pt x="185" y="24"/>
                  </a:lnTo>
                  <a:lnTo>
                    <a:pt x="191" y="23"/>
                  </a:lnTo>
                  <a:lnTo>
                    <a:pt x="211" y="3"/>
                  </a:lnTo>
                  <a:lnTo>
                    <a:pt x="214" y="0"/>
                  </a:lnTo>
                  <a:lnTo>
                    <a:pt x="218" y="0"/>
                  </a:lnTo>
                  <a:lnTo>
                    <a:pt x="250" y="5"/>
                  </a:lnTo>
                  <a:lnTo>
                    <a:pt x="316" y="16"/>
                  </a:lnTo>
                  <a:lnTo>
                    <a:pt x="363" y="24"/>
                  </a:lnTo>
                  <a:lnTo>
                    <a:pt x="421" y="36"/>
                  </a:lnTo>
                  <a:lnTo>
                    <a:pt x="429" y="39"/>
                  </a:lnTo>
                  <a:lnTo>
                    <a:pt x="439" y="45"/>
                  </a:lnTo>
                  <a:lnTo>
                    <a:pt x="471" y="64"/>
                  </a:lnTo>
                  <a:lnTo>
                    <a:pt x="485" y="73"/>
                  </a:lnTo>
                  <a:lnTo>
                    <a:pt x="515" y="91"/>
                  </a:lnTo>
                  <a:lnTo>
                    <a:pt x="558" y="116"/>
                  </a:lnTo>
                  <a:lnTo>
                    <a:pt x="602" y="143"/>
                  </a:lnTo>
                  <a:lnTo>
                    <a:pt x="662" y="178"/>
                  </a:lnTo>
                  <a:lnTo>
                    <a:pt x="706" y="205"/>
                  </a:lnTo>
                  <a:lnTo>
                    <a:pt x="716" y="214"/>
                  </a:lnTo>
                  <a:lnTo>
                    <a:pt x="759" y="252"/>
                  </a:lnTo>
                  <a:lnTo>
                    <a:pt x="773" y="264"/>
                  </a:lnTo>
                  <a:lnTo>
                    <a:pt x="821" y="305"/>
                  </a:lnTo>
                  <a:lnTo>
                    <a:pt x="836" y="319"/>
                  </a:lnTo>
                  <a:lnTo>
                    <a:pt x="869" y="345"/>
                  </a:lnTo>
                  <a:lnTo>
                    <a:pt x="898" y="370"/>
                  </a:lnTo>
                  <a:lnTo>
                    <a:pt x="933" y="397"/>
                  </a:lnTo>
                  <a:lnTo>
                    <a:pt x="990" y="444"/>
                  </a:lnTo>
                  <a:lnTo>
                    <a:pt x="1009" y="460"/>
                  </a:lnTo>
                  <a:lnTo>
                    <a:pt x="1067" y="507"/>
                  </a:lnTo>
                  <a:lnTo>
                    <a:pt x="1099" y="533"/>
                  </a:lnTo>
                  <a:lnTo>
                    <a:pt x="1114" y="546"/>
                  </a:lnTo>
                  <a:lnTo>
                    <a:pt x="1130" y="558"/>
                  </a:lnTo>
                  <a:lnTo>
                    <a:pt x="1144" y="569"/>
                  </a:lnTo>
                  <a:lnTo>
                    <a:pt x="1147" y="571"/>
                  </a:lnTo>
                  <a:lnTo>
                    <a:pt x="1250" y="579"/>
                  </a:lnTo>
                  <a:lnTo>
                    <a:pt x="1267" y="581"/>
                  </a:lnTo>
                  <a:lnTo>
                    <a:pt x="1422" y="595"/>
                  </a:lnTo>
                  <a:lnTo>
                    <a:pt x="1433" y="593"/>
                  </a:lnTo>
                  <a:lnTo>
                    <a:pt x="1433" y="593"/>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8" name="Freeform 14">
              <a:extLst>
                <a:ext uri="{FF2B5EF4-FFF2-40B4-BE49-F238E27FC236}"/>
              </a:extLst>
            </p:cNvPr>
            <p:cNvSpPr>
              <a:spLocks/>
            </p:cNvSpPr>
            <p:nvPr/>
          </p:nvSpPr>
          <p:spPr bwMode="auto">
            <a:xfrm>
              <a:off x="1766782" y="1967316"/>
              <a:ext cx="1880289" cy="1110797"/>
            </a:xfrm>
            <a:custGeom>
              <a:avLst/>
              <a:gdLst>
                <a:gd name="T0" fmla="*/ 879 w 1185"/>
                <a:gd name="T1" fmla="*/ 595 h 700"/>
                <a:gd name="T2" fmla="*/ 720 w 1185"/>
                <a:gd name="T3" fmla="*/ 672 h 700"/>
                <a:gd name="T4" fmla="*/ 689 w 1185"/>
                <a:gd name="T5" fmla="*/ 688 h 700"/>
                <a:gd name="T6" fmla="*/ 672 w 1185"/>
                <a:gd name="T7" fmla="*/ 690 h 700"/>
                <a:gd name="T8" fmla="*/ 642 w 1185"/>
                <a:gd name="T9" fmla="*/ 700 h 700"/>
                <a:gd name="T10" fmla="*/ 623 w 1185"/>
                <a:gd name="T11" fmla="*/ 683 h 700"/>
                <a:gd name="T12" fmla="*/ 607 w 1185"/>
                <a:gd name="T13" fmla="*/ 677 h 700"/>
                <a:gd name="T14" fmla="*/ 586 w 1185"/>
                <a:gd name="T15" fmla="*/ 683 h 700"/>
                <a:gd name="T16" fmla="*/ 515 w 1185"/>
                <a:gd name="T17" fmla="*/ 667 h 700"/>
                <a:gd name="T18" fmla="*/ 497 w 1185"/>
                <a:gd name="T19" fmla="*/ 645 h 700"/>
                <a:gd name="T20" fmla="*/ 491 w 1185"/>
                <a:gd name="T21" fmla="*/ 603 h 700"/>
                <a:gd name="T22" fmla="*/ 487 w 1185"/>
                <a:gd name="T23" fmla="*/ 562 h 700"/>
                <a:gd name="T24" fmla="*/ 458 w 1185"/>
                <a:gd name="T25" fmla="*/ 580 h 700"/>
                <a:gd name="T26" fmla="*/ 444 w 1185"/>
                <a:gd name="T27" fmla="*/ 608 h 700"/>
                <a:gd name="T28" fmla="*/ 431 w 1185"/>
                <a:gd name="T29" fmla="*/ 618 h 700"/>
                <a:gd name="T30" fmla="*/ 353 w 1185"/>
                <a:gd name="T31" fmla="*/ 604 h 700"/>
                <a:gd name="T32" fmla="*/ 278 w 1185"/>
                <a:gd name="T33" fmla="*/ 620 h 700"/>
                <a:gd name="T34" fmla="*/ 265 w 1185"/>
                <a:gd name="T35" fmla="*/ 615 h 700"/>
                <a:gd name="T36" fmla="*/ 205 w 1185"/>
                <a:gd name="T37" fmla="*/ 546 h 700"/>
                <a:gd name="T38" fmla="*/ 126 w 1185"/>
                <a:gd name="T39" fmla="*/ 543 h 700"/>
                <a:gd name="T40" fmla="*/ 73 w 1185"/>
                <a:gd name="T41" fmla="*/ 560 h 700"/>
                <a:gd name="T42" fmla="*/ 28 w 1185"/>
                <a:gd name="T43" fmla="*/ 557 h 700"/>
                <a:gd name="T44" fmla="*/ 3 w 1185"/>
                <a:gd name="T45" fmla="*/ 557 h 700"/>
                <a:gd name="T46" fmla="*/ 5 w 1185"/>
                <a:gd name="T47" fmla="*/ 543 h 700"/>
                <a:gd name="T48" fmla="*/ 6 w 1185"/>
                <a:gd name="T49" fmla="*/ 523 h 700"/>
                <a:gd name="T50" fmla="*/ 14 w 1185"/>
                <a:gd name="T51" fmla="*/ 495 h 700"/>
                <a:gd name="T52" fmla="*/ 19 w 1185"/>
                <a:gd name="T53" fmla="*/ 488 h 700"/>
                <a:gd name="T54" fmla="*/ 20 w 1185"/>
                <a:gd name="T55" fmla="*/ 478 h 700"/>
                <a:gd name="T56" fmla="*/ 20 w 1185"/>
                <a:gd name="T57" fmla="*/ 471 h 700"/>
                <a:gd name="T58" fmla="*/ 108 w 1185"/>
                <a:gd name="T59" fmla="*/ 484 h 700"/>
                <a:gd name="T60" fmla="*/ 204 w 1185"/>
                <a:gd name="T61" fmla="*/ 499 h 700"/>
                <a:gd name="T62" fmla="*/ 305 w 1185"/>
                <a:gd name="T63" fmla="*/ 392 h 700"/>
                <a:gd name="T64" fmla="*/ 352 w 1185"/>
                <a:gd name="T65" fmla="*/ 362 h 700"/>
                <a:gd name="T66" fmla="*/ 454 w 1185"/>
                <a:gd name="T67" fmla="*/ 323 h 700"/>
                <a:gd name="T68" fmla="*/ 476 w 1185"/>
                <a:gd name="T69" fmla="*/ 276 h 700"/>
                <a:gd name="T70" fmla="*/ 483 w 1185"/>
                <a:gd name="T71" fmla="*/ 193 h 700"/>
                <a:gd name="T72" fmla="*/ 357 w 1185"/>
                <a:gd name="T73" fmla="*/ 52 h 700"/>
                <a:gd name="T74" fmla="*/ 508 w 1185"/>
                <a:gd name="T75" fmla="*/ 75 h 700"/>
                <a:gd name="T76" fmla="*/ 510 w 1185"/>
                <a:gd name="T77" fmla="*/ 103 h 700"/>
                <a:gd name="T78" fmla="*/ 533 w 1185"/>
                <a:gd name="T79" fmla="*/ 126 h 700"/>
                <a:gd name="T80" fmla="*/ 552 w 1185"/>
                <a:gd name="T81" fmla="*/ 158 h 700"/>
                <a:gd name="T82" fmla="*/ 567 w 1185"/>
                <a:gd name="T83" fmla="*/ 169 h 700"/>
                <a:gd name="T84" fmla="*/ 708 w 1185"/>
                <a:gd name="T85" fmla="*/ 156 h 700"/>
                <a:gd name="T86" fmla="*/ 853 w 1185"/>
                <a:gd name="T87" fmla="*/ 178 h 700"/>
                <a:gd name="T88" fmla="*/ 879 w 1185"/>
                <a:gd name="T89" fmla="*/ 196 h 700"/>
                <a:gd name="T90" fmla="*/ 1012 w 1185"/>
                <a:gd name="T91" fmla="*/ 201 h 700"/>
                <a:gd name="T92" fmla="*/ 1063 w 1185"/>
                <a:gd name="T93" fmla="*/ 234 h 700"/>
                <a:gd name="T94" fmla="*/ 1110 w 1185"/>
                <a:gd name="T95" fmla="*/ 241 h 700"/>
                <a:gd name="T96" fmla="*/ 1129 w 1185"/>
                <a:gd name="T97" fmla="*/ 255 h 700"/>
                <a:gd name="T98" fmla="*/ 1147 w 1185"/>
                <a:gd name="T99" fmla="*/ 288 h 700"/>
                <a:gd name="T100" fmla="*/ 1185 w 1185"/>
                <a:gd name="T101" fmla="*/ 324 h 700"/>
                <a:gd name="T102" fmla="*/ 1159 w 1185"/>
                <a:gd name="T103" fmla="*/ 350 h 700"/>
                <a:gd name="T104" fmla="*/ 994 w 1185"/>
                <a:gd name="T105" fmla="*/ 460 h 700"/>
                <a:gd name="T106" fmla="*/ 985 w 1185"/>
                <a:gd name="T107" fmla="*/ 536 h 700"/>
                <a:gd name="T108" fmla="*/ 957 w 1185"/>
                <a:gd name="T109" fmla="*/ 57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5" h="700">
                  <a:moveTo>
                    <a:pt x="957" y="571"/>
                  </a:moveTo>
                  <a:lnTo>
                    <a:pt x="946" y="568"/>
                  </a:lnTo>
                  <a:lnTo>
                    <a:pt x="943" y="568"/>
                  </a:lnTo>
                  <a:lnTo>
                    <a:pt x="879" y="595"/>
                  </a:lnTo>
                  <a:lnTo>
                    <a:pt x="817" y="630"/>
                  </a:lnTo>
                  <a:lnTo>
                    <a:pt x="787" y="638"/>
                  </a:lnTo>
                  <a:lnTo>
                    <a:pt x="725" y="669"/>
                  </a:lnTo>
                  <a:lnTo>
                    <a:pt x="720" y="672"/>
                  </a:lnTo>
                  <a:lnTo>
                    <a:pt x="717" y="675"/>
                  </a:lnTo>
                  <a:lnTo>
                    <a:pt x="698" y="695"/>
                  </a:lnTo>
                  <a:lnTo>
                    <a:pt x="692" y="690"/>
                  </a:lnTo>
                  <a:lnTo>
                    <a:pt x="689" y="688"/>
                  </a:lnTo>
                  <a:lnTo>
                    <a:pt x="687" y="687"/>
                  </a:lnTo>
                  <a:lnTo>
                    <a:pt x="682" y="687"/>
                  </a:lnTo>
                  <a:lnTo>
                    <a:pt x="676" y="688"/>
                  </a:lnTo>
                  <a:lnTo>
                    <a:pt x="672" y="690"/>
                  </a:lnTo>
                  <a:lnTo>
                    <a:pt x="654" y="698"/>
                  </a:lnTo>
                  <a:lnTo>
                    <a:pt x="650" y="700"/>
                  </a:lnTo>
                  <a:lnTo>
                    <a:pt x="646" y="700"/>
                  </a:lnTo>
                  <a:lnTo>
                    <a:pt x="642" y="700"/>
                  </a:lnTo>
                  <a:lnTo>
                    <a:pt x="638" y="698"/>
                  </a:lnTo>
                  <a:lnTo>
                    <a:pt x="635" y="695"/>
                  </a:lnTo>
                  <a:lnTo>
                    <a:pt x="630" y="683"/>
                  </a:lnTo>
                  <a:lnTo>
                    <a:pt x="623" y="683"/>
                  </a:lnTo>
                  <a:lnTo>
                    <a:pt x="620" y="683"/>
                  </a:lnTo>
                  <a:lnTo>
                    <a:pt x="617" y="682"/>
                  </a:lnTo>
                  <a:lnTo>
                    <a:pt x="611" y="678"/>
                  </a:lnTo>
                  <a:lnTo>
                    <a:pt x="607" y="677"/>
                  </a:lnTo>
                  <a:lnTo>
                    <a:pt x="602" y="679"/>
                  </a:lnTo>
                  <a:lnTo>
                    <a:pt x="598" y="681"/>
                  </a:lnTo>
                  <a:lnTo>
                    <a:pt x="591" y="682"/>
                  </a:lnTo>
                  <a:lnTo>
                    <a:pt x="586" y="683"/>
                  </a:lnTo>
                  <a:lnTo>
                    <a:pt x="552" y="680"/>
                  </a:lnTo>
                  <a:lnTo>
                    <a:pt x="542" y="677"/>
                  </a:lnTo>
                  <a:lnTo>
                    <a:pt x="523" y="671"/>
                  </a:lnTo>
                  <a:lnTo>
                    <a:pt x="515" y="667"/>
                  </a:lnTo>
                  <a:lnTo>
                    <a:pt x="505" y="658"/>
                  </a:lnTo>
                  <a:lnTo>
                    <a:pt x="501" y="654"/>
                  </a:lnTo>
                  <a:lnTo>
                    <a:pt x="500" y="650"/>
                  </a:lnTo>
                  <a:lnTo>
                    <a:pt x="497" y="645"/>
                  </a:lnTo>
                  <a:lnTo>
                    <a:pt x="494" y="639"/>
                  </a:lnTo>
                  <a:lnTo>
                    <a:pt x="492" y="631"/>
                  </a:lnTo>
                  <a:lnTo>
                    <a:pt x="492" y="621"/>
                  </a:lnTo>
                  <a:lnTo>
                    <a:pt x="491" y="603"/>
                  </a:lnTo>
                  <a:lnTo>
                    <a:pt x="492" y="573"/>
                  </a:lnTo>
                  <a:lnTo>
                    <a:pt x="492" y="568"/>
                  </a:lnTo>
                  <a:lnTo>
                    <a:pt x="490" y="564"/>
                  </a:lnTo>
                  <a:lnTo>
                    <a:pt x="487" y="562"/>
                  </a:lnTo>
                  <a:lnTo>
                    <a:pt x="484" y="561"/>
                  </a:lnTo>
                  <a:lnTo>
                    <a:pt x="480" y="562"/>
                  </a:lnTo>
                  <a:lnTo>
                    <a:pt x="470" y="573"/>
                  </a:lnTo>
                  <a:lnTo>
                    <a:pt x="458" y="580"/>
                  </a:lnTo>
                  <a:lnTo>
                    <a:pt x="455" y="583"/>
                  </a:lnTo>
                  <a:lnTo>
                    <a:pt x="452" y="586"/>
                  </a:lnTo>
                  <a:lnTo>
                    <a:pt x="450" y="591"/>
                  </a:lnTo>
                  <a:lnTo>
                    <a:pt x="444" y="608"/>
                  </a:lnTo>
                  <a:lnTo>
                    <a:pt x="441" y="612"/>
                  </a:lnTo>
                  <a:lnTo>
                    <a:pt x="439" y="615"/>
                  </a:lnTo>
                  <a:lnTo>
                    <a:pt x="435" y="617"/>
                  </a:lnTo>
                  <a:lnTo>
                    <a:pt x="431" y="618"/>
                  </a:lnTo>
                  <a:lnTo>
                    <a:pt x="402" y="616"/>
                  </a:lnTo>
                  <a:lnTo>
                    <a:pt x="387" y="614"/>
                  </a:lnTo>
                  <a:lnTo>
                    <a:pt x="362" y="605"/>
                  </a:lnTo>
                  <a:lnTo>
                    <a:pt x="353" y="604"/>
                  </a:lnTo>
                  <a:lnTo>
                    <a:pt x="339" y="604"/>
                  </a:lnTo>
                  <a:lnTo>
                    <a:pt x="299" y="613"/>
                  </a:lnTo>
                  <a:lnTo>
                    <a:pt x="281" y="620"/>
                  </a:lnTo>
                  <a:lnTo>
                    <a:pt x="278" y="620"/>
                  </a:lnTo>
                  <a:lnTo>
                    <a:pt x="274" y="620"/>
                  </a:lnTo>
                  <a:lnTo>
                    <a:pt x="267" y="617"/>
                  </a:lnTo>
                  <a:lnTo>
                    <a:pt x="266" y="616"/>
                  </a:lnTo>
                  <a:lnTo>
                    <a:pt x="265" y="615"/>
                  </a:lnTo>
                  <a:lnTo>
                    <a:pt x="221" y="559"/>
                  </a:lnTo>
                  <a:lnTo>
                    <a:pt x="216" y="553"/>
                  </a:lnTo>
                  <a:lnTo>
                    <a:pt x="209" y="549"/>
                  </a:lnTo>
                  <a:lnTo>
                    <a:pt x="205" y="546"/>
                  </a:lnTo>
                  <a:lnTo>
                    <a:pt x="172" y="538"/>
                  </a:lnTo>
                  <a:lnTo>
                    <a:pt x="161" y="538"/>
                  </a:lnTo>
                  <a:lnTo>
                    <a:pt x="148" y="541"/>
                  </a:lnTo>
                  <a:lnTo>
                    <a:pt x="126" y="543"/>
                  </a:lnTo>
                  <a:lnTo>
                    <a:pt x="92" y="549"/>
                  </a:lnTo>
                  <a:lnTo>
                    <a:pt x="85" y="552"/>
                  </a:lnTo>
                  <a:lnTo>
                    <a:pt x="78" y="554"/>
                  </a:lnTo>
                  <a:lnTo>
                    <a:pt x="73" y="560"/>
                  </a:lnTo>
                  <a:lnTo>
                    <a:pt x="70" y="561"/>
                  </a:lnTo>
                  <a:lnTo>
                    <a:pt x="66" y="562"/>
                  </a:lnTo>
                  <a:lnTo>
                    <a:pt x="42" y="560"/>
                  </a:lnTo>
                  <a:lnTo>
                    <a:pt x="28" y="557"/>
                  </a:lnTo>
                  <a:lnTo>
                    <a:pt x="23" y="556"/>
                  </a:lnTo>
                  <a:lnTo>
                    <a:pt x="17" y="557"/>
                  </a:lnTo>
                  <a:lnTo>
                    <a:pt x="3" y="558"/>
                  </a:lnTo>
                  <a:lnTo>
                    <a:pt x="3" y="557"/>
                  </a:lnTo>
                  <a:lnTo>
                    <a:pt x="0" y="556"/>
                  </a:lnTo>
                  <a:lnTo>
                    <a:pt x="0" y="555"/>
                  </a:lnTo>
                  <a:lnTo>
                    <a:pt x="3" y="551"/>
                  </a:lnTo>
                  <a:lnTo>
                    <a:pt x="5" y="543"/>
                  </a:lnTo>
                  <a:lnTo>
                    <a:pt x="6" y="534"/>
                  </a:lnTo>
                  <a:lnTo>
                    <a:pt x="4" y="530"/>
                  </a:lnTo>
                  <a:lnTo>
                    <a:pt x="4" y="527"/>
                  </a:lnTo>
                  <a:lnTo>
                    <a:pt x="6" y="523"/>
                  </a:lnTo>
                  <a:lnTo>
                    <a:pt x="8" y="519"/>
                  </a:lnTo>
                  <a:lnTo>
                    <a:pt x="11" y="502"/>
                  </a:lnTo>
                  <a:lnTo>
                    <a:pt x="12" y="500"/>
                  </a:lnTo>
                  <a:lnTo>
                    <a:pt x="14" y="495"/>
                  </a:lnTo>
                  <a:lnTo>
                    <a:pt x="14" y="494"/>
                  </a:lnTo>
                  <a:lnTo>
                    <a:pt x="14" y="492"/>
                  </a:lnTo>
                  <a:lnTo>
                    <a:pt x="16" y="490"/>
                  </a:lnTo>
                  <a:lnTo>
                    <a:pt x="19" y="488"/>
                  </a:lnTo>
                  <a:lnTo>
                    <a:pt x="18" y="484"/>
                  </a:lnTo>
                  <a:lnTo>
                    <a:pt x="18" y="480"/>
                  </a:lnTo>
                  <a:lnTo>
                    <a:pt x="18" y="477"/>
                  </a:lnTo>
                  <a:lnTo>
                    <a:pt x="20" y="478"/>
                  </a:lnTo>
                  <a:lnTo>
                    <a:pt x="21" y="477"/>
                  </a:lnTo>
                  <a:lnTo>
                    <a:pt x="21" y="477"/>
                  </a:lnTo>
                  <a:lnTo>
                    <a:pt x="20" y="474"/>
                  </a:lnTo>
                  <a:lnTo>
                    <a:pt x="20" y="471"/>
                  </a:lnTo>
                  <a:lnTo>
                    <a:pt x="20" y="469"/>
                  </a:lnTo>
                  <a:lnTo>
                    <a:pt x="39" y="471"/>
                  </a:lnTo>
                  <a:lnTo>
                    <a:pt x="59" y="475"/>
                  </a:lnTo>
                  <a:lnTo>
                    <a:pt x="108" y="484"/>
                  </a:lnTo>
                  <a:lnTo>
                    <a:pt x="133" y="488"/>
                  </a:lnTo>
                  <a:lnTo>
                    <a:pt x="162" y="493"/>
                  </a:lnTo>
                  <a:lnTo>
                    <a:pt x="199" y="500"/>
                  </a:lnTo>
                  <a:lnTo>
                    <a:pt x="204" y="499"/>
                  </a:lnTo>
                  <a:lnTo>
                    <a:pt x="208" y="497"/>
                  </a:lnTo>
                  <a:lnTo>
                    <a:pt x="226" y="483"/>
                  </a:lnTo>
                  <a:lnTo>
                    <a:pt x="276" y="440"/>
                  </a:lnTo>
                  <a:lnTo>
                    <a:pt x="305" y="392"/>
                  </a:lnTo>
                  <a:lnTo>
                    <a:pt x="314" y="376"/>
                  </a:lnTo>
                  <a:lnTo>
                    <a:pt x="318" y="371"/>
                  </a:lnTo>
                  <a:lnTo>
                    <a:pt x="323" y="369"/>
                  </a:lnTo>
                  <a:lnTo>
                    <a:pt x="352" y="362"/>
                  </a:lnTo>
                  <a:lnTo>
                    <a:pt x="401" y="353"/>
                  </a:lnTo>
                  <a:lnTo>
                    <a:pt x="442" y="344"/>
                  </a:lnTo>
                  <a:lnTo>
                    <a:pt x="446" y="341"/>
                  </a:lnTo>
                  <a:lnTo>
                    <a:pt x="454" y="323"/>
                  </a:lnTo>
                  <a:lnTo>
                    <a:pt x="465" y="294"/>
                  </a:lnTo>
                  <a:lnTo>
                    <a:pt x="470" y="282"/>
                  </a:lnTo>
                  <a:lnTo>
                    <a:pt x="472" y="279"/>
                  </a:lnTo>
                  <a:lnTo>
                    <a:pt x="476" y="276"/>
                  </a:lnTo>
                  <a:lnTo>
                    <a:pt x="514" y="254"/>
                  </a:lnTo>
                  <a:lnTo>
                    <a:pt x="526" y="247"/>
                  </a:lnTo>
                  <a:lnTo>
                    <a:pt x="528" y="246"/>
                  </a:lnTo>
                  <a:lnTo>
                    <a:pt x="483" y="193"/>
                  </a:lnTo>
                  <a:lnTo>
                    <a:pt x="464" y="172"/>
                  </a:lnTo>
                  <a:lnTo>
                    <a:pt x="444" y="147"/>
                  </a:lnTo>
                  <a:lnTo>
                    <a:pt x="401" y="99"/>
                  </a:lnTo>
                  <a:lnTo>
                    <a:pt x="357" y="52"/>
                  </a:lnTo>
                  <a:lnTo>
                    <a:pt x="439" y="27"/>
                  </a:lnTo>
                  <a:lnTo>
                    <a:pt x="522" y="2"/>
                  </a:lnTo>
                  <a:lnTo>
                    <a:pt x="529" y="0"/>
                  </a:lnTo>
                  <a:lnTo>
                    <a:pt x="508" y="75"/>
                  </a:lnTo>
                  <a:lnTo>
                    <a:pt x="507" y="82"/>
                  </a:lnTo>
                  <a:lnTo>
                    <a:pt x="508" y="94"/>
                  </a:lnTo>
                  <a:lnTo>
                    <a:pt x="510" y="101"/>
                  </a:lnTo>
                  <a:lnTo>
                    <a:pt x="510" y="103"/>
                  </a:lnTo>
                  <a:lnTo>
                    <a:pt x="512" y="106"/>
                  </a:lnTo>
                  <a:lnTo>
                    <a:pt x="514" y="110"/>
                  </a:lnTo>
                  <a:lnTo>
                    <a:pt x="529" y="120"/>
                  </a:lnTo>
                  <a:lnTo>
                    <a:pt x="533" y="126"/>
                  </a:lnTo>
                  <a:lnTo>
                    <a:pt x="539" y="133"/>
                  </a:lnTo>
                  <a:lnTo>
                    <a:pt x="544" y="142"/>
                  </a:lnTo>
                  <a:lnTo>
                    <a:pt x="547" y="149"/>
                  </a:lnTo>
                  <a:lnTo>
                    <a:pt x="552" y="158"/>
                  </a:lnTo>
                  <a:lnTo>
                    <a:pt x="556" y="162"/>
                  </a:lnTo>
                  <a:lnTo>
                    <a:pt x="560" y="165"/>
                  </a:lnTo>
                  <a:lnTo>
                    <a:pt x="563" y="167"/>
                  </a:lnTo>
                  <a:lnTo>
                    <a:pt x="567" y="169"/>
                  </a:lnTo>
                  <a:lnTo>
                    <a:pt x="574" y="171"/>
                  </a:lnTo>
                  <a:lnTo>
                    <a:pt x="583" y="172"/>
                  </a:lnTo>
                  <a:lnTo>
                    <a:pt x="657" y="164"/>
                  </a:lnTo>
                  <a:lnTo>
                    <a:pt x="708" y="156"/>
                  </a:lnTo>
                  <a:lnTo>
                    <a:pt x="730" y="157"/>
                  </a:lnTo>
                  <a:lnTo>
                    <a:pt x="844" y="174"/>
                  </a:lnTo>
                  <a:lnTo>
                    <a:pt x="849" y="175"/>
                  </a:lnTo>
                  <a:lnTo>
                    <a:pt x="853" y="178"/>
                  </a:lnTo>
                  <a:lnTo>
                    <a:pt x="857" y="180"/>
                  </a:lnTo>
                  <a:lnTo>
                    <a:pt x="869" y="192"/>
                  </a:lnTo>
                  <a:lnTo>
                    <a:pt x="874" y="195"/>
                  </a:lnTo>
                  <a:lnTo>
                    <a:pt x="879" y="196"/>
                  </a:lnTo>
                  <a:lnTo>
                    <a:pt x="895" y="200"/>
                  </a:lnTo>
                  <a:lnTo>
                    <a:pt x="986" y="202"/>
                  </a:lnTo>
                  <a:lnTo>
                    <a:pt x="996" y="201"/>
                  </a:lnTo>
                  <a:lnTo>
                    <a:pt x="1012" y="201"/>
                  </a:lnTo>
                  <a:lnTo>
                    <a:pt x="1019" y="203"/>
                  </a:lnTo>
                  <a:lnTo>
                    <a:pt x="1025" y="205"/>
                  </a:lnTo>
                  <a:lnTo>
                    <a:pt x="1057" y="232"/>
                  </a:lnTo>
                  <a:lnTo>
                    <a:pt x="1063" y="234"/>
                  </a:lnTo>
                  <a:lnTo>
                    <a:pt x="1068" y="236"/>
                  </a:lnTo>
                  <a:lnTo>
                    <a:pt x="1077" y="237"/>
                  </a:lnTo>
                  <a:lnTo>
                    <a:pt x="1091" y="237"/>
                  </a:lnTo>
                  <a:lnTo>
                    <a:pt x="1110" y="241"/>
                  </a:lnTo>
                  <a:lnTo>
                    <a:pt x="1116" y="242"/>
                  </a:lnTo>
                  <a:lnTo>
                    <a:pt x="1122" y="246"/>
                  </a:lnTo>
                  <a:lnTo>
                    <a:pt x="1124" y="249"/>
                  </a:lnTo>
                  <a:lnTo>
                    <a:pt x="1129" y="255"/>
                  </a:lnTo>
                  <a:lnTo>
                    <a:pt x="1132" y="258"/>
                  </a:lnTo>
                  <a:lnTo>
                    <a:pt x="1139" y="276"/>
                  </a:lnTo>
                  <a:lnTo>
                    <a:pt x="1144" y="284"/>
                  </a:lnTo>
                  <a:lnTo>
                    <a:pt x="1147" y="288"/>
                  </a:lnTo>
                  <a:lnTo>
                    <a:pt x="1155" y="296"/>
                  </a:lnTo>
                  <a:lnTo>
                    <a:pt x="1180" y="316"/>
                  </a:lnTo>
                  <a:lnTo>
                    <a:pt x="1183" y="319"/>
                  </a:lnTo>
                  <a:lnTo>
                    <a:pt x="1185" y="324"/>
                  </a:lnTo>
                  <a:lnTo>
                    <a:pt x="1183" y="327"/>
                  </a:lnTo>
                  <a:lnTo>
                    <a:pt x="1180" y="331"/>
                  </a:lnTo>
                  <a:lnTo>
                    <a:pt x="1173" y="339"/>
                  </a:lnTo>
                  <a:lnTo>
                    <a:pt x="1159" y="350"/>
                  </a:lnTo>
                  <a:lnTo>
                    <a:pt x="1019" y="438"/>
                  </a:lnTo>
                  <a:lnTo>
                    <a:pt x="1001" y="452"/>
                  </a:lnTo>
                  <a:lnTo>
                    <a:pt x="997" y="455"/>
                  </a:lnTo>
                  <a:lnTo>
                    <a:pt x="994" y="460"/>
                  </a:lnTo>
                  <a:lnTo>
                    <a:pt x="991" y="463"/>
                  </a:lnTo>
                  <a:lnTo>
                    <a:pt x="990" y="468"/>
                  </a:lnTo>
                  <a:lnTo>
                    <a:pt x="989" y="472"/>
                  </a:lnTo>
                  <a:lnTo>
                    <a:pt x="985" y="536"/>
                  </a:lnTo>
                  <a:lnTo>
                    <a:pt x="984" y="539"/>
                  </a:lnTo>
                  <a:lnTo>
                    <a:pt x="983" y="543"/>
                  </a:lnTo>
                  <a:lnTo>
                    <a:pt x="980" y="547"/>
                  </a:lnTo>
                  <a:lnTo>
                    <a:pt x="957" y="571"/>
                  </a:lnTo>
                  <a:lnTo>
                    <a:pt x="957" y="571"/>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49" name="Freeform 15">
              <a:extLst>
                <a:ext uri="{FF2B5EF4-FFF2-40B4-BE49-F238E27FC236}"/>
              </a:extLst>
            </p:cNvPr>
            <p:cNvSpPr>
              <a:spLocks/>
            </p:cNvSpPr>
            <p:nvPr/>
          </p:nvSpPr>
          <p:spPr bwMode="auto">
            <a:xfrm>
              <a:off x="3350394" y="5235543"/>
              <a:ext cx="328750" cy="396998"/>
            </a:xfrm>
            <a:custGeom>
              <a:avLst/>
              <a:gdLst>
                <a:gd name="T0" fmla="*/ 198 w 207"/>
                <a:gd name="T1" fmla="*/ 52 h 249"/>
                <a:gd name="T2" fmla="*/ 200 w 207"/>
                <a:gd name="T3" fmla="*/ 61 h 249"/>
                <a:gd name="T4" fmla="*/ 206 w 207"/>
                <a:gd name="T5" fmla="*/ 69 h 249"/>
                <a:gd name="T6" fmla="*/ 206 w 207"/>
                <a:gd name="T7" fmla="*/ 78 h 249"/>
                <a:gd name="T8" fmla="*/ 198 w 207"/>
                <a:gd name="T9" fmla="*/ 87 h 249"/>
                <a:gd name="T10" fmla="*/ 175 w 207"/>
                <a:gd name="T11" fmla="*/ 104 h 249"/>
                <a:gd name="T12" fmla="*/ 171 w 207"/>
                <a:gd name="T13" fmla="*/ 114 h 249"/>
                <a:gd name="T14" fmla="*/ 168 w 207"/>
                <a:gd name="T15" fmla="*/ 135 h 249"/>
                <a:gd name="T16" fmla="*/ 146 w 207"/>
                <a:gd name="T17" fmla="*/ 174 h 249"/>
                <a:gd name="T18" fmla="*/ 125 w 207"/>
                <a:gd name="T19" fmla="*/ 175 h 249"/>
                <a:gd name="T20" fmla="*/ 118 w 207"/>
                <a:gd name="T21" fmla="*/ 177 h 249"/>
                <a:gd name="T22" fmla="*/ 115 w 207"/>
                <a:gd name="T23" fmla="*/ 181 h 249"/>
                <a:gd name="T24" fmla="*/ 99 w 207"/>
                <a:gd name="T25" fmla="*/ 217 h 249"/>
                <a:gd name="T26" fmla="*/ 94 w 207"/>
                <a:gd name="T27" fmla="*/ 240 h 249"/>
                <a:gd name="T28" fmla="*/ 88 w 207"/>
                <a:gd name="T29" fmla="*/ 245 h 249"/>
                <a:gd name="T30" fmla="*/ 82 w 207"/>
                <a:gd name="T31" fmla="*/ 248 h 249"/>
                <a:gd name="T32" fmla="*/ 74 w 207"/>
                <a:gd name="T33" fmla="*/ 249 h 249"/>
                <a:gd name="T34" fmla="*/ 65 w 207"/>
                <a:gd name="T35" fmla="*/ 246 h 249"/>
                <a:gd name="T36" fmla="*/ 51 w 207"/>
                <a:gd name="T37" fmla="*/ 229 h 249"/>
                <a:gd name="T38" fmla="*/ 35 w 207"/>
                <a:gd name="T39" fmla="*/ 218 h 249"/>
                <a:gd name="T40" fmla="*/ 30 w 207"/>
                <a:gd name="T41" fmla="*/ 214 h 249"/>
                <a:gd name="T42" fmla="*/ 28 w 207"/>
                <a:gd name="T43" fmla="*/ 207 h 249"/>
                <a:gd name="T44" fmla="*/ 28 w 207"/>
                <a:gd name="T45" fmla="*/ 189 h 249"/>
                <a:gd name="T46" fmla="*/ 25 w 207"/>
                <a:gd name="T47" fmla="*/ 174 h 249"/>
                <a:gd name="T48" fmla="*/ 27 w 207"/>
                <a:gd name="T49" fmla="*/ 152 h 249"/>
                <a:gd name="T50" fmla="*/ 26 w 207"/>
                <a:gd name="T51" fmla="*/ 144 h 249"/>
                <a:gd name="T52" fmla="*/ 21 w 207"/>
                <a:gd name="T53" fmla="*/ 137 h 249"/>
                <a:gd name="T54" fmla="*/ 7 w 207"/>
                <a:gd name="T55" fmla="*/ 132 h 249"/>
                <a:gd name="T56" fmla="*/ 1 w 207"/>
                <a:gd name="T57" fmla="*/ 128 h 249"/>
                <a:gd name="T58" fmla="*/ 0 w 207"/>
                <a:gd name="T59" fmla="*/ 121 h 249"/>
                <a:gd name="T60" fmla="*/ 16 w 207"/>
                <a:gd name="T61" fmla="*/ 104 h 249"/>
                <a:gd name="T62" fmla="*/ 24 w 207"/>
                <a:gd name="T63" fmla="*/ 99 h 249"/>
                <a:gd name="T64" fmla="*/ 45 w 207"/>
                <a:gd name="T65" fmla="*/ 95 h 249"/>
                <a:gd name="T66" fmla="*/ 53 w 207"/>
                <a:gd name="T67" fmla="*/ 92 h 249"/>
                <a:gd name="T68" fmla="*/ 59 w 207"/>
                <a:gd name="T69" fmla="*/ 85 h 249"/>
                <a:gd name="T70" fmla="*/ 75 w 207"/>
                <a:gd name="T71" fmla="*/ 52 h 249"/>
                <a:gd name="T72" fmla="*/ 77 w 207"/>
                <a:gd name="T73" fmla="*/ 46 h 249"/>
                <a:gd name="T74" fmla="*/ 73 w 207"/>
                <a:gd name="T75" fmla="*/ 30 h 249"/>
                <a:gd name="T76" fmla="*/ 72 w 207"/>
                <a:gd name="T77" fmla="*/ 18 h 249"/>
                <a:gd name="T78" fmla="*/ 73 w 207"/>
                <a:gd name="T79" fmla="*/ 11 h 249"/>
                <a:gd name="T80" fmla="*/ 75 w 207"/>
                <a:gd name="T81" fmla="*/ 7 h 249"/>
                <a:gd name="T82" fmla="*/ 81 w 207"/>
                <a:gd name="T83" fmla="*/ 1 h 249"/>
                <a:gd name="T84" fmla="*/ 89 w 207"/>
                <a:gd name="T85" fmla="*/ 0 h 249"/>
                <a:gd name="T86" fmla="*/ 98 w 207"/>
                <a:gd name="T87" fmla="*/ 2 h 249"/>
                <a:gd name="T88" fmla="*/ 104 w 207"/>
                <a:gd name="T89" fmla="*/ 9 h 249"/>
                <a:gd name="T90" fmla="*/ 111 w 207"/>
                <a:gd name="T91" fmla="*/ 27 h 249"/>
                <a:gd name="T92" fmla="*/ 117 w 207"/>
                <a:gd name="T93" fmla="*/ 32 h 249"/>
                <a:gd name="T94" fmla="*/ 122 w 207"/>
                <a:gd name="T95" fmla="*/ 33 h 249"/>
                <a:gd name="T96" fmla="*/ 135 w 207"/>
                <a:gd name="T97" fmla="*/ 29 h 249"/>
                <a:gd name="T98" fmla="*/ 145 w 207"/>
                <a:gd name="T99" fmla="*/ 27 h 249"/>
                <a:gd name="T100" fmla="*/ 167 w 207"/>
                <a:gd name="T101" fmla="*/ 25 h 249"/>
                <a:gd name="T102" fmla="*/ 186 w 207"/>
                <a:gd name="T103" fmla="*/ 15 h 249"/>
                <a:gd name="T104" fmla="*/ 193 w 207"/>
                <a:gd name="T105" fmla="*/ 15 h 249"/>
                <a:gd name="T106" fmla="*/ 207 w 207"/>
                <a:gd name="T107" fmla="*/ 2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249">
                  <a:moveTo>
                    <a:pt x="207" y="24"/>
                  </a:moveTo>
                  <a:lnTo>
                    <a:pt x="198" y="52"/>
                  </a:lnTo>
                  <a:lnTo>
                    <a:pt x="199" y="56"/>
                  </a:lnTo>
                  <a:lnTo>
                    <a:pt x="200" y="61"/>
                  </a:lnTo>
                  <a:lnTo>
                    <a:pt x="204" y="66"/>
                  </a:lnTo>
                  <a:lnTo>
                    <a:pt x="206" y="69"/>
                  </a:lnTo>
                  <a:lnTo>
                    <a:pt x="207" y="73"/>
                  </a:lnTo>
                  <a:lnTo>
                    <a:pt x="206" y="78"/>
                  </a:lnTo>
                  <a:lnTo>
                    <a:pt x="201" y="84"/>
                  </a:lnTo>
                  <a:lnTo>
                    <a:pt x="198" y="87"/>
                  </a:lnTo>
                  <a:lnTo>
                    <a:pt x="178" y="100"/>
                  </a:lnTo>
                  <a:lnTo>
                    <a:pt x="175" y="104"/>
                  </a:lnTo>
                  <a:lnTo>
                    <a:pt x="172" y="108"/>
                  </a:lnTo>
                  <a:lnTo>
                    <a:pt x="171" y="114"/>
                  </a:lnTo>
                  <a:lnTo>
                    <a:pt x="170" y="126"/>
                  </a:lnTo>
                  <a:lnTo>
                    <a:pt x="168" y="135"/>
                  </a:lnTo>
                  <a:lnTo>
                    <a:pt x="150" y="172"/>
                  </a:lnTo>
                  <a:lnTo>
                    <a:pt x="146" y="174"/>
                  </a:lnTo>
                  <a:lnTo>
                    <a:pt x="141" y="175"/>
                  </a:lnTo>
                  <a:lnTo>
                    <a:pt x="125" y="175"/>
                  </a:lnTo>
                  <a:lnTo>
                    <a:pt x="121" y="175"/>
                  </a:lnTo>
                  <a:lnTo>
                    <a:pt x="118" y="177"/>
                  </a:lnTo>
                  <a:lnTo>
                    <a:pt x="117" y="178"/>
                  </a:lnTo>
                  <a:lnTo>
                    <a:pt x="115" y="181"/>
                  </a:lnTo>
                  <a:lnTo>
                    <a:pt x="110" y="189"/>
                  </a:lnTo>
                  <a:lnTo>
                    <a:pt x="99" y="217"/>
                  </a:lnTo>
                  <a:lnTo>
                    <a:pt x="95" y="236"/>
                  </a:lnTo>
                  <a:lnTo>
                    <a:pt x="94" y="240"/>
                  </a:lnTo>
                  <a:lnTo>
                    <a:pt x="92" y="243"/>
                  </a:lnTo>
                  <a:lnTo>
                    <a:pt x="88" y="245"/>
                  </a:lnTo>
                  <a:lnTo>
                    <a:pt x="86" y="247"/>
                  </a:lnTo>
                  <a:lnTo>
                    <a:pt x="82" y="248"/>
                  </a:lnTo>
                  <a:lnTo>
                    <a:pt x="78" y="249"/>
                  </a:lnTo>
                  <a:lnTo>
                    <a:pt x="74" y="249"/>
                  </a:lnTo>
                  <a:lnTo>
                    <a:pt x="70" y="248"/>
                  </a:lnTo>
                  <a:lnTo>
                    <a:pt x="65" y="246"/>
                  </a:lnTo>
                  <a:lnTo>
                    <a:pt x="62" y="244"/>
                  </a:lnTo>
                  <a:lnTo>
                    <a:pt x="51" y="229"/>
                  </a:lnTo>
                  <a:lnTo>
                    <a:pt x="48" y="225"/>
                  </a:lnTo>
                  <a:lnTo>
                    <a:pt x="35" y="218"/>
                  </a:lnTo>
                  <a:lnTo>
                    <a:pt x="33" y="217"/>
                  </a:lnTo>
                  <a:lnTo>
                    <a:pt x="30" y="214"/>
                  </a:lnTo>
                  <a:lnTo>
                    <a:pt x="28" y="211"/>
                  </a:lnTo>
                  <a:lnTo>
                    <a:pt x="28" y="207"/>
                  </a:lnTo>
                  <a:lnTo>
                    <a:pt x="28" y="204"/>
                  </a:lnTo>
                  <a:lnTo>
                    <a:pt x="28" y="189"/>
                  </a:lnTo>
                  <a:lnTo>
                    <a:pt x="28" y="185"/>
                  </a:lnTo>
                  <a:lnTo>
                    <a:pt x="25" y="174"/>
                  </a:lnTo>
                  <a:lnTo>
                    <a:pt x="25" y="170"/>
                  </a:lnTo>
                  <a:lnTo>
                    <a:pt x="27" y="152"/>
                  </a:lnTo>
                  <a:lnTo>
                    <a:pt x="27" y="148"/>
                  </a:lnTo>
                  <a:lnTo>
                    <a:pt x="26" y="144"/>
                  </a:lnTo>
                  <a:lnTo>
                    <a:pt x="24" y="140"/>
                  </a:lnTo>
                  <a:lnTo>
                    <a:pt x="21" y="137"/>
                  </a:lnTo>
                  <a:lnTo>
                    <a:pt x="20" y="136"/>
                  </a:lnTo>
                  <a:lnTo>
                    <a:pt x="7" y="132"/>
                  </a:lnTo>
                  <a:lnTo>
                    <a:pt x="4" y="130"/>
                  </a:lnTo>
                  <a:lnTo>
                    <a:pt x="1" y="128"/>
                  </a:lnTo>
                  <a:lnTo>
                    <a:pt x="0" y="124"/>
                  </a:lnTo>
                  <a:lnTo>
                    <a:pt x="0" y="121"/>
                  </a:lnTo>
                  <a:lnTo>
                    <a:pt x="3" y="117"/>
                  </a:lnTo>
                  <a:lnTo>
                    <a:pt x="16" y="104"/>
                  </a:lnTo>
                  <a:lnTo>
                    <a:pt x="20" y="101"/>
                  </a:lnTo>
                  <a:lnTo>
                    <a:pt x="24" y="99"/>
                  </a:lnTo>
                  <a:lnTo>
                    <a:pt x="28" y="98"/>
                  </a:lnTo>
                  <a:lnTo>
                    <a:pt x="45" y="95"/>
                  </a:lnTo>
                  <a:lnTo>
                    <a:pt x="49" y="94"/>
                  </a:lnTo>
                  <a:lnTo>
                    <a:pt x="53" y="92"/>
                  </a:lnTo>
                  <a:lnTo>
                    <a:pt x="57" y="89"/>
                  </a:lnTo>
                  <a:lnTo>
                    <a:pt x="59" y="85"/>
                  </a:lnTo>
                  <a:lnTo>
                    <a:pt x="64" y="73"/>
                  </a:lnTo>
                  <a:lnTo>
                    <a:pt x="75" y="52"/>
                  </a:lnTo>
                  <a:lnTo>
                    <a:pt x="77" y="47"/>
                  </a:lnTo>
                  <a:lnTo>
                    <a:pt x="77" y="46"/>
                  </a:lnTo>
                  <a:lnTo>
                    <a:pt x="76" y="40"/>
                  </a:lnTo>
                  <a:lnTo>
                    <a:pt x="73" y="30"/>
                  </a:lnTo>
                  <a:lnTo>
                    <a:pt x="72" y="22"/>
                  </a:lnTo>
                  <a:lnTo>
                    <a:pt x="72" y="18"/>
                  </a:lnTo>
                  <a:lnTo>
                    <a:pt x="73" y="15"/>
                  </a:lnTo>
                  <a:lnTo>
                    <a:pt x="73" y="11"/>
                  </a:lnTo>
                  <a:lnTo>
                    <a:pt x="74" y="9"/>
                  </a:lnTo>
                  <a:lnTo>
                    <a:pt x="75" y="7"/>
                  </a:lnTo>
                  <a:lnTo>
                    <a:pt x="78" y="4"/>
                  </a:lnTo>
                  <a:lnTo>
                    <a:pt x="81" y="1"/>
                  </a:lnTo>
                  <a:lnTo>
                    <a:pt x="85" y="0"/>
                  </a:lnTo>
                  <a:lnTo>
                    <a:pt x="89" y="0"/>
                  </a:lnTo>
                  <a:lnTo>
                    <a:pt x="93" y="0"/>
                  </a:lnTo>
                  <a:lnTo>
                    <a:pt x="98" y="2"/>
                  </a:lnTo>
                  <a:lnTo>
                    <a:pt x="102" y="6"/>
                  </a:lnTo>
                  <a:lnTo>
                    <a:pt x="104" y="9"/>
                  </a:lnTo>
                  <a:lnTo>
                    <a:pt x="110" y="23"/>
                  </a:lnTo>
                  <a:lnTo>
                    <a:pt x="111" y="27"/>
                  </a:lnTo>
                  <a:lnTo>
                    <a:pt x="114" y="30"/>
                  </a:lnTo>
                  <a:lnTo>
                    <a:pt x="117" y="32"/>
                  </a:lnTo>
                  <a:lnTo>
                    <a:pt x="118" y="33"/>
                  </a:lnTo>
                  <a:lnTo>
                    <a:pt x="122" y="33"/>
                  </a:lnTo>
                  <a:lnTo>
                    <a:pt x="127" y="32"/>
                  </a:lnTo>
                  <a:lnTo>
                    <a:pt x="135" y="29"/>
                  </a:lnTo>
                  <a:lnTo>
                    <a:pt x="140" y="27"/>
                  </a:lnTo>
                  <a:lnTo>
                    <a:pt x="145" y="27"/>
                  </a:lnTo>
                  <a:lnTo>
                    <a:pt x="163" y="27"/>
                  </a:lnTo>
                  <a:lnTo>
                    <a:pt x="167" y="25"/>
                  </a:lnTo>
                  <a:lnTo>
                    <a:pt x="171" y="23"/>
                  </a:lnTo>
                  <a:lnTo>
                    <a:pt x="186" y="15"/>
                  </a:lnTo>
                  <a:lnTo>
                    <a:pt x="189" y="14"/>
                  </a:lnTo>
                  <a:lnTo>
                    <a:pt x="193" y="15"/>
                  </a:lnTo>
                  <a:lnTo>
                    <a:pt x="197" y="16"/>
                  </a:lnTo>
                  <a:lnTo>
                    <a:pt x="207" y="24"/>
                  </a:lnTo>
                  <a:lnTo>
                    <a:pt x="207" y="24"/>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50" name="Freeform 16">
              <a:extLst>
                <a:ext uri="{FF2B5EF4-FFF2-40B4-BE49-F238E27FC236}"/>
              </a:extLst>
            </p:cNvPr>
            <p:cNvSpPr>
              <a:spLocks/>
            </p:cNvSpPr>
            <p:nvPr/>
          </p:nvSpPr>
          <p:spPr bwMode="auto">
            <a:xfrm>
              <a:off x="3506752" y="5175390"/>
              <a:ext cx="829892" cy="998514"/>
            </a:xfrm>
            <a:custGeom>
              <a:avLst/>
              <a:gdLst>
                <a:gd name="T0" fmla="*/ 522 w 524"/>
                <a:gd name="T1" fmla="*/ 294 h 628"/>
                <a:gd name="T2" fmla="*/ 502 w 524"/>
                <a:gd name="T3" fmla="*/ 307 h 628"/>
                <a:gd name="T4" fmla="*/ 503 w 524"/>
                <a:gd name="T5" fmla="*/ 345 h 628"/>
                <a:gd name="T6" fmla="*/ 502 w 524"/>
                <a:gd name="T7" fmla="*/ 371 h 628"/>
                <a:gd name="T8" fmla="*/ 494 w 524"/>
                <a:gd name="T9" fmla="*/ 385 h 628"/>
                <a:gd name="T10" fmla="*/ 459 w 524"/>
                <a:gd name="T11" fmla="*/ 399 h 628"/>
                <a:gd name="T12" fmla="*/ 446 w 524"/>
                <a:gd name="T13" fmla="*/ 412 h 628"/>
                <a:gd name="T14" fmla="*/ 432 w 524"/>
                <a:gd name="T15" fmla="*/ 434 h 628"/>
                <a:gd name="T16" fmla="*/ 379 w 524"/>
                <a:gd name="T17" fmla="*/ 490 h 628"/>
                <a:gd name="T18" fmla="*/ 381 w 524"/>
                <a:gd name="T19" fmla="*/ 515 h 628"/>
                <a:gd name="T20" fmla="*/ 378 w 524"/>
                <a:gd name="T21" fmla="*/ 576 h 628"/>
                <a:gd name="T22" fmla="*/ 381 w 524"/>
                <a:gd name="T23" fmla="*/ 605 h 628"/>
                <a:gd name="T24" fmla="*/ 366 w 524"/>
                <a:gd name="T25" fmla="*/ 621 h 628"/>
                <a:gd name="T26" fmla="*/ 344 w 524"/>
                <a:gd name="T27" fmla="*/ 614 h 628"/>
                <a:gd name="T28" fmla="*/ 313 w 524"/>
                <a:gd name="T29" fmla="*/ 600 h 628"/>
                <a:gd name="T30" fmla="*/ 291 w 524"/>
                <a:gd name="T31" fmla="*/ 586 h 628"/>
                <a:gd name="T32" fmla="*/ 277 w 524"/>
                <a:gd name="T33" fmla="*/ 564 h 628"/>
                <a:gd name="T34" fmla="*/ 261 w 524"/>
                <a:gd name="T35" fmla="*/ 537 h 628"/>
                <a:gd name="T36" fmla="*/ 250 w 524"/>
                <a:gd name="T37" fmla="*/ 530 h 628"/>
                <a:gd name="T38" fmla="*/ 230 w 524"/>
                <a:gd name="T39" fmla="*/ 546 h 628"/>
                <a:gd name="T40" fmla="*/ 215 w 524"/>
                <a:gd name="T41" fmla="*/ 588 h 628"/>
                <a:gd name="T42" fmla="*/ 201 w 524"/>
                <a:gd name="T43" fmla="*/ 585 h 628"/>
                <a:gd name="T44" fmla="*/ 178 w 524"/>
                <a:gd name="T45" fmla="*/ 557 h 628"/>
                <a:gd name="T46" fmla="*/ 164 w 524"/>
                <a:gd name="T47" fmla="*/ 546 h 628"/>
                <a:gd name="T48" fmla="*/ 127 w 524"/>
                <a:gd name="T49" fmla="*/ 539 h 628"/>
                <a:gd name="T50" fmla="*/ 120 w 524"/>
                <a:gd name="T51" fmla="*/ 524 h 628"/>
                <a:gd name="T52" fmla="*/ 96 w 524"/>
                <a:gd name="T53" fmla="*/ 522 h 628"/>
                <a:gd name="T54" fmla="*/ 89 w 524"/>
                <a:gd name="T55" fmla="*/ 510 h 628"/>
                <a:gd name="T56" fmla="*/ 92 w 524"/>
                <a:gd name="T57" fmla="*/ 477 h 628"/>
                <a:gd name="T58" fmla="*/ 71 w 524"/>
                <a:gd name="T59" fmla="*/ 451 h 628"/>
                <a:gd name="T60" fmla="*/ 58 w 524"/>
                <a:gd name="T61" fmla="*/ 402 h 628"/>
                <a:gd name="T62" fmla="*/ 47 w 524"/>
                <a:gd name="T63" fmla="*/ 392 h 628"/>
                <a:gd name="T64" fmla="*/ 12 w 524"/>
                <a:gd name="T65" fmla="*/ 389 h 628"/>
                <a:gd name="T66" fmla="*/ 2 w 524"/>
                <a:gd name="T67" fmla="*/ 378 h 628"/>
                <a:gd name="T68" fmla="*/ 2 w 524"/>
                <a:gd name="T69" fmla="*/ 322 h 628"/>
                <a:gd name="T70" fmla="*/ 12 w 524"/>
                <a:gd name="T71" fmla="*/ 326 h 628"/>
                <a:gd name="T72" fmla="*/ 35 w 524"/>
                <a:gd name="T73" fmla="*/ 313 h 628"/>
                <a:gd name="T74" fmla="*/ 64 w 524"/>
                <a:gd name="T75" fmla="*/ 313 h 628"/>
                <a:gd name="T76" fmla="*/ 75 w 524"/>
                <a:gd name="T77" fmla="*/ 309 h 628"/>
                <a:gd name="T78" fmla="*/ 84 w 524"/>
                <a:gd name="T79" fmla="*/ 280 h 628"/>
                <a:gd name="T80" fmla="*/ 75 w 524"/>
                <a:gd name="T81" fmla="*/ 255 h 628"/>
                <a:gd name="T82" fmla="*/ 80 w 524"/>
                <a:gd name="T83" fmla="*/ 222 h 628"/>
                <a:gd name="T84" fmla="*/ 73 w 524"/>
                <a:gd name="T85" fmla="*/ 209 h 628"/>
                <a:gd name="T86" fmla="*/ 52 w 524"/>
                <a:gd name="T87" fmla="*/ 211 h 628"/>
                <a:gd name="T88" fmla="*/ 74 w 524"/>
                <a:gd name="T89" fmla="*/ 147 h 628"/>
                <a:gd name="T90" fmla="*/ 103 w 524"/>
                <a:gd name="T91" fmla="*/ 123 h 628"/>
                <a:gd name="T92" fmla="*/ 106 w 524"/>
                <a:gd name="T93" fmla="*/ 105 h 628"/>
                <a:gd name="T94" fmla="*/ 109 w 524"/>
                <a:gd name="T95" fmla="*/ 63 h 628"/>
                <a:gd name="T96" fmla="*/ 134 w 524"/>
                <a:gd name="T97" fmla="*/ 110 h 628"/>
                <a:gd name="T98" fmla="*/ 152 w 524"/>
                <a:gd name="T99" fmla="*/ 111 h 628"/>
                <a:gd name="T100" fmla="*/ 242 w 524"/>
                <a:gd name="T101" fmla="*/ 45 h 628"/>
                <a:gd name="T102" fmla="*/ 262 w 524"/>
                <a:gd name="T103" fmla="*/ 30 h 628"/>
                <a:gd name="T104" fmla="*/ 284 w 524"/>
                <a:gd name="T105" fmla="*/ 27 h 628"/>
                <a:gd name="T106" fmla="*/ 312 w 524"/>
                <a:gd name="T107" fmla="*/ 20 h 628"/>
                <a:gd name="T108" fmla="*/ 338 w 524"/>
                <a:gd name="T109" fmla="*/ 23 h 628"/>
                <a:gd name="T110" fmla="*/ 416 w 524"/>
                <a:gd name="T111" fmla="*/ 32 h 628"/>
                <a:gd name="T112" fmla="*/ 447 w 524"/>
                <a:gd name="T113" fmla="*/ 75 h 628"/>
                <a:gd name="T114" fmla="*/ 447 w 524"/>
                <a:gd name="T115" fmla="*/ 90 h 628"/>
                <a:gd name="T116" fmla="*/ 426 w 524"/>
                <a:gd name="T117" fmla="*/ 146 h 628"/>
                <a:gd name="T118" fmla="*/ 439 w 524"/>
                <a:gd name="T119" fmla="*/ 171 h 628"/>
                <a:gd name="T120" fmla="*/ 524 w 524"/>
                <a:gd name="T121" fmla="*/ 26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628">
                  <a:moveTo>
                    <a:pt x="524" y="261"/>
                  </a:moveTo>
                  <a:lnTo>
                    <a:pt x="524" y="284"/>
                  </a:lnTo>
                  <a:lnTo>
                    <a:pt x="524" y="290"/>
                  </a:lnTo>
                  <a:lnTo>
                    <a:pt x="522" y="294"/>
                  </a:lnTo>
                  <a:lnTo>
                    <a:pt x="520" y="296"/>
                  </a:lnTo>
                  <a:lnTo>
                    <a:pt x="518" y="298"/>
                  </a:lnTo>
                  <a:lnTo>
                    <a:pt x="507" y="304"/>
                  </a:lnTo>
                  <a:lnTo>
                    <a:pt x="502" y="307"/>
                  </a:lnTo>
                  <a:lnTo>
                    <a:pt x="499" y="313"/>
                  </a:lnTo>
                  <a:lnTo>
                    <a:pt x="498" y="319"/>
                  </a:lnTo>
                  <a:lnTo>
                    <a:pt x="498" y="322"/>
                  </a:lnTo>
                  <a:lnTo>
                    <a:pt x="503" y="345"/>
                  </a:lnTo>
                  <a:lnTo>
                    <a:pt x="504" y="353"/>
                  </a:lnTo>
                  <a:lnTo>
                    <a:pt x="504" y="359"/>
                  </a:lnTo>
                  <a:lnTo>
                    <a:pt x="504" y="366"/>
                  </a:lnTo>
                  <a:lnTo>
                    <a:pt x="502" y="371"/>
                  </a:lnTo>
                  <a:lnTo>
                    <a:pt x="501" y="375"/>
                  </a:lnTo>
                  <a:lnTo>
                    <a:pt x="499" y="379"/>
                  </a:lnTo>
                  <a:lnTo>
                    <a:pt x="496" y="382"/>
                  </a:lnTo>
                  <a:lnTo>
                    <a:pt x="494" y="385"/>
                  </a:lnTo>
                  <a:lnTo>
                    <a:pt x="486" y="390"/>
                  </a:lnTo>
                  <a:lnTo>
                    <a:pt x="478" y="394"/>
                  </a:lnTo>
                  <a:lnTo>
                    <a:pt x="471" y="397"/>
                  </a:lnTo>
                  <a:lnTo>
                    <a:pt x="459" y="399"/>
                  </a:lnTo>
                  <a:lnTo>
                    <a:pt x="456" y="401"/>
                  </a:lnTo>
                  <a:lnTo>
                    <a:pt x="451" y="404"/>
                  </a:lnTo>
                  <a:lnTo>
                    <a:pt x="448" y="407"/>
                  </a:lnTo>
                  <a:lnTo>
                    <a:pt x="446" y="412"/>
                  </a:lnTo>
                  <a:lnTo>
                    <a:pt x="441" y="421"/>
                  </a:lnTo>
                  <a:lnTo>
                    <a:pt x="440" y="425"/>
                  </a:lnTo>
                  <a:lnTo>
                    <a:pt x="437" y="427"/>
                  </a:lnTo>
                  <a:lnTo>
                    <a:pt x="432" y="434"/>
                  </a:lnTo>
                  <a:lnTo>
                    <a:pt x="413" y="450"/>
                  </a:lnTo>
                  <a:lnTo>
                    <a:pt x="386" y="478"/>
                  </a:lnTo>
                  <a:lnTo>
                    <a:pt x="382" y="484"/>
                  </a:lnTo>
                  <a:lnTo>
                    <a:pt x="379" y="490"/>
                  </a:lnTo>
                  <a:lnTo>
                    <a:pt x="377" y="496"/>
                  </a:lnTo>
                  <a:lnTo>
                    <a:pt x="377" y="500"/>
                  </a:lnTo>
                  <a:lnTo>
                    <a:pt x="379" y="508"/>
                  </a:lnTo>
                  <a:lnTo>
                    <a:pt x="381" y="515"/>
                  </a:lnTo>
                  <a:lnTo>
                    <a:pt x="383" y="522"/>
                  </a:lnTo>
                  <a:lnTo>
                    <a:pt x="383" y="530"/>
                  </a:lnTo>
                  <a:lnTo>
                    <a:pt x="379" y="569"/>
                  </a:lnTo>
                  <a:lnTo>
                    <a:pt x="378" y="576"/>
                  </a:lnTo>
                  <a:lnTo>
                    <a:pt x="377" y="580"/>
                  </a:lnTo>
                  <a:lnTo>
                    <a:pt x="378" y="585"/>
                  </a:lnTo>
                  <a:lnTo>
                    <a:pt x="381" y="596"/>
                  </a:lnTo>
                  <a:lnTo>
                    <a:pt x="381" y="605"/>
                  </a:lnTo>
                  <a:lnTo>
                    <a:pt x="377" y="623"/>
                  </a:lnTo>
                  <a:lnTo>
                    <a:pt x="377" y="628"/>
                  </a:lnTo>
                  <a:lnTo>
                    <a:pt x="374" y="625"/>
                  </a:lnTo>
                  <a:lnTo>
                    <a:pt x="366" y="621"/>
                  </a:lnTo>
                  <a:lnTo>
                    <a:pt x="354" y="615"/>
                  </a:lnTo>
                  <a:lnTo>
                    <a:pt x="351" y="614"/>
                  </a:lnTo>
                  <a:lnTo>
                    <a:pt x="346" y="614"/>
                  </a:lnTo>
                  <a:lnTo>
                    <a:pt x="344" y="614"/>
                  </a:lnTo>
                  <a:lnTo>
                    <a:pt x="339" y="614"/>
                  </a:lnTo>
                  <a:lnTo>
                    <a:pt x="336" y="616"/>
                  </a:lnTo>
                  <a:lnTo>
                    <a:pt x="328" y="621"/>
                  </a:lnTo>
                  <a:lnTo>
                    <a:pt x="313" y="600"/>
                  </a:lnTo>
                  <a:lnTo>
                    <a:pt x="311" y="596"/>
                  </a:lnTo>
                  <a:lnTo>
                    <a:pt x="307" y="593"/>
                  </a:lnTo>
                  <a:lnTo>
                    <a:pt x="294" y="588"/>
                  </a:lnTo>
                  <a:lnTo>
                    <a:pt x="291" y="586"/>
                  </a:lnTo>
                  <a:lnTo>
                    <a:pt x="289" y="582"/>
                  </a:lnTo>
                  <a:lnTo>
                    <a:pt x="283" y="572"/>
                  </a:lnTo>
                  <a:lnTo>
                    <a:pt x="281" y="568"/>
                  </a:lnTo>
                  <a:lnTo>
                    <a:pt x="277" y="564"/>
                  </a:lnTo>
                  <a:lnTo>
                    <a:pt x="264" y="553"/>
                  </a:lnTo>
                  <a:lnTo>
                    <a:pt x="261" y="549"/>
                  </a:lnTo>
                  <a:lnTo>
                    <a:pt x="261" y="544"/>
                  </a:lnTo>
                  <a:lnTo>
                    <a:pt x="261" y="537"/>
                  </a:lnTo>
                  <a:lnTo>
                    <a:pt x="260" y="534"/>
                  </a:lnTo>
                  <a:lnTo>
                    <a:pt x="258" y="531"/>
                  </a:lnTo>
                  <a:lnTo>
                    <a:pt x="252" y="529"/>
                  </a:lnTo>
                  <a:lnTo>
                    <a:pt x="250" y="530"/>
                  </a:lnTo>
                  <a:lnTo>
                    <a:pt x="242" y="534"/>
                  </a:lnTo>
                  <a:lnTo>
                    <a:pt x="235" y="540"/>
                  </a:lnTo>
                  <a:lnTo>
                    <a:pt x="232" y="542"/>
                  </a:lnTo>
                  <a:lnTo>
                    <a:pt x="230" y="546"/>
                  </a:lnTo>
                  <a:lnTo>
                    <a:pt x="226" y="553"/>
                  </a:lnTo>
                  <a:lnTo>
                    <a:pt x="218" y="582"/>
                  </a:lnTo>
                  <a:lnTo>
                    <a:pt x="217" y="586"/>
                  </a:lnTo>
                  <a:lnTo>
                    <a:pt x="215" y="588"/>
                  </a:lnTo>
                  <a:lnTo>
                    <a:pt x="212" y="589"/>
                  </a:lnTo>
                  <a:lnTo>
                    <a:pt x="208" y="589"/>
                  </a:lnTo>
                  <a:lnTo>
                    <a:pt x="204" y="587"/>
                  </a:lnTo>
                  <a:lnTo>
                    <a:pt x="201" y="585"/>
                  </a:lnTo>
                  <a:lnTo>
                    <a:pt x="185" y="569"/>
                  </a:lnTo>
                  <a:lnTo>
                    <a:pt x="182" y="564"/>
                  </a:lnTo>
                  <a:lnTo>
                    <a:pt x="180" y="561"/>
                  </a:lnTo>
                  <a:lnTo>
                    <a:pt x="178" y="557"/>
                  </a:lnTo>
                  <a:lnTo>
                    <a:pt x="177" y="553"/>
                  </a:lnTo>
                  <a:lnTo>
                    <a:pt x="173" y="549"/>
                  </a:lnTo>
                  <a:lnTo>
                    <a:pt x="169" y="547"/>
                  </a:lnTo>
                  <a:lnTo>
                    <a:pt x="164" y="546"/>
                  </a:lnTo>
                  <a:lnTo>
                    <a:pt x="139" y="546"/>
                  </a:lnTo>
                  <a:lnTo>
                    <a:pt x="134" y="545"/>
                  </a:lnTo>
                  <a:lnTo>
                    <a:pt x="131" y="543"/>
                  </a:lnTo>
                  <a:lnTo>
                    <a:pt x="127" y="539"/>
                  </a:lnTo>
                  <a:lnTo>
                    <a:pt x="125" y="535"/>
                  </a:lnTo>
                  <a:lnTo>
                    <a:pt x="124" y="529"/>
                  </a:lnTo>
                  <a:lnTo>
                    <a:pt x="123" y="526"/>
                  </a:lnTo>
                  <a:lnTo>
                    <a:pt x="120" y="524"/>
                  </a:lnTo>
                  <a:lnTo>
                    <a:pt x="116" y="521"/>
                  </a:lnTo>
                  <a:lnTo>
                    <a:pt x="111" y="520"/>
                  </a:lnTo>
                  <a:lnTo>
                    <a:pt x="108" y="520"/>
                  </a:lnTo>
                  <a:lnTo>
                    <a:pt x="96" y="522"/>
                  </a:lnTo>
                  <a:lnTo>
                    <a:pt x="94" y="520"/>
                  </a:lnTo>
                  <a:lnTo>
                    <a:pt x="91" y="519"/>
                  </a:lnTo>
                  <a:lnTo>
                    <a:pt x="89" y="513"/>
                  </a:lnTo>
                  <a:lnTo>
                    <a:pt x="89" y="510"/>
                  </a:lnTo>
                  <a:lnTo>
                    <a:pt x="89" y="505"/>
                  </a:lnTo>
                  <a:lnTo>
                    <a:pt x="93" y="484"/>
                  </a:lnTo>
                  <a:lnTo>
                    <a:pt x="93" y="481"/>
                  </a:lnTo>
                  <a:lnTo>
                    <a:pt x="92" y="477"/>
                  </a:lnTo>
                  <a:lnTo>
                    <a:pt x="90" y="474"/>
                  </a:lnTo>
                  <a:lnTo>
                    <a:pt x="84" y="473"/>
                  </a:lnTo>
                  <a:lnTo>
                    <a:pt x="65" y="474"/>
                  </a:lnTo>
                  <a:lnTo>
                    <a:pt x="71" y="451"/>
                  </a:lnTo>
                  <a:lnTo>
                    <a:pt x="72" y="447"/>
                  </a:lnTo>
                  <a:lnTo>
                    <a:pt x="72" y="443"/>
                  </a:lnTo>
                  <a:lnTo>
                    <a:pt x="70" y="437"/>
                  </a:lnTo>
                  <a:lnTo>
                    <a:pt x="58" y="402"/>
                  </a:lnTo>
                  <a:lnTo>
                    <a:pt x="57" y="398"/>
                  </a:lnTo>
                  <a:lnTo>
                    <a:pt x="54" y="396"/>
                  </a:lnTo>
                  <a:lnTo>
                    <a:pt x="50" y="394"/>
                  </a:lnTo>
                  <a:lnTo>
                    <a:pt x="47" y="392"/>
                  </a:lnTo>
                  <a:lnTo>
                    <a:pt x="40" y="391"/>
                  </a:lnTo>
                  <a:lnTo>
                    <a:pt x="33" y="390"/>
                  </a:lnTo>
                  <a:lnTo>
                    <a:pt x="14" y="390"/>
                  </a:lnTo>
                  <a:lnTo>
                    <a:pt x="12" y="389"/>
                  </a:lnTo>
                  <a:lnTo>
                    <a:pt x="8" y="388"/>
                  </a:lnTo>
                  <a:lnTo>
                    <a:pt x="5" y="385"/>
                  </a:lnTo>
                  <a:lnTo>
                    <a:pt x="3" y="382"/>
                  </a:lnTo>
                  <a:lnTo>
                    <a:pt x="2" y="378"/>
                  </a:lnTo>
                  <a:lnTo>
                    <a:pt x="1" y="374"/>
                  </a:lnTo>
                  <a:lnTo>
                    <a:pt x="0" y="366"/>
                  </a:lnTo>
                  <a:lnTo>
                    <a:pt x="1" y="326"/>
                  </a:lnTo>
                  <a:lnTo>
                    <a:pt x="2" y="322"/>
                  </a:lnTo>
                  <a:lnTo>
                    <a:pt x="3" y="321"/>
                  </a:lnTo>
                  <a:lnTo>
                    <a:pt x="5" y="322"/>
                  </a:lnTo>
                  <a:lnTo>
                    <a:pt x="8" y="324"/>
                  </a:lnTo>
                  <a:lnTo>
                    <a:pt x="12" y="326"/>
                  </a:lnTo>
                  <a:lnTo>
                    <a:pt x="15" y="326"/>
                  </a:lnTo>
                  <a:lnTo>
                    <a:pt x="19" y="324"/>
                  </a:lnTo>
                  <a:lnTo>
                    <a:pt x="27" y="318"/>
                  </a:lnTo>
                  <a:lnTo>
                    <a:pt x="35" y="313"/>
                  </a:lnTo>
                  <a:lnTo>
                    <a:pt x="38" y="313"/>
                  </a:lnTo>
                  <a:lnTo>
                    <a:pt x="42" y="312"/>
                  </a:lnTo>
                  <a:lnTo>
                    <a:pt x="45" y="312"/>
                  </a:lnTo>
                  <a:lnTo>
                    <a:pt x="64" y="313"/>
                  </a:lnTo>
                  <a:lnTo>
                    <a:pt x="66" y="313"/>
                  </a:lnTo>
                  <a:lnTo>
                    <a:pt x="69" y="313"/>
                  </a:lnTo>
                  <a:lnTo>
                    <a:pt x="72" y="312"/>
                  </a:lnTo>
                  <a:lnTo>
                    <a:pt x="75" y="309"/>
                  </a:lnTo>
                  <a:lnTo>
                    <a:pt x="77" y="306"/>
                  </a:lnTo>
                  <a:lnTo>
                    <a:pt x="79" y="303"/>
                  </a:lnTo>
                  <a:lnTo>
                    <a:pt x="84" y="284"/>
                  </a:lnTo>
                  <a:lnTo>
                    <a:pt x="84" y="280"/>
                  </a:lnTo>
                  <a:lnTo>
                    <a:pt x="83" y="276"/>
                  </a:lnTo>
                  <a:lnTo>
                    <a:pt x="76" y="264"/>
                  </a:lnTo>
                  <a:lnTo>
                    <a:pt x="75" y="260"/>
                  </a:lnTo>
                  <a:lnTo>
                    <a:pt x="75" y="255"/>
                  </a:lnTo>
                  <a:lnTo>
                    <a:pt x="75" y="252"/>
                  </a:lnTo>
                  <a:lnTo>
                    <a:pt x="80" y="229"/>
                  </a:lnTo>
                  <a:lnTo>
                    <a:pt x="80" y="225"/>
                  </a:lnTo>
                  <a:lnTo>
                    <a:pt x="80" y="222"/>
                  </a:lnTo>
                  <a:lnTo>
                    <a:pt x="80" y="217"/>
                  </a:lnTo>
                  <a:lnTo>
                    <a:pt x="77" y="214"/>
                  </a:lnTo>
                  <a:lnTo>
                    <a:pt x="75" y="211"/>
                  </a:lnTo>
                  <a:lnTo>
                    <a:pt x="73" y="209"/>
                  </a:lnTo>
                  <a:lnTo>
                    <a:pt x="70" y="208"/>
                  </a:lnTo>
                  <a:lnTo>
                    <a:pt x="67" y="207"/>
                  </a:lnTo>
                  <a:lnTo>
                    <a:pt x="60" y="208"/>
                  </a:lnTo>
                  <a:lnTo>
                    <a:pt x="52" y="211"/>
                  </a:lnTo>
                  <a:lnTo>
                    <a:pt x="70" y="174"/>
                  </a:lnTo>
                  <a:lnTo>
                    <a:pt x="72" y="165"/>
                  </a:lnTo>
                  <a:lnTo>
                    <a:pt x="73" y="153"/>
                  </a:lnTo>
                  <a:lnTo>
                    <a:pt x="74" y="147"/>
                  </a:lnTo>
                  <a:lnTo>
                    <a:pt x="77" y="143"/>
                  </a:lnTo>
                  <a:lnTo>
                    <a:pt x="80" y="139"/>
                  </a:lnTo>
                  <a:lnTo>
                    <a:pt x="100" y="126"/>
                  </a:lnTo>
                  <a:lnTo>
                    <a:pt x="103" y="123"/>
                  </a:lnTo>
                  <a:lnTo>
                    <a:pt x="108" y="117"/>
                  </a:lnTo>
                  <a:lnTo>
                    <a:pt x="109" y="112"/>
                  </a:lnTo>
                  <a:lnTo>
                    <a:pt x="108" y="108"/>
                  </a:lnTo>
                  <a:lnTo>
                    <a:pt x="106" y="105"/>
                  </a:lnTo>
                  <a:lnTo>
                    <a:pt x="102" y="100"/>
                  </a:lnTo>
                  <a:lnTo>
                    <a:pt x="101" y="95"/>
                  </a:lnTo>
                  <a:lnTo>
                    <a:pt x="100" y="91"/>
                  </a:lnTo>
                  <a:lnTo>
                    <a:pt x="109" y="63"/>
                  </a:lnTo>
                  <a:lnTo>
                    <a:pt x="111" y="68"/>
                  </a:lnTo>
                  <a:lnTo>
                    <a:pt x="128" y="103"/>
                  </a:lnTo>
                  <a:lnTo>
                    <a:pt x="132" y="107"/>
                  </a:lnTo>
                  <a:lnTo>
                    <a:pt x="134" y="110"/>
                  </a:lnTo>
                  <a:lnTo>
                    <a:pt x="138" y="112"/>
                  </a:lnTo>
                  <a:lnTo>
                    <a:pt x="141" y="114"/>
                  </a:lnTo>
                  <a:lnTo>
                    <a:pt x="147" y="113"/>
                  </a:lnTo>
                  <a:lnTo>
                    <a:pt x="152" y="111"/>
                  </a:lnTo>
                  <a:lnTo>
                    <a:pt x="161" y="106"/>
                  </a:lnTo>
                  <a:lnTo>
                    <a:pt x="167" y="102"/>
                  </a:lnTo>
                  <a:lnTo>
                    <a:pt x="209" y="63"/>
                  </a:lnTo>
                  <a:lnTo>
                    <a:pt x="242" y="45"/>
                  </a:lnTo>
                  <a:lnTo>
                    <a:pt x="247" y="41"/>
                  </a:lnTo>
                  <a:lnTo>
                    <a:pt x="253" y="34"/>
                  </a:lnTo>
                  <a:lnTo>
                    <a:pt x="258" y="31"/>
                  </a:lnTo>
                  <a:lnTo>
                    <a:pt x="262" y="30"/>
                  </a:lnTo>
                  <a:lnTo>
                    <a:pt x="268" y="29"/>
                  </a:lnTo>
                  <a:lnTo>
                    <a:pt x="278" y="29"/>
                  </a:lnTo>
                  <a:lnTo>
                    <a:pt x="282" y="28"/>
                  </a:lnTo>
                  <a:lnTo>
                    <a:pt x="284" y="27"/>
                  </a:lnTo>
                  <a:lnTo>
                    <a:pt x="295" y="23"/>
                  </a:lnTo>
                  <a:lnTo>
                    <a:pt x="300" y="21"/>
                  </a:lnTo>
                  <a:lnTo>
                    <a:pt x="307" y="20"/>
                  </a:lnTo>
                  <a:lnTo>
                    <a:pt x="312" y="20"/>
                  </a:lnTo>
                  <a:lnTo>
                    <a:pt x="316" y="21"/>
                  </a:lnTo>
                  <a:lnTo>
                    <a:pt x="328" y="25"/>
                  </a:lnTo>
                  <a:lnTo>
                    <a:pt x="332" y="24"/>
                  </a:lnTo>
                  <a:lnTo>
                    <a:pt x="338" y="23"/>
                  </a:lnTo>
                  <a:lnTo>
                    <a:pt x="365" y="7"/>
                  </a:lnTo>
                  <a:lnTo>
                    <a:pt x="382" y="0"/>
                  </a:lnTo>
                  <a:lnTo>
                    <a:pt x="406" y="22"/>
                  </a:lnTo>
                  <a:lnTo>
                    <a:pt x="416" y="32"/>
                  </a:lnTo>
                  <a:lnTo>
                    <a:pt x="421" y="41"/>
                  </a:lnTo>
                  <a:lnTo>
                    <a:pt x="431" y="55"/>
                  </a:lnTo>
                  <a:lnTo>
                    <a:pt x="445" y="70"/>
                  </a:lnTo>
                  <a:lnTo>
                    <a:pt x="447" y="75"/>
                  </a:lnTo>
                  <a:lnTo>
                    <a:pt x="448" y="78"/>
                  </a:lnTo>
                  <a:lnTo>
                    <a:pt x="449" y="82"/>
                  </a:lnTo>
                  <a:lnTo>
                    <a:pt x="448" y="85"/>
                  </a:lnTo>
                  <a:lnTo>
                    <a:pt x="447" y="90"/>
                  </a:lnTo>
                  <a:lnTo>
                    <a:pt x="446" y="92"/>
                  </a:lnTo>
                  <a:lnTo>
                    <a:pt x="435" y="108"/>
                  </a:lnTo>
                  <a:lnTo>
                    <a:pt x="433" y="115"/>
                  </a:lnTo>
                  <a:lnTo>
                    <a:pt x="426" y="146"/>
                  </a:lnTo>
                  <a:lnTo>
                    <a:pt x="426" y="150"/>
                  </a:lnTo>
                  <a:lnTo>
                    <a:pt x="426" y="156"/>
                  </a:lnTo>
                  <a:lnTo>
                    <a:pt x="430" y="160"/>
                  </a:lnTo>
                  <a:lnTo>
                    <a:pt x="439" y="171"/>
                  </a:lnTo>
                  <a:lnTo>
                    <a:pt x="456" y="199"/>
                  </a:lnTo>
                  <a:lnTo>
                    <a:pt x="521" y="260"/>
                  </a:lnTo>
                  <a:lnTo>
                    <a:pt x="524" y="261"/>
                  </a:lnTo>
                  <a:lnTo>
                    <a:pt x="524" y="261"/>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51" name="Freeform 17">
              <a:extLst>
                <a:ext uri="{FF2B5EF4-FFF2-40B4-BE49-F238E27FC236}"/>
              </a:extLst>
            </p:cNvPr>
            <p:cNvSpPr>
              <a:spLocks noEditPoints="1"/>
            </p:cNvSpPr>
            <p:nvPr/>
          </p:nvSpPr>
          <p:spPr bwMode="auto">
            <a:xfrm>
              <a:off x="3562880" y="5925278"/>
              <a:ext cx="465061" cy="545373"/>
            </a:xfrm>
            <a:custGeom>
              <a:avLst/>
              <a:gdLst>
                <a:gd name="T0" fmla="*/ 67 w 293"/>
                <a:gd name="T1" fmla="*/ 278 h 343"/>
                <a:gd name="T2" fmla="*/ 74 w 293"/>
                <a:gd name="T3" fmla="*/ 279 h 343"/>
                <a:gd name="T4" fmla="*/ 81 w 293"/>
                <a:gd name="T5" fmla="*/ 266 h 343"/>
                <a:gd name="T6" fmla="*/ 93 w 293"/>
                <a:gd name="T7" fmla="*/ 282 h 343"/>
                <a:gd name="T8" fmla="*/ 99 w 293"/>
                <a:gd name="T9" fmla="*/ 302 h 343"/>
                <a:gd name="T10" fmla="*/ 83 w 293"/>
                <a:gd name="T11" fmla="*/ 297 h 343"/>
                <a:gd name="T12" fmla="*/ 78 w 293"/>
                <a:gd name="T13" fmla="*/ 287 h 343"/>
                <a:gd name="T14" fmla="*/ 51 w 293"/>
                <a:gd name="T15" fmla="*/ 283 h 343"/>
                <a:gd name="T16" fmla="*/ 33 w 293"/>
                <a:gd name="T17" fmla="*/ 266 h 343"/>
                <a:gd name="T18" fmla="*/ 28 w 293"/>
                <a:gd name="T19" fmla="*/ 251 h 343"/>
                <a:gd name="T20" fmla="*/ 45 w 293"/>
                <a:gd name="T21" fmla="*/ 264 h 343"/>
                <a:gd name="T22" fmla="*/ 59 w 293"/>
                <a:gd name="T23" fmla="*/ 243 h 343"/>
                <a:gd name="T24" fmla="*/ 59 w 293"/>
                <a:gd name="T25" fmla="*/ 258 h 343"/>
                <a:gd name="T26" fmla="*/ 68 w 293"/>
                <a:gd name="T27" fmla="*/ 272 h 343"/>
                <a:gd name="T28" fmla="*/ 45 w 293"/>
                <a:gd name="T29" fmla="*/ 259 h 343"/>
                <a:gd name="T30" fmla="*/ 53 w 293"/>
                <a:gd name="T31" fmla="*/ 244 h 343"/>
                <a:gd name="T32" fmla="*/ 45 w 293"/>
                <a:gd name="T33" fmla="*/ 233 h 343"/>
                <a:gd name="T34" fmla="*/ 51 w 293"/>
                <a:gd name="T35" fmla="*/ 232 h 343"/>
                <a:gd name="T36" fmla="*/ 286 w 293"/>
                <a:gd name="T37" fmla="*/ 152 h 343"/>
                <a:gd name="T38" fmla="*/ 278 w 293"/>
                <a:gd name="T39" fmla="*/ 185 h 343"/>
                <a:gd name="T40" fmla="*/ 261 w 293"/>
                <a:gd name="T41" fmla="*/ 199 h 343"/>
                <a:gd name="T42" fmla="*/ 257 w 293"/>
                <a:gd name="T43" fmla="*/ 223 h 343"/>
                <a:gd name="T44" fmla="*/ 254 w 293"/>
                <a:gd name="T45" fmla="*/ 248 h 343"/>
                <a:gd name="T46" fmla="*/ 271 w 293"/>
                <a:gd name="T47" fmla="*/ 268 h 343"/>
                <a:gd name="T48" fmla="*/ 263 w 293"/>
                <a:gd name="T49" fmla="*/ 279 h 343"/>
                <a:gd name="T50" fmla="*/ 256 w 293"/>
                <a:gd name="T51" fmla="*/ 289 h 343"/>
                <a:gd name="T52" fmla="*/ 243 w 293"/>
                <a:gd name="T53" fmla="*/ 311 h 343"/>
                <a:gd name="T54" fmla="*/ 219 w 293"/>
                <a:gd name="T55" fmla="*/ 323 h 343"/>
                <a:gd name="T56" fmla="*/ 208 w 293"/>
                <a:gd name="T57" fmla="*/ 340 h 343"/>
                <a:gd name="T58" fmla="*/ 200 w 293"/>
                <a:gd name="T59" fmla="*/ 325 h 343"/>
                <a:gd name="T60" fmla="*/ 191 w 293"/>
                <a:gd name="T61" fmla="*/ 289 h 343"/>
                <a:gd name="T62" fmla="*/ 187 w 293"/>
                <a:gd name="T63" fmla="*/ 280 h 343"/>
                <a:gd name="T64" fmla="*/ 173 w 293"/>
                <a:gd name="T65" fmla="*/ 264 h 343"/>
                <a:gd name="T66" fmla="*/ 160 w 293"/>
                <a:gd name="T67" fmla="*/ 244 h 343"/>
                <a:gd name="T68" fmla="*/ 151 w 293"/>
                <a:gd name="T69" fmla="*/ 226 h 343"/>
                <a:gd name="T70" fmla="*/ 138 w 293"/>
                <a:gd name="T71" fmla="*/ 213 h 343"/>
                <a:gd name="T72" fmla="*/ 129 w 293"/>
                <a:gd name="T73" fmla="*/ 206 h 343"/>
                <a:gd name="T74" fmla="*/ 128 w 293"/>
                <a:gd name="T75" fmla="*/ 213 h 343"/>
                <a:gd name="T76" fmla="*/ 120 w 293"/>
                <a:gd name="T77" fmla="*/ 159 h 343"/>
                <a:gd name="T78" fmla="*/ 113 w 293"/>
                <a:gd name="T79" fmla="*/ 149 h 343"/>
                <a:gd name="T80" fmla="*/ 89 w 293"/>
                <a:gd name="T81" fmla="*/ 127 h 343"/>
                <a:gd name="T82" fmla="*/ 77 w 293"/>
                <a:gd name="T83" fmla="*/ 118 h 343"/>
                <a:gd name="T84" fmla="*/ 63 w 293"/>
                <a:gd name="T85" fmla="*/ 106 h 343"/>
                <a:gd name="T86" fmla="*/ 32 w 293"/>
                <a:gd name="T87" fmla="*/ 86 h 343"/>
                <a:gd name="T88" fmla="*/ 13 w 293"/>
                <a:gd name="T89" fmla="*/ 61 h 343"/>
                <a:gd name="T90" fmla="*/ 3 w 293"/>
                <a:gd name="T91" fmla="*/ 44 h 343"/>
                <a:gd name="T92" fmla="*/ 8 w 293"/>
                <a:gd name="T93" fmla="*/ 22 h 343"/>
                <a:gd name="T94" fmla="*/ 49 w 293"/>
                <a:gd name="T95" fmla="*/ 0 h 343"/>
                <a:gd name="T96" fmla="*/ 54 w 293"/>
                <a:gd name="T97" fmla="*/ 37 h 343"/>
                <a:gd name="T98" fmla="*/ 76 w 293"/>
                <a:gd name="T99" fmla="*/ 47 h 343"/>
                <a:gd name="T100" fmla="*/ 92 w 293"/>
                <a:gd name="T101" fmla="*/ 66 h 343"/>
                <a:gd name="T102" fmla="*/ 138 w 293"/>
                <a:gd name="T103" fmla="*/ 76 h 343"/>
                <a:gd name="T104" fmla="*/ 166 w 293"/>
                <a:gd name="T105" fmla="*/ 112 h 343"/>
                <a:gd name="T106" fmla="*/ 183 w 293"/>
                <a:gd name="T107" fmla="*/ 109 h 343"/>
                <a:gd name="T108" fmla="*/ 215 w 293"/>
                <a:gd name="T109" fmla="*/ 57 h 343"/>
                <a:gd name="T110" fmla="*/ 226 w 293"/>
                <a:gd name="T111" fmla="*/ 76 h 343"/>
                <a:gd name="T112" fmla="*/ 256 w 293"/>
                <a:gd name="T113" fmla="*/ 113 h 343"/>
                <a:gd name="T114" fmla="*/ 293 w 293"/>
                <a:gd name="T115" fmla="*/ 1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3" h="343">
                  <a:moveTo>
                    <a:pt x="51" y="276"/>
                  </a:moveTo>
                  <a:lnTo>
                    <a:pt x="53" y="277"/>
                  </a:lnTo>
                  <a:lnTo>
                    <a:pt x="58" y="276"/>
                  </a:lnTo>
                  <a:lnTo>
                    <a:pt x="60" y="279"/>
                  </a:lnTo>
                  <a:lnTo>
                    <a:pt x="63" y="279"/>
                  </a:lnTo>
                  <a:lnTo>
                    <a:pt x="67" y="278"/>
                  </a:lnTo>
                  <a:lnTo>
                    <a:pt x="70" y="278"/>
                  </a:lnTo>
                  <a:lnTo>
                    <a:pt x="72" y="281"/>
                  </a:lnTo>
                  <a:lnTo>
                    <a:pt x="72" y="282"/>
                  </a:lnTo>
                  <a:lnTo>
                    <a:pt x="74" y="282"/>
                  </a:lnTo>
                  <a:lnTo>
                    <a:pt x="79" y="280"/>
                  </a:lnTo>
                  <a:lnTo>
                    <a:pt x="74" y="279"/>
                  </a:lnTo>
                  <a:lnTo>
                    <a:pt x="72" y="275"/>
                  </a:lnTo>
                  <a:lnTo>
                    <a:pt x="74" y="272"/>
                  </a:lnTo>
                  <a:lnTo>
                    <a:pt x="75" y="267"/>
                  </a:lnTo>
                  <a:lnTo>
                    <a:pt x="76" y="266"/>
                  </a:lnTo>
                  <a:lnTo>
                    <a:pt x="78" y="265"/>
                  </a:lnTo>
                  <a:lnTo>
                    <a:pt x="81" y="266"/>
                  </a:lnTo>
                  <a:lnTo>
                    <a:pt x="85" y="268"/>
                  </a:lnTo>
                  <a:lnTo>
                    <a:pt x="86" y="272"/>
                  </a:lnTo>
                  <a:lnTo>
                    <a:pt x="88" y="275"/>
                  </a:lnTo>
                  <a:lnTo>
                    <a:pt x="88" y="277"/>
                  </a:lnTo>
                  <a:lnTo>
                    <a:pt x="91" y="278"/>
                  </a:lnTo>
                  <a:lnTo>
                    <a:pt x="93" y="282"/>
                  </a:lnTo>
                  <a:lnTo>
                    <a:pt x="99" y="284"/>
                  </a:lnTo>
                  <a:lnTo>
                    <a:pt x="99" y="286"/>
                  </a:lnTo>
                  <a:lnTo>
                    <a:pt x="98" y="289"/>
                  </a:lnTo>
                  <a:lnTo>
                    <a:pt x="98" y="293"/>
                  </a:lnTo>
                  <a:lnTo>
                    <a:pt x="98" y="297"/>
                  </a:lnTo>
                  <a:lnTo>
                    <a:pt x="99" y="302"/>
                  </a:lnTo>
                  <a:lnTo>
                    <a:pt x="98" y="305"/>
                  </a:lnTo>
                  <a:lnTo>
                    <a:pt x="98" y="305"/>
                  </a:lnTo>
                  <a:lnTo>
                    <a:pt x="94" y="305"/>
                  </a:lnTo>
                  <a:lnTo>
                    <a:pt x="90" y="299"/>
                  </a:lnTo>
                  <a:lnTo>
                    <a:pt x="86" y="298"/>
                  </a:lnTo>
                  <a:lnTo>
                    <a:pt x="83" y="297"/>
                  </a:lnTo>
                  <a:lnTo>
                    <a:pt x="81" y="297"/>
                  </a:lnTo>
                  <a:lnTo>
                    <a:pt x="85" y="294"/>
                  </a:lnTo>
                  <a:lnTo>
                    <a:pt x="88" y="292"/>
                  </a:lnTo>
                  <a:lnTo>
                    <a:pt x="86" y="289"/>
                  </a:lnTo>
                  <a:lnTo>
                    <a:pt x="83" y="286"/>
                  </a:lnTo>
                  <a:lnTo>
                    <a:pt x="78" y="287"/>
                  </a:lnTo>
                  <a:lnTo>
                    <a:pt x="73" y="287"/>
                  </a:lnTo>
                  <a:lnTo>
                    <a:pt x="70" y="288"/>
                  </a:lnTo>
                  <a:lnTo>
                    <a:pt x="64" y="291"/>
                  </a:lnTo>
                  <a:lnTo>
                    <a:pt x="60" y="290"/>
                  </a:lnTo>
                  <a:lnTo>
                    <a:pt x="54" y="284"/>
                  </a:lnTo>
                  <a:lnTo>
                    <a:pt x="51" y="283"/>
                  </a:lnTo>
                  <a:lnTo>
                    <a:pt x="45" y="280"/>
                  </a:lnTo>
                  <a:lnTo>
                    <a:pt x="42" y="277"/>
                  </a:lnTo>
                  <a:lnTo>
                    <a:pt x="40" y="274"/>
                  </a:lnTo>
                  <a:lnTo>
                    <a:pt x="38" y="268"/>
                  </a:lnTo>
                  <a:lnTo>
                    <a:pt x="36" y="266"/>
                  </a:lnTo>
                  <a:lnTo>
                    <a:pt x="33" y="266"/>
                  </a:lnTo>
                  <a:lnTo>
                    <a:pt x="31" y="265"/>
                  </a:lnTo>
                  <a:lnTo>
                    <a:pt x="31" y="264"/>
                  </a:lnTo>
                  <a:lnTo>
                    <a:pt x="31" y="260"/>
                  </a:lnTo>
                  <a:lnTo>
                    <a:pt x="29" y="257"/>
                  </a:lnTo>
                  <a:lnTo>
                    <a:pt x="27" y="254"/>
                  </a:lnTo>
                  <a:lnTo>
                    <a:pt x="28" y="251"/>
                  </a:lnTo>
                  <a:lnTo>
                    <a:pt x="30" y="251"/>
                  </a:lnTo>
                  <a:lnTo>
                    <a:pt x="30" y="252"/>
                  </a:lnTo>
                  <a:lnTo>
                    <a:pt x="33" y="254"/>
                  </a:lnTo>
                  <a:lnTo>
                    <a:pt x="39" y="258"/>
                  </a:lnTo>
                  <a:lnTo>
                    <a:pt x="43" y="261"/>
                  </a:lnTo>
                  <a:lnTo>
                    <a:pt x="45" y="264"/>
                  </a:lnTo>
                  <a:lnTo>
                    <a:pt x="45" y="268"/>
                  </a:lnTo>
                  <a:lnTo>
                    <a:pt x="45" y="270"/>
                  </a:lnTo>
                  <a:lnTo>
                    <a:pt x="48" y="274"/>
                  </a:lnTo>
                  <a:lnTo>
                    <a:pt x="51" y="276"/>
                  </a:lnTo>
                  <a:lnTo>
                    <a:pt x="51" y="276"/>
                  </a:lnTo>
                  <a:close/>
                  <a:moveTo>
                    <a:pt x="59" y="243"/>
                  </a:moveTo>
                  <a:lnTo>
                    <a:pt x="59" y="246"/>
                  </a:lnTo>
                  <a:lnTo>
                    <a:pt x="58" y="250"/>
                  </a:lnTo>
                  <a:lnTo>
                    <a:pt x="59" y="252"/>
                  </a:lnTo>
                  <a:lnTo>
                    <a:pt x="64" y="254"/>
                  </a:lnTo>
                  <a:lnTo>
                    <a:pt x="66" y="258"/>
                  </a:lnTo>
                  <a:lnTo>
                    <a:pt x="59" y="258"/>
                  </a:lnTo>
                  <a:lnTo>
                    <a:pt x="57" y="261"/>
                  </a:lnTo>
                  <a:lnTo>
                    <a:pt x="58" y="264"/>
                  </a:lnTo>
                  <a:lnTo>
                    <a:pt x="61" y="265"/>
                  </a:lnTo>
                  <a:lnTo>
                    <a:pt x="64" y="267"/>
                  </a:lnTo>
                  <a:lnTo>
                    <a:pt x="68" y="268"/>
                  </a:lnTo>
                  <a:lnTo>
                    <a:pt x="68" y="272"/>
                  </a:lnTo>
                  <a:lnTo>
                    <a:pt x="68" y="274"/>
                  </a:lnTo>
                  <a:lnTo>
                    <a:pt x="63" y="272"/>
                  </a:lnTo>
                  <a:lnTo>
                    <a:pt x="58" y="269"/>
                  </a:lnTo>
                  <a:lnTo>
                    <a:pt x="54" y="269"/>
                  </a:lnTo>
                  <a:lnTo>
                    <a:pt x="52" y="267"/>
                  </a:lnTo>
                  <a:lnTo>
                    <a:pt x="45" y="259"/>
                  </a:lnTo>
                  <a:lnTo>
                    <a:pt x="40" y="251"/>
                  </a:lnTo>
                  <a:lnTo>
                    <a:pt x="42" y="250"/>
                  </a:lnTo>
                  <a:lnTo>
                    <a:pt x="46" y="250"/>
                  </a:lnTo>
                  <a:lnTo>
                    <a:pt x="49" y="249"/>
                  </a:lnTo>
                  <a:lnTo>
                    <a:pt x="52" y="247"/>
                  </a:lnTo>
                  <a:lnTo>
                    <a:pt x="53" y="244"/>
                  </a:lnTo>
                  <a:lnTo>
                    <a:pt x="55" y="244"/>
                  </a:lnTo>
                  <a:lnTo>
                    <a:pt x="56" y="240"/>
                  </a:lnTo>
                  <a:lnTo>
                    <a:pt x="54" y="236"/>
                  </a:lnTo>
                  <a:lnTo>
                    <a:pt x="51" y="234"/>
                  </a:lnTo>
                  <a:lnTo>
                    <a:pt x="48" y="234"/>
                  </a:lnTo>
                  <a:lnTo>
                    <a:pt x="45" y="233"/>
                  </a:lnTo>
                  <a:lnTo>
                    <a:pt x="42" y="233"/>
                  </a:lnTo>
                  <a:lnTo>
                    <a:pt x="42" y="232"/>
                  </a:lnTo>
                  <a:lnTo>
                    <a:pt x="43" y="231"/>
                  </a:lnTo>
                  <a:lnTo>
                    <a:pt x="45" y="230"/>
                  </a:lnTo>
                  <a:lnTo>
                    <a:pt x="45" y="231"/>
                  </a:lnTo>
                  <a:lnTo>
                    <a:pt x="51" y="232"/>
                  </a:lnTo>
                  <a:lnTo>
                    <a:pt x="54" y="234"/>
                  </a:lnTo>
                  <a:lnTo>
                    <a:pt x="58" y="237"/>
                  </a:lnTo>
                  <a:lnTo>
                    <a:pt x="59" y="243"/>
                  </a:lnTo>
                  <a:lnTo>
                    <a:pt x="59" y="243"/>
                  </a:lnTo>
                  <a:close/>
                  <a:moveTo>
                    <a:pt x="293" y="148"/>
                  </a:moveTo>
                  <a:lnTo>
                    <a:pt x="286" y="152"/>
                  </a:lnTo>
                  <a:lnTo>
                    <a:pt x="271" y="164"/>
                  </a:lnTo>
                  <a:lnTo>
                    <a:pt x="263" y="175"/>
                  </a:lnTo>
                  <a:lnTo>
                    <a:pt x="263" y="175"/>
                  </a:lnTo>
                  <a:lnTo>
                    <a:pt x="272" y="178"/>
                  </a:lnTo>
                  <a:lnTo>
                    <a:pt x="276" y="181"/>
                  </a:lnTo>
                  <a:lnTo>
                    <a:pt x="278" y="185"/>
                  </a:lnTo>
                  <a:lnTo>
                    <a:pt x="277" y="188"/>
                  </a:lnTo>
                  <a:lnTo>
                    <a:pt x="273" y="190"/>
                  </a:lnTo>
                  <a:lnTo>
                    <a:pt x="270" y="190"/>
                  </a:lnTo>
                  <a:lnTo>
                    <a:pt x="264" y="193"/>
                  </a:lnTo>
                  <a:lnTo>
                    <a:pt x="262" y="196"/>
                  </a:lnTo>
                  <a:lnTo>
                    <a:pt x="261" y="199"/>
                  </a:lnTo>
                  <a:lnTo>
                    <a:pt x="261" y="203"/>
                  </a:lnTo>
                  <a:lnTo>
                    <a:pt x="259" y="206"/>
                  </a:lnTo>
                  <a:lnTo>
                    <a:pt x="256" y="213"/>
                  </a:lnTo>
                  <a:lnTo>
                    <a:pt x="256" y="217"/>
                  </a:lnTo>
                  <a:lnTo>
                    <a:pt x="256" y="221"/>
                  </a:lnTo>
                  <a:lnTo>
                    <a:pt x="257" y="223"/>
                  </a:lnTo>
                  <a:lnTo>
                    <a:pt x="258" y="227"/>
                  </a:lnTo>
                  <a:lnTo>
                    <a:pt x="258" y="231"/>
                  </a:lnTo>
                  <a:lnTo>
                    <a:pt x="257" y="234"/>
                  </a:lnTo>
                  <a:lnTo>
                    <a:pt x="255" y="241"/>
                  </a:lnTo>
                  <a:lnTo>
                    <a:pt x="254" y="245"/>
                  </a:lnTo>
                  <a:lnTo>
                    <a:pt x="254" y="248"/>
                  </a:lnTo>
                  <a:lnTo>
                    <a:pt x="257" y="255"/>
                  </a:lnTo>
                  <a:lnTo>
                    <a:pt x="260" y="261"/>
                  </a:lnTo>
                  <a:lnTo>
                    <a:pt x="262" y="263"/>
                  </a:lnTo>
                  <a:lnTo>
                    <a:pt x="268" y="265"/>
                  </a:lnTo>
                  <a:lnTo>
                    <a:pt x="270" y="267"/>
                  </a:lnTo>
                  <a:lnTo>
                    <a:pt x="271" y="268"/>
                  </a:lnTo>
                  <a:lnTo>
                    <a:pt x="271" y="270"/>
                  </a:lnTo>
                  <a:lnTo>
                    <a:pt x="270" y="272"/>
                  </a:lnTo>
                  <a:lnTo>
                    <a:pt x="269" y="273"/>
                  </a:lnTo>
                  <a:lnTo>
                    <a:pt x="268" y="274"/>
                  </a:lnTo>
                  <a:lnTo>
                    <a:pt x="266" y="274"/>
                  </a:lnTo>
                  <a:lnTo>
                    <a:pt x="263" y="279"/>
                  </a:lnTo>
                  <a:lnTo>
                    <a:pt x="263" y="281"/>
                  </a:lnTo>
                  <a:lnTo>
                    <a:pt x="265" y="283"/>
                  </a:lnTo>
                  <a:lnTo>
                    <a:pt x="266" y="288"/>
                  </a:lnTo>
                  <a:lnTo>
                    <a:pt x="265" y="291"/>
                  </a:lnTo>
                  <a:lnTo>
                    <a:pt x="263" y="291"/>
                  </a:lnTo>
                  <a:lnTo>
                    <a:pt x="256" y="289"/>
                  </a:lnTo>
                  <a:lnTo>
                    <a:pt x="252" y="289"/>
                  </a:lnTo>
                  <a:lnTo>
                    <a:pt x="249" y="289"/>
                  </a:lnTo>
                  <a:lnTo>
                    <a:pt x="248" y="292"/>
                  </a:lnTo>
                  <a:lnTo>
                    <a:pt x="248" y="296"/>
                  </a:lnTo>
                  <a:lnTo>
                    <a:pt x="248" y="299"/>
                  </a:lnTo>
                  <a:lnTo>
                    <a:pt x="243" y="311"/>
                  </a:lnTo>
                  <a:lnTo>
                    <a:pt x="241" y="313"/>
                  </a:lnTo>
                  <a:lnTo>
                    <a:pt x="238" y="316"/>
                  </a:lnTo>
                  <a:lnTo>
                    <a:pt x="231" y="320"/>
                  </a:lnTo>
                  <a:lnTo>
                    <a:pt x="228" y="321"/>
                  </a:lnTo>
                  <a:lnTo>
                    <a:pt x="221" y="323"/>
                  </a:lnTo>
                  <a:lnTo>
                    <a:pt x="219" y="323"/>
                  </a:lnTo>
                  <a:lnTo>
                    <a:pt x="219" y="326"/>
                  </a:lnTo>
                  <a:lnTo>
                    <a:pt x="219" y="328"/>
                  </a:lnTo>
                  <a:lnTo>
                    <a:pt x="219" y="331"/>
                  </a:lnTo>
                  <a:lnTo>
                    <a:pt x="218" y="334"/>
                  </a:lnTo>
                  <a:lnTo>
                    <a:pt x="214" y="337"/>
                  </a:lnTo>
                  <a:lnTo>
                    <a:pt x="208" y="340"/>
                  </a:lnTo>
                  <a:lnTo>
                    <a:pt x="200" y="343"/>
                  </a:lnTo>
                  <a:lnTo>
                    <a:pt x="200" y="343"/>
                  </a:lnTo>
                  <a:lnTo>
                    <a:pt x="200" y="335"/>
                  </a:lnTo>
                  <a:lnTo>
                    <a:pt x="199" y="334"/>
                  </a:lnTo>
                  <a:lnTo>
                    <a:pt x="201" y="328"/>
                  </a:lnTo>
                  <a:lnTo>
                    <a:pt x="200" y="325"/>
                  </a:lnTo>
                  <a:lnTo>
                    <a:pt x="192" y="316"/>
                  </a:lnTo>
                  <a:lnTo>
                    <a:pt x="190" y="312"/>
                  </a:lnTo>
                  <a:lnTo>
                    <a:pt x="189" y="308"/>
                  </a:lnTo>
                  <a:lnTo>
                    <a:pt x="189" y="301"/>
                  </a:lnTo>
                  <a:lnTo>
                    <a:pt x="191" y="293"/>
                  </a:lnTo>
                  <a:lnTo>
                    <a:pt x="191" y="289"/>
                  </a:lnTo>
                  <a:lnTo>
                    <a:pt x="188" y="289"/>
                  </a:lnTo>
                  <a:lnTo>
                    <a:pt x="189" y="288"/>
                  </a:lnTo>
                  <a:lnTo>
                    <a:pt x="188" y="286"/>
                  </a:lnTo>
                  <a:lnTo>
                    <a:pt x="186" y="283"/>
                  </a:lnTo>
                  <a:lnTo>
                    <a:pt x="185" y="281"/>
                  </a:lnTo>
                  <a:lnTo>
                    <a:pt x="187" y="280"/>
                  </a:lnTo>
                  <a:lnTo>
                    <a:pt x="186" y="278"/>
                  </a:lnTo>
                  <a:lnTo>
                    <a:pt x="181" y="274"/>
                  </a:lnTo>
                  <a:lnTo>
                    <a:pt x="181" y="273"/>
                  </a:lnTo>
                  <a:lnTo>
                    <a:pt x="178" y="269"/>
                  </a:lnTo>
                  <a:lnTo>
                    <a:pt x="174" y="265"/>
                  </a:lnTo>
                  <a:lnTo>
                    <a:pt x="173" y="264"/>
                  </a:lnTo>
                  <a:lnTo>
                    <a:pt x="168" y="261"/>
                  </a:lnTo>
                  <a:lnTo>
                    <a:pt x="166" y="261"/>
                  </a:lnTo>
                  <a:lnTo>
                    <a:pt x="165" y="262"/>
                  </a:lnTo>
                  <a:lnTo>
                    <a:pt x="158" y="254"/>
                  </a:lnTo>
                  <a:lnTo>
                    <a:pt x="161" y="246"/>
                  </a:lnTo>
                  <a:lnTo>
                    <a:pt x="160" y="244"/>
                  </a:lnTo>
                  <a:lnTo>
                    <a:pt x="160" y="235"/>
                  </a:lnTo>
                  <a:lnTo>
                    <a:pt x="159" y="231"/>
                  </a:lnTo>
                  <a:lnTo>
                    <a:pt x="156" y="229"/>
                  </a:lnTo>
                  <a:lnTo>
                    <a:pt x="155" y="228"/>
                  </a:lnTo>
                  <a:lnTo>
                    <a:pt x="154" y="226"/>
                  </a:lnTo>
                  <a:lnTo>
                    <a:pt x="151" y="226"/>
                  </a:lnTo>
                  <a:lnTo>
                    <a:pt x="147" y="226"/>
                  </a:lnTo>
                  <a:lnTo>
                    <a:pt x="145" y="226"/>
                  </a:lnTo>
                  <a:lnTo>
                    <a:pt x="143" y="224"/>
                  </a:lnTo>
                  <a:lnTo>
                    <a:pt x="141" y="221"/>
                  </a:lnTo>
                  <a:lnTo>
                    <a:pt x="139" y="216"/>
                  </a:lnTo>
                  <a:lnTo>
                    <a:pt x="138" y="213"/>
                  </a:lnTo>
                  <a:lnTo>
                    <a:pt x="137" y="207"/>
                  </a:lnTo>
                  <a:lnTo>
                    <a:pt x="136" y="205"/>
                  </a:lnTo>
                  <a:lnTo>
                    <a:pt x="135" y="204"/>
                  </a:lnTo>
                  <a:lnTo>
                    <a:pt x="128" y="200"/>
                  </a:lnTo>
                  <a:lnTo>
                    <a:pt x="128" y="204"/>
                  </a:lnTo>
                  <a:lnTo>
                    <a:pt x="129" y="206"/>
                  </a:lnTo>
                  <a:lnTo>
                    <a:pt x="132" y="211"/>
                  </a:lnTo>
                  <a:lnTo>
                    <a:pt x="128" y="213"/>
                  </a:lnTo>
                  <a:lnTo>
                    <a:pt x="130" y="225"/>
                  </a:lnTo>
                  <a:lnTo>
                    <a:pt x="128" y="228"/>
                  </a:lnTo>
                  <a:lnTo>
                    <a:pt x="128" y="224"/>
                  </a:lnTo>
                  <a:lnTo>
                    <a:pt x="128" y="213"/>
                  </a:lnTo>
                  <a:lnTo>
                    <a:pt x="127" y="209"/>
                  </a:lnTo>
                  <a:lnTo>
                    <a:pt x="125" y="202"/>
                  </a:lnTo>
                  <a:lnTo>
                    <a:pt x="121" y="178"/>
                  </a:lnTo>
                  <a:lnTo>
                    <a:pt x="120" y="171"/>
                  </a:lnTo>
                  <a:lnTo>
                    <a:pt x="121" y="162"/>
                  </a:lnTo>
                  <a:lnTo>
                    <a:pt x="120" y="159"/>
                  </a:lnTo>
                  <a:lnTo>
                    <a:pt x="120" y="154"/>
                  </a:lnTo>
                  <a:lnTo>
                    <a:pt x="119" y="152"/>
                  </a:lnTo>
                  <a:lnTo>
                    <a:pt x="117" y="152"/>
                  </a:lnTo>
                  <a:lnTo>
                    <a:pt x="113" y="152"/>
                  </a:lnTo>
                  <a:lnTo>
                    <a:pt x="113" y="151"/>
                  </a:lnTo>
                  <a:lnTo>
                    <a:pt x="113" y="149"/>
                  </a:lnTo>
                  <a:lnTo>
                    <a:pt x="112" y="147"/>
                  </a:lnTo>
                  <a:lnTo>
                    <a:pt x="93" y="131"/>
                  </a:lnTo>
                  <a:lnTo>
                    <a:pt x="92" y="131"/>
                  </a:lnTo>
                  <a:lnTo>
                    <a:pt x="91" y="132"/>
                  </a:lnTo>
                  <a:lnTo>
                    <a:pt x="90" y="130"/>
                  </a:lnTo>
                  <a:lnTo>
                    <a:pt x="89" y="127"/>
                  </a:lnTo>
                  <a:lnTo>
                    <a:pt x="85" y="122"/>
                  </a:lnTo>
                  <a:lnTo>
                    <a:pt x="84" y="119"/>
                  </a:lnTo>
                  <a:lnTo>
                    <a:pt x="83" y="118"/>
                  </a:lnTo>
                  <a:lnTo>
                    <a:pt x="83" y="117"/>
                  </a:lnTo>
                  <a:lnTo>
                    <a:pt x="79" y="118"/>
                  </a:lnTo>
                  <a:lnTo>
                    <a:pt x="77" y="118"/>
                  </a:lnTo>
                  <a:lnTo>
                    <a:pt x="76" y="115"/>
                  </a:lnTo>
                  <a:lnTo>
                    <a:pt x="75" y="114"/>
                  </a:lnTo>
                  <a:lnTo>
                    <a:pt x="68" y="107"/>
                  </a:lnTo>
                  <a:lnTo>
                    <a:pt x="67" y="107"/>
                  </a:lnTo>
                  <a:lnTo>
                    <a:pt x="65" y="107"/>
                  </a:lnTo>
                  <a:lnTo>
                    <a:pt x="63" y="106"/>
                  </a:lnTo>
                  <a:lnTo>
                    <a:pt x="58" y="99"/>
                  </a:lnTo>
                  <a:lnTo>
                    <a:pt x="56" y="98"/>
                  </a:lnTo>
                  <a:lnTo>
                    <a:pt x="46" y="88"/>
                  </a:lnTo>
                  <a:lnTo>
                    <a:pt x="43" y="90"/>
                  </a:lnTo>
                  <a:lnTo>
                    <a:pt x="37" y="85"/>
                  </a:lnTo>
                  <a:lnTo>
                    <a:pt x="32" y="86"/>
                  </a:lnTo>
                  <a:lnTo>
                    <a:pt x="31" y="81"/>
                  </a:lnTo>
                  <a:lnTo>
                    <a:pt x="28" y="78"/>
                  </a:lnTo>
                  <a:lnTo>
                    <a:pt x="24" y="76"/>
                  </a:lnTo>
                  <a:lnTo>
                    <a:pt x="21" y="72"/>
                  </a:lnTo>
                  <a:lnTo>
                    <a:pt x="14" y="63"/>
                  </a:lnTo>
                  <a:lnTo>
                    <a:pt x="13" y="61"/>
                  </a:lnTo>
                  <a:lnTo>
                    <a:pt x="14" y="58"/>
                  </a:lnTo>
                  <a:lnTo>
                    <a:pt x="14" y="56"/>
                  </a:lnTo>
                  <a:lnTo>
                    <a:pt x="14" y="55"/>
                  </a:lnTo>
                  <a:lnTo>
                    <a:pt x="10" y="54"/>
                  </a:lnTo>
                  <a:lnTo>
                    <a:pt x="10" y="50"/>
                  </a:lnTo>
                  <a:lnTo>
                    <a:pt x="3" y="44"/>
                  </a:lnTo>
                  <a:lnTo>
                    <a:pt x="0" y="39"/>
                  </a:lnTo>
                  <a:lnTo>
                    <a:pt x="1" y="37"/>
                  </a:lnTo>
                  <a:lnTo>
                    <a:pt x="0" y="35"/>
                  </a:lnTo>
                  <a:lnTo>
                    <a:pt x="4" y="28"/>
                  </a:lnTo>
                  <a:lnTo>
                    <a:pt x="6" y="24"/>
                  </a:lnTo>
                  <a:lnTo>
                    <a:pt x="8" y="22"/>
                  </a:lnTo>
                  <a:lnTo>
                    <a:pt x="11" y="20"/>
                  </a:lnTo>
                  <a:lnTo>
                    <a:pt x="22" y="14"/>
                  </a:lnTo>
                  <a:lnTo>
                    <a:pt x="24" y="11"/>
                  </a:lnTo>
                  <a:lnTo>
                    <a:pt x="27" y="8"/>
                  </a:lnTo>
                  <a:lnTo>
                    <a:pt x="30" y="1"/>
                  </a:lnTo>
                  <a:lnTo>
                    <a:pt x="49" y="0"/>
                  </a:lnTo>
                  <a:lnTo>
                    <a:pt x="55" y="1"/>
                  </a:lnTo>
                  <a:lnTo>
                    <a:pt x="57" y="4"/>
                  </a:lnTo>
                  <a:lnTo>
                    <a:pt x="58" y="8"/>
                  </a:lnTo>
                  <a:lnTo>
                    <a:pt x="58" y="11"/>
                  </a:lnTo>
                  <a:lnTo>
                    <a:pt x="54" y="32"/>
                  </a:lnTo>
                  <a:lnTo>
                    <a:pt x="54" y="37"/>
                  </a:lnTo>
                  <a:lnTo>
                    <a:pt x="54" y="40"/>
                  </a:lnTo>
                  <a:lnTo>
                    <a:pt x="56" y="46"/>
                  </a:lnTo>
                  <a:lnTo>
                    <a:pt x="59" y="47"/>
                  </a:lnTo>
                  <a:lnTo>
                    <a:pt x="61" y="49"/>
                  </a:lnTo>
                  <a:lnTo>
                    <a:pt x="73" y="47"/>
                  </a:lnTo>
                  <a:lnTo>
                    <a:pt x="76" y="47"/>
                  </a:lnTo>
                  <a:lnTo>
                    <a:pt x="81" y="48"/>
                  </a:lnTo>
                  <a:lnTo>
                    <a:pt x="85" y="51"/>
                  </a:lnTo>
                  <a:lnTo>
                    <a:pt x="88" y="53"/>
                  </a:lnTo>
                  <a:lnTo>
                    <a:pt x="89" y="56"/>
                  </a:lnTo>
                  <a:lnTo>
                    <a:pt x="90" y="62"/>
                  </a:lnTo>
                  <a:lnTo>
                    <a:pt x="92" y="66"/>
                  </a:lnTo>
                  <a:lnTo>
                    <a:pt x="96" y="70"/>
                  </a:lnTo>
                  <a:lnTo>
                    <a:pt x="99" y="72"/>
                  </a:lnTo>
                  <a:lnTo>
                    <a:pt x="104" y="73"/>
                  </a:lnTo>
                  <a:lnTo>
                    <a:pt x="129" y="73"/>
                  </a:lnTo>
                  <a:lnTo>
                    <a:pt x="134" y="74"/>
                  </a:lnTo>
                  <a:lnTo>
                    <a:pt x="138" y="76"/>
                  </a:lnTo>
                  <a:lnTo>
                    <a:pt x="142" y="80"/>
                  </a:lnTo>
                  <a:lnTo>
                    <a:pt x="143" y="84"/>
                  </a:lnTo>
                  <a:lnTo>
                    <a:pt x="145" y="88"/>
                  </a:lnTo>
                  <a:lnTo>
                    <a:pt x="147" y="91"/>
                  </a:lnTo>
                  <a:lnTo>
                    <a:pt x="150" y="96"/>
                  </a:lnTo>
                  <a:lnTo>
                    <a:pt x="166" y="112"/>
                  </a:lnTo>
                  <a:lnTo>
                    <a:pt x="169" y="114"/>
                  </a:lnTo>
                  <a:lnTo>
                    <a:pt x="173" y="116"/>
                  </a:lnTo>
                  <a:lnTo>
                    <a:pt x="177" y="116"/>
                  </a:lnTo>
                  <a:lnTo>
                    <a:pt x="180" y="115"/>
                  </a:lnTo>
                  <a:lnTo>
                    <a:pt x="182" y="113"/>
                  </a:lnTo>
                  <a:lnTo>
                    <a:pt x="183" y="109"/>
                  </a:lnTo>
                  <a:lnTo>
                    <a:pt x="191" y="80"/>
                  </a:lnTo>
                  <a:lnTo>
                    <a:pt x="195" y="73"/>
                  </a:lnTo>
                  <a:lnTo>
                    <a:pt x="197" y="69"/>
                  </a:lnTo>
                  <a:lnTo>
                    <a:pt x="200" y="67"/>
                  </a:lnTo>
                  <a:lnTo>
                    <a:pt x="207" y="61"/>
                  </a:lnTo>
                  <a:lnTo>
                    <a:pt x="215" y="57"/>
                  </a:lnTo>
                  <a:lnTo>
                    <a:pt x="217" y="56"/>
                  </a:lnTo>
                  <a:lnTo>
                    <a:pt x="223" y="58"/>
                  </a:lnTo>
                  <a:lnTo>
                    <a:pt x="225" y="61"/>
                  </a:lnTo>
                  <a:lnTo>
                    <a:pt x="226" y="64"/>
                  </a:lnTo>
                  <a:lnTo>
                    <a:pt x="226" y="71"/>
                  </a:lnTo>
                  <a:lnTo>
                    <a:pt x="226" y="76"/>
                  </a:lnTo>
                  <a:lnTo>
                    <a:pt x="229" y="80"/>
                  </a:lnTo>
                  <a:lnTo>
                    <a:pt x="242" y="91"/>
                  </a:lnTo>
                  <a:lnTo>
                    <a:pt x="246" y="95"/>
                  </a:lnTo>
                  <a:lnTo>
                    <a:pt x="248" y="99"/>
                  </a:lnTo>
                  <a:lnTo>
                    <a:pt x="254" y="109"/>
                  </a:lnTo>
                  <a:lnTo>
                    <a:pt x="256" y="113"/>
                  </a:lnTo>
                  <a:lnTo>
                    <a:pt x="259" y="115"/>
                  </a:lnTo>
                  <a:lnTo>
                    <a:pt x="272" y="120"/>
                  </a:lnTo>
                  <a:lnTo>
                    <a:pt x="276" y="123"/>
                  </a:lnTo>
                  <a:lnTo>
                    <a:pt x="278" y="127"/>
                  </a:lnTo>
                  <a:lnTo>
                    <a:pt x="293" y="148"/>
                  </a:lnTo>
                  <a:lnTo>
                    <a:pt x="293" y="148"/>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252" name="Freeform 18">
              <a:extLst>
                <a:ext uri="{FF2B5EF4-FFF2-40B4-BE49-F238E27FC236}"/>
              </a:extLst>
            </p:cNvPr>
            <p:cNvSpPr>
              <a:spLocks/>
            </p:cNvSpPr>
            <p:nvPr/>
          </p:nvSpPr>
          <p:spPr bwMode="auto">
            <a:xfrm>
              <a:off x="2781095" y="4313221"/>
              <a:ext cx="1331037" cy="1668198"/>
            </a:xfrm>
            <a:custGeom>
              <a:avLst/>
              <a:gdLst>
                <a:gd name="T0" fmla="*/ 593 w 840"/>
                <a:gd name="T1" fmla="*/ 99 h 1051"/>
                <a:gd name="T2" fmla="*/ 719 w 840"/>
                <a:gd name="T3" fmla="*/ 197 h 1051"/>
                <a:gd name="T4" fmla="*/ 745 w 840"/>
                <a:gd name="T5" fmla="*/ 264 h 1051"/>
                <a:gd name="T6" fmla="*/ 813 w 840"/>
                <a:gd name="T7" fmla="*/ 363 h 1051"/>
                <a:gd name="T8" fmla="*/ 793 w 840"/>
                <a:gd name="T9" fmla="*/ 466 h 1051"/>
                <a:gd name="T10" fmla="*/ 753 w 840"/>
                <a:gd name="T11" fmla="*/ 566 h 1051"/>
                <a:gd name="T12" fmla="*/ 610 w 840"/>
                <a:gd name="T13" fmla="*/ 654 h 1051"/>
                <a:gd name="T14" fmla="*/ 531 w 840"/>
                <a:gd name="T15" fmla="*/ 605 h 1051"/>
                <a:gd name="T16" fmla="*/ 464 w 840"/>
                <a:gd name="T17" fmla="*/ 591 h 1051"/>
                <a:gd name="T18" fmla="*/ 432 w 840"/>
                <a:gd name="T19" fmla="*/ 604 h 1051"/>
                <a:gd name="T20" fmla="*/ 384 w 840"/>
                <a:gd name="T21" fmla="*/ 681 h 1051"/>
                <a:gd name="T22" fmla="*/ 387 w 840"/>
                <a:gd name="T23" fmla="*/ 730 h 1051"/>
                <a:gd name="T24" fmla="*/ 411 w 840"/>
                <a:gd name="T25" fmla="*/ 811 h 1051"/>
                <a:gd name="T26" fmla="*/ 470 w 840"/>
                <a:gd name="T27" fmla="*/ 771 h 1051"/>
                <a:gd name="T28" fmla="*/ 533 w 840"/>
                <a:gd name="T29" fmla="*/ 754 h 1051"/>
                <a:gd name="T30" fmla="*/ 537 w 840"/>
                <a:gd name="T31" fmla="*/ 846 h 1051"/>
                <a:gd name="T32" fmla="*/ 473 w 840"/>
                <a:gd name="T33" fmla="*/ 869 h 1051"/>
                <a:gd name="T34" fmla="*/ 470 w 840"/>
                <a:gd name="T35" fmla="*/ 932 h 1051"/>
                <a:gd name="T36" fmla="*/ 523 w 840"/>
                <a:gd name="T37" fmla="*/ 1017 h 1051"/>
                <a:gd name="T38" fmla="*/ 487 w 840"/>
                <a:gd name="T39" fmla="*/ 1043 h 1051"/>
                <a:gd name="T40" fmla="*/ 478 w 840"/>
                <a:gd name="T41" fmla="*/ 1027 h 1051"/>
                <a:gd name="T42" fmla="*/ 466 w 840"/>
                <a:gd name="T43" fmla="*/ 989 h 1051"/>
                <a:gd name="T44" fmla="*/ 446 w 840"/>
                <a:gd name="T45" fmla="*/ 971 h 1051"/>
                <a:gd name="T46" fmla="*/ 434 w 840"/>
                <a:gd name="T47" fmla="*/ 928 h 1051"/>
                <a:gd name="T48" fmla="*/ 417 w 840"/>
                <a:gd name="T49" fmla="*/ 905 h 1051"/>
                <a:gd name="T50" fmla="*/ 403 w 840"/>
                <a:gd name="T51" fmla="*/ 869 h 1051"/>
                <a:gd name="T52" fmla="*/ 391 w 840"/>
                <a:gd name="T53" fmla="*/ 839 h 1051"/>
                <a:gd name="T54" fmla="*/ 386 w 840"/>
                <a:gd name="T55" fmla="*/ 810 h 1051"/>
                <a:gd name="T56" fmla="*/ 351 w 840"/>
                <a:gd name="T57" fmla="*/ 757 h 1051"/>
                <a:gd name="T58" fmla="*/ 314 w 840"/>
                <a:gd name="T59" fmla="*/ 734 h 1051"/>
                <a:gd name="T60" fmla="*/ 285 w 840"/>
                <a:gd name="T61" fmla="*/ 704 h 1051"/>
                <a:gd name="T62" fmla="*/ 247 w 840"/>
                <a:gd name="T63" fmla="*/ 674 h 1051"/>
                <a:gd name="T64" fmla="*/ 214 w 840"/>
                <a:gd name="T65" fmla="*/ 668 h 1051"/>
                <a:gd name="T66" fmla="*/ 168 w 840"/>
                <a:gd name="T67" fmla="*/ 635 h 1051"/>
                <a:gd name="T68" fmla="*/ 147 w 840"/>
                <a:gd name="T69" fmla="*/ 598 h 1051"/>
                <a:gd name="T70" fmla="*/ 129 w 840"/>
                <a:gd name="T71" fmla="*/ 574 h 1051"/>
                <a:gd name="T72" fmla="*/ 124 w 840"/>
                <a:gd name="T73" fmla="*/ 567 h 1051"/>
                <a:gd name="T74" fmla="*/ 109 w 840"/>
                <a:gd name="T75" fmla="*/ 551 h 1051"/>
                <a:gd name="T76" fmla="*/ 87 w 840"/>
                <a:gd name="T77" fmla="*/ 514 h 1051"/>
                <a:gd name="T78" fmla="*/ 87 w 840"/>
                <a:gd name="T79" fmla="*/ 455 h 1051"/>
                <a:gd name="T80" fmla="*/ 74 w 840"/>
                <a:gd name="T81" fmla="*/ 424 h 1051"/>
                <a:gd name="T82" fmla="*/ 70 w 840"/>
                <a:gd name="T83" fmla="*/ 407 h 1051"/>
                <a:gd name="T84" fmla="*/ 48 w 840"/>
                <a:gd name="T85" fmla="*/ 354 h 1051"/>
                <a:gd name="T86" fmla="*/ 64 w 840"/>
                <a:gd name="T87" fmla="*/ 338 h 1051"/>
                <a:gd name="T88" fmla="*/ 83 w 840"/>
                <a:gd name="T89" fmla="*/ 289 h 1051"/>
                <a:gd name="T90" fmla="*/ 72 w 840"/>
                <a:gd name="T91" fmla="*/ 259 h 1051"/>
                <a:gd name="T92" fmla="*/ 49 w 840"/>
                <a:gd name="T93" fmla="*/ 209 h 1051"/>
                <a:gd name="T94" fmla="*/ 44 w 840"/>
                <a:gd name="T95" fmla="*/ 202 h 1051"/>
                <a:gd name="T96" fmla="*/ 38 w 840"/>
                <a:gd name="T97" fmla="*/ 182 h 1051"/>
                <a:gd name="T98" fmla="*/ 23 w 840"/>
                <a:gd name="T99" fmla="*/ 149 h 1051"/>
                <a:gd name="T100" fmla="*/ 0 w 840"/>
                <a:gd name="T101" fmla="*/ 103 h 1051"/>
                <a:gd name="T102" fmla="*/ 94 w 840"/>
                <a:gd name="T103" fmla="*/ 147 h 1051"/>
                <a:gd name="T104" fmla="*/ 205 w 840"/>
                <a:gd name="T105" fmla="*/ 149 h 1051"/>
                <a:gd name="T106" fmla="*/ 209 w 840"/>
                <a:gd name="T107" fmla="*/ 213 h 1051"/>
                <a:gd name="T108" fmla="*/ 238 w 840"/>
                <a:gd name="T109" fmla="*/ 262 h 1051"/>
                <a:gd name="T110" fmla="*/ 330 w 840"/>
                <a:gd name="T111" fmla="*/ 254 h 1051"/>
                <a:gd name="T112" fmla="*/ 470 w 840"/>
                <a:gd name="T113" fmla="*/ 134 h 1051"/>
                <a:gd name="T114" fmla="*/ 514 w 840"/>
                <a:gd name="T115" fmla="*/ 60 h 1051"/>
                <a:gd name="T116" fmla="*/ 537 w 840"/>
                <a:gd name="T117"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0" h="1051">
                  <a:moveTo>
                    <a:pt x="559" y="3"/>
                  </a:moveTo>
                  <a:lnTo>
                    <a:pt x="557" y="20"/>
                  </a:lnTo>
                  <a:lnTo>
                    <a:pt x="558" y="33"/>
                  </a:lnTo>
                  <a:lnTo>
                    <a:pt x="559" y="36"/>
                  </a:lnTo>
                  <a:lnTo>
                    <a:pt x="561" y="39"/>
                  </a:lnTo>
                  <a:lnTo>
                    <a:pt x="562" y="41"/>
                  </a:lnTo>
                  <a:lnTo>
                    <a:pt x="568" y="44"/>
                  </a:lnTo>
                  <a:lnTo>
                    <a:pt x="572" y="47"/>
                  </a:lnTo>
                  <a:lnTo>
                    <a:pt x="576" y="50"/>
                  </a:lnTo>
                  <a:lnTo>
                    <a:pt x="579" y="56"/>
                  </a:lnTo>
                  <a:lnTo>
                    <a:pt x="588" y="85"/>
                  </a:lnTo>
                  <a:lnTo>
                    <a:pt x="592" y="94"/>
                  </a:lnTo>
                  <a:lnTo>
                    <a:pt x="593" y="99"/>
                  </a:lnTo>
                  <a:lnTo>
                    <a:pt x="598" y="125"/>
                  </a:lnTo>
                  <a:lnTo>
                    <a:pt x="620" y="177"/>
                  </a:lnTo>
                  <a:lnTo>
                    <a:pt x="621" y="179"/>
                  </a:lnTo>
                  <a:lnTo>
                    <a:pt x="624" y="182"/>
                  </a:lnTo>
                  <a:lnTo>
                    <a:pt x="628" y="185"/>
                  </a:lnTo>
                  <a:lnTo>
                    <a:pt x="631" y="187"/>
                  </a:lnTo>
                  <a:lnTo>
                    <a:pt x="635" y="189"/>
                  </a:lnTo>
                  <a:lnTo>
                    <a:pt x="638" y="190"/>
                  </a:lnTo>
                  <a:lnTo>
                    <a:pt x="644" y="191"/>
                  </a:lnTo>
                  <a:lnTo>
                    <a:pt x="670" y="191"/>
                  </a:lnTo>
                  <a:lnTo>
                    <a:pt x="706" y="193"/>
                  </a:lnTo>
                  <a:lnTo>
                    <a:pt x="714" y="195"/>
                  </a:lnTo>
                  <a:lnTo>
                    <a:pt x="719" y="197"/>
                  </a:lnTo>
                  <a:lnTo>
                    <a:pt x="722" y="199"/>
                  </a:lnTo>
                  <a:lnTo>
                    <a:pt x="727" y="202"/>
                  </a:lnTo>
                  <a:lnTo>
                    <a:pt x="729" y="207"/>
                  </a:lnTo>
                  <a:lnTo>
                    <a:pt x="730" y="210"/>
                  </a:lnTo>
                  <a:lnTo>
                    <a:pt x="729" y="213"/>
                  </a:lnTo>
                  <a:lnTo>
                    <a:pt x="727" y="222"/>
                  </a:lnTo>
                  <a:lnTo>
                    <a:pt x="726" y="239"/>
                  </a:lnTo>
                  <a:lnTo>
                    <a:pt x="726" y="245"/>
                  </a:lnTo>
                  <a:lnTo>
                    <a:pt x="727" y="249"/>
                  </a:lnTo>
                  <a:lnTo>
                    <a:pt x="731" y="255"/>
                  </a:lnTo>
                  <a:lnTo>
                    <a:pt x="734" y="259"/>
                  </a:lnTo>
                  <a:lnTo>
                    <a:pt x="738" y="262"/>
                  </a:lnTo>
                  <a:lnTo>
                    <a:pt x="745" y="264"/>
                  </a:lnTo>
                  <a:lnTo>
                    <a:pt x="749" y="264"/>
                  </a:lnTo>
                  <a:lnTo>
                    <a:pt x="753" y="264"/>
                  </a:lnTo>
                  <a:lnTo>
                    <a:pt x="773" y="259"/>
                  </a:lnTo>
                  <a:lnTo>
                    <a:pt x="777" y="258"/>
                  </a:lnTo>
                  <a:lnTo>
                    <a:pt x="780" y="258"/>
                  </a:lnTo>
                  <a:lnTo>
                    <a:pt x="800" y="262"/>
                  </a:lnTo>
                  <a:lnTo>
                    <a:pt x="803" y="263"/>
                  </a:lnTo>
                  <a:lnTo>
                    <a:pt x="807" y="264"/>
                  </a:lnTo>
                  <a:lnTo>
                    <a:pt x="809" y="268"/>
                  </a:lnTo>
                  <a:lnTo>
                    <a:pt x="809" y="269"/>
                  </a:lnTo>
                  <a:lnTo>
                    <a:pt x="805" y="295"/>
                  </a:lnTo>
                  <a:lnTo>
                    <a:pt x="805" y="302"/>
                  </a:lnTo>
                  <a:lnTo>
                    <a:pt x="813" y="363"/>
                  </a:lnTo>
                  <a:lnTo>
                    <a:pt x="813" y="367"/>
                  </a:lnTo>
                  <a:lnTo>
                    <a:pt x="813" y="370"/>
                  </a:lnTo>
                  <a:lnTo>
                    <a:pt x="812" y="374"/>
                  </a:lnTo>
                  <a:lnTo>
                    <a:pt x="810" y="377"/>
                  </a:lnTo>
                  <a:lnTo>
                    <a:pt x="808" y="381"/>
                  </a:lnTo>
                  <a:lnTo>
                    <a:pt x="803" y="388"/>
                  </a:lnTo>
                  <a:lnTo>
                    <a:pt x="801" y="391"/>
                  </a:lnTo>
                  <a:lnTo>
                    <a:pt x="800" y="395"/>
                  </a:lnTo>
                  <a:lnTo>
                    <a:pt x="799" y="399"/>
                  </a:lnTo>
                  <a:lnTo>
                    <a:pt x="802" y="429"/>
                  </a:lnTo>
                  <a:lnTo>
                    <a:pt x="800" y="437"/>
                  </a:lnTo>
                  <a:lnTo>
                    <a:pt x="794" y="462"/>
                  </a:lnTo>
                  <a:lnTo>
                    <a:pt x="793" y="466"/>
                  </a:lnTo>
                  <a:lnTo>
                    <a:pt x="794" y="470"/>
                  </a:lnTo>
                  <a:lnTo>
                    <a:pt x="794" y="474"/>
                  </a:lnTo>
                  <a:lnTo>
                    <a:pt x="796" y="477"/>
                  </a:lnTo>
                  <a:lnTo>
                    <a:pt x="840" y="543"/>
                  </a:lnTo>
                  <a:lnTo>
                    <a:pt x="823" y="550"/>
                  </a:lnTo>
                  <a:lnTo>
                    <a:pt x="796" y="566"/>
                  </a:lnTo>
                  <a:lnTo>
                    <a:pt x="790" y="567"/>
                  </a:lnTo>
                  <a:lnTo>
                    <a:pt x="786" y="568"/>
                  </a:lnTo>
                  <a:lnTo>
                    <a:pt x="774" y="564"/>
                  </a:lnTo>
                  <a:lnTo>
                    <a:pt x="770" y="563"/>
                  </a:lnTo>
                  <a:lnTo>
                    <a:pt x="765" y="563"/>
                  </a:lnTo>
                  <a:lnTo>
                    <a:pt x="758" y="564"/>
                  </a:lnTo>
                  <a:lnTo>
                    <a:pt x="753" y="566"/>
                  </a:lnTo>
                  <a:lnTo>
                    <a:pt x="742" y="570"/>
                  </a:lnTo>
                  <a:lnTo>
                    <a:pt x="740" y="571"/>
                  </a:lnTo>
                  <a:lnTo>
                    <a:pt x="736" y="572"/>
                  </a:lnTo>
                  <a:lnTo>
                    <a:pt x="726" y="572"/>
                  </a:lnTo>
                  <a:lnTo>
                    <a:pt x="720" y="573"/>
                  </a:lnTo>
                  <a:lnTo>
                    <a:pt x="716" y="574"/>
                  </a:lnTo>
                  <a:lnTo>
                    <a:pt x="711" y="577"/>
                  </a:lnTo>
                  <a:lnTo>
                    <a:pt x="705" y="584"/>
                  </a:lnTo>
                  <a:lnTo>
                    <a:pt x="700" y="588"/>
                  </a:lnTo>
                  <a:lnTo>
                    <a:pt x="667" y="606"/>
                  </a:lnTo>
                  <a:lnTo>
                    <a:pt x="625" y="645"/>
                  </a:lnTo>
                  <a:lnTo>
                    <a:pt x="619" y="649"/>
                  </a:lnTo>
                  <a:lnTo>
                    <a:pt x="610" y="654"/>
                  </a:lnTo>
                  <a:lnTo>
                    <a:pt x="605" y="656"/>
                  </a:lnTo>
                  <a:lnTo>
                    <a:pt x="599" y="657"/>
                  </a:lnTo>
                  <a:lnTo>
                    <a:pt x="596" y="655"/>
                  </a:lnTo>
                  <a:lnTo>
                    <a:pt x="592" y="653"/>
                  </a:lnTo>
                  <a:lnTo>
                    <a:pt x="590" y="650"/>
                  </a:lnTo>
                  <a:lnTo>
                    <a:pt x="586" y="646"/>
                  </a:lnTo>
                  <a:lnTo>
                    <a:pt x="569" y="611"/>
                  </a:lnTo>
                  <a:lnTo>
                    <a:pt x="567" y="606"/>
                  </a:lnTo>
                  <a:lnTo>
                    <a:pt x="557" y="598"/>
                  </a:lnTo>
                  <a:lnTo>
                    <a:pt x="553" y="597"/>
                  </a:lnTo>
                  <a:lnTo>
                    <a:pt x="549" y="596"/>
                  </a:lnTo>
                  <a:lnTo>
                    <a:pt x="546" y="597"/>
                  </a:lnTo>
                  <a:lnTo>
                    <a:pt x="531" y="605"/>
                  </a:lnTo>
                  <a:lnTo>
                    <a:pt x="527" y="607"/>
                  </a:lnTo>
                  <a:lnTo>
                    <a:pt x="523" y="609"/>
                  </a:lnTo>
                  <a:lnTo>
                    <a:pt x="505" y="609"/>
                  </a:lnTo>
                  <a:lnTo>
                    <a:pt x="500" y="609"/>
                  </a:lnTo>
                  <a:lnTo>
                    <a:pt x="495" y="611"/>
                  </a:lnTo>
                  <a:lnTo>
                    <a:pt x="487" y="614"/>
                  </a:lnTo>
                  <a:lnTo>
                    <a:pt x="482" y="615"/>
                  </a:lnTo>
                  <a:lnTo>
                    <a:pt x="478" y="615"/>
                  </a:lnTo>
                  <a:lnTo>
                    <a:pt x="477" y="614"/>
                  </a:lnTo>
                  <a:lnTo>
                    <a:pt x="474" y="612"/>
                  </a:lnTo>
                  <a:lnTo>
                    <a:pt x="471" y="609"/>
                  </a:lnTo>
                  <a:lnTo>
                    <a:pt x="470" y="605"/>
                  </a:lnTo>
                  <a:lnTo>
                    <a:pt x="464" y="591"/>
                  </a:lnTo>
                  <a:lnTo>
                    <a:pt x="462" y="588"/>
                  </a:lnTo>
                  <a:lnTo>
                    <a:pt x="458" y="584"/>
                  </a:lnTo>
                  <a:lnTo>
                    <a:pt x="453" y="582"/>
                  </a:lnTo>
                  <a:lnTo>
                    <a:pt x="449" y="582"/>
                  </a:lnTo>
                  <a:lnTo>
                    <a:pt x="445" y="582"/>
                  </a:lnTo>
                  <a:lnTo>
                    <a:pt x="441" y="583"/>
                  </a:lnTo>
                  <a:lnTo>
                    <a:pt x="438" y="586"/>
                  </a:lnTo>
                  <a:lnTo>
                    <a:pt x="435" y="589"/>
                  </a:lnTo>
                  <a:lnTo>
                    <a:pt x="434" y="591"/>
                  </a:lnTo>
                  <a:lnTo>
                    <a:pt x="433" y="593"/>
                  </a:lnTo>
                  <a:lnTo>
                    <a:pt x="433" y="597"/>
                  </a:lnTo>
                  <a:lnTo>
                    <a:pt x="432" y="600"/>
                  </a:lnTo>
                  <a:lnTo>
                    <a:pt x="432" y="604"/>
                  </a:lnTo>
                  <a:lnTo>
                    <a:pt x="433" y="612"/>
                  </a:lnTo>
                  <a:lnTo>
                    <a:pt x="436" y="622"/>
                  </a:lnTo>
                  <a:lnTo>
                    <a:pt x="437" y="628"/>
                  </a:lnTo>
                  <a:lnTo>
                    <a:pt x="437" y="629"/>
                  </a:lnTo>
                  <a:lnTo>
                    <a:pt x="435" y="634"/>
                  </a:lnTo>
                  <a:lnTo>
                    <a:pt x="424" y="655"/>
                  </a:lnTo>
                  <a:lnTo>
                    <a:pt x="419" y="667"/>
                  </a:lnTo>
                  <a:lnTo>
                    <a:pt x="417" y="671"/>
                  </a:lnTo>
                  <a:lnTo>
                    <a:pt x="413" y="674"/>
                  </a:lnTo>
                  <a:lnTo>
                    <a:pt x="409" y="676"/>
                  </a:lnTo>
                  <a:lnTo>
                    <a:pt x="405" y="677"/>
                  </a:lnTo>
                  <a:lnTo>
                    <a:pt x="388" y="680"/>
                  </a:lnTo>
                  <a:lnTo>
                    <a:pt x="384" y="681"/>
                  </a:lnTo>
                  <a:lnTo>
                    <a:pt x="380" y="683"/>
                  </a:lnTo>
                  <a:lnTo>
                    <a:pt x="376" y="686"/>
                  </a:lnTo>
                  <a:lnTo>
                    <a:pt x="363" y="699"/>
                  </a:lnTo>
                  <a:lnTo>
                    <a:pt x="360" y="703"/>
                  </a:lnTo>
                  <a:lnTo>
                    <a:pt x="360" y="706"/>
                  </a:lnTo>
                  <a:lnTo>
                    <a:pt x="361" y="710"/>
                  </a:lnTo>
                  <a:lnTo>
                    <a:pt x="364" y="712"/>
                  </a:lnTo>
                  <a:lnTo>
                    <a:pt x="367" y="714"/>
                  </a:lnTo>
                  <a:lnTo>
                    <a:pt x="380" y="718"/>
                  </a:lnTo>
                  <a:lnTo>
                    <a:pt x="381" y="719"/>
                  </a:lnTo>
                  <a:lnTo>
                    <a:pt x="384" y="722"/>
                  </a:lnTo>
                  <a:lnTo>
                    <a:pt x="386" y="726"/>
                  </a:lnTo>
                  <a:lnTo>
                    <a:pt x="387" y="730"/>
                  </a:lnTo>
                  <a:lnTo>
                    <a:pt x="387" y="734"/>
                  </a:lnTo>
                  <a:lnTo>
                    <a:pt x="385" y="752"/>
                  </a:lnTo>
                  <a:lnTo>
                    <a:pt x="385" y="756"/>
                  </a:lnTo>
                  <a:lnTo>
                    <a:pt x="388" y="767"/>
                  </a:lnTo>
                  <a:lnTo>
                    <a:pt x="388" y="771"/>
                  </a:lnTo>
                  <a:lnTo>
                    <a:pt x="388" y="786"/>
                  </a:lnTo>
                  <a:lnTo>
                    <a:pt x="388" y="789"/>
                  </a:lnTo>
                  <a:lnTo>
                    <a:pt x="388" y="793"/>
                  </a:lnTo>
                  <a:lnTo>
                    <a:pt x="390" y="796"/>
                  </a:lnTo>
                  <a:lnTo>
                    <a:pt x="393" y="799"/>
                  </a:lnTo>
                  <a:lnTo>
                    <a:pt x="395" y="800"/>
                  </a:lnTo>
                  <a:lnTo>
                    <a:pt x="408" y="807"/>
                  </a:lnTo>
                  <a:lnTo>
                    <a:pt x="411" y="811"/>
                  </a:lnTo>
                  <a:lnTo>
                    <a:pt x="422" y="826"/>
                  </a:lnTo>
                  <a:lnTo>
                    <a:pt x="425" y="828"/>
                  </a:lnTo>
                  <a:lnTo>
                    <a:pt x="430" y="830"/>
                  </a:lnTo>
                  <a:lnTo>
                    <a:pt x="434" y="831"/>
                  </a:lnTo>
                  <a:lnTo>
                    <a:pt x="438" y="831"/>
                  </a:lnTo>
                  <a:lnTo>
                    <a:pt x="442" y="830"/>
                  </a:lnTo>
                  <a:lnTo>
                    <a:pt x="446" y="829"/>
                  </a:lnTo>
                  <a:lnTo>
                    <a:pt x="448" y="827"/>
                  </a:lnTo>
                  <a:lnTo>
                    <a:pt x="452" y="825"/>
                  </a:lnTo>
                  <a:lnTo>
                    <a:pt x="454" y="822"/>
                  </a:lnTo>
                  <a:lnTo>
                    <a:pt x="455" y="818"/>
                  </a:lnTo>
                  <a:lnTo>
                    <a:pt x="459" y="799"/>
                  </a:lnTo>
                  <a:lnTo>
                    <a:pt x="470" y="771"/>
                  </a:lnTo>
                  <a:lnTo>
                    <a:pt x="475" y="763"/>
                  </a:lnTo>
                  <a:lnTo>
                    <a:pt x="477" y="760"/>
                  </a:lnTo>
                  <a:lnTo>
                    <a:pt x="478" y="759"/>
                  </a:lnTo>
                  <a:lnTo>
                    <a:pt x="481" y="757"/>
                  </a:lnTo>
                  <a:lnTo>
                    <a:pt x="485" y="757"/>
                  </a:lnTo>
                  <a:lnTo>
                    <a:pt x="501" y="757"/>
                  </a:lnTo>
                  <a:lnTo>
                    <a:pt x="506" y="756"/>
                  </a:lnTo>
                  <a:lnTo>
                    <a:pt x="510" y="754"/>
                  </a:lnTo>
                  <a:lnTo>
                    <a:pt x="518" y="751"/>
                  </a:lnTo>
                  <a:lnTo>
                    <a:pt x="525" y="750"/>
                  </a:lnTo>
                  <a:lnTo>
                    <a:pt x="528" y="751"/>
                  </a:lnTo>
                  <a:lnTo>
                    <a:pt x="531" y="752"/>
                  </a:lnTo>
                  <a:lnTo>
                    <a:pt x="533" y="754"/>
                  </a:lnTo>
                  <a:lnTo>
                    <a:pt x="535" y="757"/>
                  </a:lnTo>
                  <a:lnTo>
                    <a:pt x="538" y="760"/>
                  </a:lnTo>
                  <a:lnTo>
                    <a:pt x="538" y="765"/>
                  </a:lnTo>
                  <a:lnTo>
                    <a:pt x="538" y="768"/>
                  </a:lnTo>
                  <a:lnTo>
                    <a:pt x="538" y="772"/>
                  </a:lnTo>
                  <a:lnTo>
                    <a:pt x="533" y="795"/>
                  </a:lnTo>
                  <a:lnTo>
                    <a:pt x="533" y="798"/>
                  </a:lnTo>
                  <a:lnTo>
                    <a:pt x="533" y="803"/>
                  </a:lnTo>
                  <a:lnTo>
                    <a:pt x="534" y="807"/>
                  </a:lnTo>
                  <a:lnTo>
                    <a:pt x="541" y="819"/>
                  </a:lnTo>
                  <a:lnTo>
                    <a:pt x="542" y="823"/>
                  </a:lnTo>
                  <a:lnTo>
                    <a:pt x="542" y="827"/>
                  </a:lnTo>
                  <a:lnTo>
                    <a:pt x="537" y="846"/>
                  </a:lnTo>
                  <a:lnTo>
                    <a:pt x="535" y="849"/>
                  </a:lnTo>
                  <a:lnTo>
                    <a:pt x="533" y="852"/>
                  </a:lnTo>
                  <a:lnTo>
                    <a:pt x="530" y="855"/>
                  </a:lnTo>
                  <a:lnTo>
                    <a:pt x="527" y="856"/>
                  </a:lnTo>
                  <a:lnTo>
                    <a:pt x="524" y="856"/>
                  </a:lnTo>
                  <a:lnTo>
                    <a:pt x="522" y="856"/>
                  </a:lnTo>
                  <a:lnTo>
                    <a:pt x="503" y="855"/>
                  </a:lnTo>
                  <a:lnTo>
                    <a:pt x="500" y="855"/>
                  </a:lnTo>
                  <a:lnTo>
                    <a:pt x="496" y="856"/>
                  </a:lnTo>
                  <a:lnTo>
                    <a:pt x="493" y="856"/>
                  </a:lnTo>
                  <a:lnTo>
                    <a:pt x="485" y="861"/>
                  </a:lnTo>
                  <a:lnTo>
                    <a:pt x="477" y="867"/>
                  </a:lnTo>
                  <a:lnTo>
                    <a:pt x="473" y="869"/>
                  </a:lnTo>
                  <a:lnTo>
                    <a:pt x="470" y="869"/>
                  </a:lnTo>
                  <a:lnTo>
                    <a:pt x="466" y="867"/>
                  </a:lnTo>
                  <a:lnTo>
                    <a:pt x="463" y="865"/>
                  </a:lnTo>
                  <a:lnTo>
                    <a:pt x="461" y="864"/>
                  </a:lnTo>
                  <a:lnTo>
                    <a:pt x="460" y="865"/>
                  </a:lnTo>
                  <a:lnTo>
                    <a:pt x="459" y="869"/>
                  </a:lnTo>
                  <a:lnTo>
                    <a:pt x="458" y="909"/>
                  </a:lnTo>
                  <a:lnTo>
                    <a:pt x="459" y="917"/>
                  </a:lnTo>
                  <a:lnTo>
                    <a:pt x="460" y="921"/>
                  </a:lnTo>
                  <a:lnTo>
                    <a:pt x="461" y="925"/>
                  </a:lnTo>
                  <a:lnTo>
                    <a:pt x="463" y="928"/>
                  </a:lnTo>
                  <a:lnTo>
                    <a:pt x="466" y="931"/>
                  </a:lnTo>
                  <a:lnTo>
                    <a:pt x="470" y="932"/>
                  </a:lnTo>
                  <a:lnTo>
                    <a:pt x="472" y="933"/>
                  </a:lnTo>
                  <a:lnTo>
                    <a:pt x="491" y="933"/>
                  </a:lnTo>
                  <a:lnTo>
                    <a:pt x="498" y="934"/>
                  </a:lnTo>
                  <a:lnTo>
                    <a:pt x="505" y="935"/>
                  </a:lnTo>
                  <a:lnTo>
                    <a:pt x="508" y="937"/>
                  </a:lnTo>
                  <a:lnTo>
                    <a:pt x="512" y="939"/>
                  </a:lnTo>
                  <a:lnTo>
                    <a:pt x="515" y="941"/>
                  </a:lnTo>
                  <a:lnTo>
                    <a:pt x="516" y="945"/>
                  </a:lnTo>
                  <a:lnTo>
                    <a:pt x="528" y="980"/>
                  </a:lnTo>
                  <a:lnTo>
                    <a:pt x="530" y="986"/>
                  </a:lnTo>
                  <a:lnTo>
                    <a:pt x="530" y="990"/>
                  </a:lnTo>
                  <a:lnTo>
                    <a:pt x="529" y="994"/>
                  </a:lnTo>
                  <a:lnTo>
                    <a:pt x="523" y="1017"/>
                  </a:lnTo>
                  <a:lnTo>
                    <a:pt x="520" y="1024"/>
                  </a:lnTo>
                  <a:lnTo>
                    <a:pt x="517" y="1027"/>
                  </a:lnTo>
                  <a:lnTo>
                    <a:pt x="515" y="1030"/>
                  </a:lnTo>
                  <a:lnTo>
                    <a:pt x="504" y="1036"/>
                  </a:lnTo>
                  <a:lnTo>
                    <a:pt x="501" y="1038"/>
                  </a:lnTo>
                  <a:lnTo>
                    <a:pt x="499" y="1040"/>
                  </a:lnTo>
                  <a:lnTo>
                    <a:pt x="497" y="1044"/>
                  </a:lnTo>
                  <a:lnTo>
                    <a:pt x="493" y="1051"/>
                  </a:lnTo>
                  <a:lnTo>
                    <a:pt x="492" y="1049"/>
                  </a:lnTo>
                  <a:lnTo>
                    <a:pt x="491" y="1046"/>
                  </a:lnTo>
                  <a:lnTo>
                    <a:pt x="490" y="1045"/>
                  </a:lnTo>
                  <a:lnTo>
                    <a:pt x="489" y="1044"/>
                  </a:lnTo>
                  <a:lnTo>
                    <a:pt x="487" y="1043"/>
                  </a:lnTo>
                  <a:lnTo>
                    <a:pt x="487" y="1042"/>
                  </a:lnTo>
                  <a:lnTo>
                    <a:pt x="487" y="1039"/>
                  </a:lnTo>
                  <a:lnTo>
                    <a:pt x="484" y="1039"/>
                  </a:lnTo>
                  <a:lnTo>
                    <a:pt x="481" y="1038"/>
                  </a:lnTo>
                  <a:lnTo>
                    <a:pt x="482" y="1036"/>
                  </a:lnTo>
                  <a:lnTo>
                    <a:pt x="483" y="1035"/>
                  </a:lnTo>
                  <a:lnTo>
                    <a:pt x="482" y="1033"/>
                  </a:lnTo>
                  <a:lnTo>
                    <a:pt x="480" y="1032"/>
                  </a:lnTo>
                  <a:lnTo>
                    <a:pt x="478" y="1032"/>
                  </a:lnTo>
                  <a:lnTo>
                    <a:pt x="477" y="1033"/>
                  </a:lnTo>
                  <a:lnTo>
                    <a:pt x="478" y="1030"/>
                  </a:lnTo>
                  <a:lnTo>
                    <a:pt x="478" y="1028"/>
                  </a:lnTo>
                  <a:lnTo>
                    <a:pt x="478" y="1027"/>
                  </a:lnTo>
                  <a:lnTo>
                    <a:pt x="478" y="1024"/>
                  </a:lnTo>
                  <a:lnTo>
                    <a:pt x="478" y="1024"/>
                  </a:lnTo>
                  <a:lnTo>
                    <a:pt x="475" y="1023"/>
                  </a:lnTo>
                  <a:lnTo>
                    <a:pt x="473" y="1024"/>
                  </a:lnTo>
                  <a:lnTo>
                    <a:pt x="473" y="1021"/>
                  </a:lnTo>
                  <a:lnTo>
                    <a:pt x="473" y="1017"/>
                  </a:lnTo>
                  <a:lnTo>
                    <a:pt x="471" y="1014"/>
                  </a:lnTo>
                  <a:lnTo>
                    <a:pt x="470" y="1012"/>
                  </a:lnTo>
                  <a:lnTo>
                    <a:pt x="470" y="1009"/>
                  </a:lnTo>
                  <a:lnTo>
                    <a:pt x="468" y="1003"/>
                  </a:lnTo>
                  <a:lnTo>
                    <a:pt x="467" y="1000"/>
                  </a:lnTo>
                  <a:lnTo>
                    <a:pt x="467" y="991"/>
                  </a:lnTo>
                  <a:lnTo>
                    <a:pt x="466" y="989"/>
                  </a:lnTo>
                  <a:lnTo>
                    <a:pt x="464" y="988"/>
                  </a:lnTo>
                  <a:lnTo>
                    <a:pt x="463" y="987"/>
                  </a:lnTo>
                  <a:lnTo>
                    <a:pt x="463" y="985"/>
                  </a:lnTo>
                  <a:lnTo>
                    <a:pt x="463" y="984"/>
                  </a:lnTo>
                  <a:lnTo>
                    <a:pt x="456" y="979"/>
                  </a:lnTo>
                  <a:lnTo>
                    <a:pt x="455" y="978"/>
                  </a:lnTo>
                  <a:lnTo>
                    <a:pt x="455" y="976"/>
                  </a:lnTo>
                  <a:lnTo>
                    <a:pt x="455" y="974"/>
                  </a:lnTo>
                  <a:lnTo>
                    <a:pt x="454" y="972"/>
                  </a:lnTo>
                  <a:lnTo>
                    <a:pt x="450" y="971"/>
                  </a:lnTo>
                  <a:lnTo>
                    <a:pt x="448" y="969"/>
                  </a:lnTo>
                  <a:lnTo>
                    <a:pt x="448" y="970"/>
                  </a:lnTo>
                  <a:lnTo>
                    <a:pt x="446" y="971"/>
                  </a:lnTo>
                  <a:lnTo>
                    <a:pt x="445" y="971"/>
                  </a:lnTo>
                  <a:lnTo>
                    <a:pt x="443" y="970"/>
                  </a:lnTo>
                  <a:lnTo>
                    <a:pt x="441" y="970"/>
                  </a:lnTo>
                  <a:lnTo>
                    <a:pt x="440" y="968"/>
                  </a:lnTo>
                  <a:lnTo>
                    <a:pt x="439" y="966"/>
                  </a:lnTo>
                  <a:lnTo>
                    <a:pt x="434" y="956"/>
                  </a:lnTo>
                  <a:lnTo>
                    <a:pt x="433" y="954"/>
                  </a:lnTo>
                  <a:lnTo>
                    <a:pt x="430" y="951"/>
                  </a:lnTo>
                  <a:lnTo>
                    <a:pt x="429" y="949"/>
                  </a:lnTo>
                  <a:lnTo>
                    <a:pt x="429" y="947"/>
                  </a:lnTo>
                  <a:lnTo>
                    <a:pt x="429" y="943"/>
                  </a:lnTo>
                  <a:lnTo>
                    <a:pt x="433" y="932"/>
                  </a:lnTo>
                  <a:lnTo>
                    <a:pt x="434" y="928"/>
                  </a:lnTo>
                  <a:lnTo>
                    <a:pt x="434" y="927"/>
                  </a:lnTo>
                  <a:lnTo>
                    <a:pt x="435" y="926"/>
                  </a:lnTo>
                  <a:lnTo>
                    <a:pt x="435" y="925"/>
                  </a:lnTo>
                  <a:lnTo>
                    <a:pt x="434" y="923"/>
                  </a:lnTo>
                  <a:lnTo>
                    <a:pt x="433" y="923"/>
                  </a:lnTo>
                  <a:lnTo>
                    <a:pt x="429" y="920"/>
                  </a:lnTo>
                  <a:lnTo>
                    <a:pt x="429" y="920"/>
                  </a:lnTo>
                  <a:lnTo>
                    <a:pt x="422" y="918"/>
                  </a:lnTo>
                  <a:lnTo>
                    <a:pt x="420" y="913"/>
                  </a:lnTo>
                  <a:lnTo>
                    <a:pt x="420" y="912"/>
                  </a:lnTo>
                  <a:lnTo>
                    <a:pt x="418" y="908"/>
                  </a:lnTo>
                  <a:lnTo>
                    <a:pt x="417" y="907"/>
                  </a:lnTo>
                  <a:lnTo>
                    <a:pt x="417" y="905"/>
                  </a:lnTo>
                  <a:lnTo>
                    <a:pt x="417" y="903"/>
                  </a:lnTo>
                  <a:lnTo>
                    <a:pt x="418" y="900"/>
                  </a:lnTo>
                  <a:lnTo>
                    <a:pt x="418" y="898"/>
                  </a:lnTo>
                  <a:lnTo>
                    <a:pt x="420" y="895"/>
                  </a:lnTo>
                  <a:lnTo>
                    <a:pt x="420" y="892"/>
                  </a:lnTo>
                  <a:lnTo>
                    <a:pt x="421" y="888"/>
                  </a:lnTo>
                  <a:lnTo>
                    <a:pt x="424" y="884"/>
                  </a:lnTo>
                  <a:lnTo>
                    <a:pt x="422" y="881"/>
                  </a:lnTo>
                  <a:lnTo>
                    <a:pt x="418" y="879"/>
                  </a:lnTo>
                  <a:lnTo>
                    <a:pt x="415" y="878"/>
                  </a:lnTo>
                  <a:lnTo>
                    <a:pt x="408" y="876"/>
                  </a:lnTo>
                  <a:lnTo>
                    <a:pt x="405" y="873"/>
                  </a:lnTo>
                  <a:lnTo>
                    <a:pt x="403" y="869"/>
                  </a:lnTo>
                  <a:lnTo>
                    <a:pt x="401" y="865"/>
                  </a:lnTo>
                  <a:lnTo>
                    <a:pt x="401" y="864"/>
                  </a:lnTo>
                  <a:lnTo>
                    <a:pt x="401" y="861"/>
                  </a:lnTo>
                  <a:lnTo>
                    <a:pt x="402" y="857"/>
                  </a:lnTo>
                  <a:lnTo>
                    <a:pt x="402" y="856"/>
                  </a:lnTo>
                  <a:lnTo>
                    <a:pt x="401" y="852"/>
                  </a:lnTo>
                  <a:lnTo>
                    <a:pt x="401" y="850"/>
                  </a:lnTo>
                  <a:lnTo>
                    <a:pt x="400" y="848"/>
                  </a:lnTo>
                  <a:lnTo>
                    <a:pt x="397" y="847"/>
                  </a:lnTo>
                  <a:lnTo>
                    <a:pt x="395" y="846"/>
                  </a:lnTo>
                  <a:lnTo>
                    <a:pt x="395" y="841"/>
                  </a:lnTo>
                  <a:lnTo>
                    <a:pt x="394" y="840"/>
                  </a:lnTo>
                  <a:lnTo>
                    <a:pt x="391" y="839"/>
                  </a:lnTo>
                  <a:lnTo>
                    <a:pt x="387" y="835"/>
                  </a:lnTo>
                  <a:lnTo>
                    <a:pt x="387" y="832"/>
                  </a:lnTo>
                  <a:lnTo>
                    <a:pt x="387" y="830"/>
                  </a:lnTo>
                  <a:lnTo>
                    <a:pt x="385" y="827"/>
                  </a:lnTo>
                  <a:lnTo>
                    <a:pt x="384" y="824"/>
                  </a:lnTo>
                  <a:lnTo>
                    <a:pt x="383" y="821"/>
                  </a:lnTo>
                  <a:lnTo>
                    <a:pt x="383" y="819"/>
                  </a:lnTo>
                  <a:lnTo>
                    <a:pt x="385" y="818"/>
                  </a:lnTo>
                  <a:lnTo>
                    <a:pt x="386" y="816"/>
                  </a:lnTo>
                  <a:lnTo>
                    <a:pt x="387" y="815"/>
                  </a:lnTo>
                  <a:lnTo>
                    <a:pt x="386" y="813"/>
                  </a:lnTo>
                  <a:lnTo>
                    <a:pt x="387" y="811"/>
                  </a:lnTo>
                  <a:lnTo>
                    <a:pt x="386" y="810"/>
                  </a:lnTo>
                  <a:lnTo>
                    <a:pt x="385" y="808"/>
                  </a:lnTo>
                  <a:lnTo>
                    <a:pt x="385" y="806"/>
                  </a:lnTo>
                  <a:lnTo>
                    <a:pt x="370" y="801"/>
                  </a:lnTo>
                  <a:lnTo>
                    <a:pt x="366" y="798"/>
                  </a:lnTo>
                  <a:lnTo>
                    <a:pt x="357" y="789"/>
                  </a:lnTo>
                  <a:lnTo>
                    <a:pt x="354" y="788"/>
                  </a:lnTo>
                  <a:lnTo>
                    <a:pt x="354" y="787"/>
                  </a:lnTo>
                  <a:lnTo>
                    <a:pt x="356" y="787"/>
                  </a:lnTo>
                  <a:lnTo>
                    <a:pt x="359" y="789"/>
                  </a:lnTo>
                  <a:lnTo>
                    <a:pt x="360" y="781"/>
                  </a:lnTo>
                  <a:lnTo>
                    <a:pt x="360" y="772"/>
                  </a:lnTo>
                  <a:lnTo>
                    <a:pt x="358" y="769"/>
                  </a:lnTo>
                  <a:lnTo>
                    <a:pt x="351" y="757"/>
                  </a:lnTo>
                  <a:lnTo>
                    <a:pt x="348" y="756"/>
                  </a:lnTo>
                  <a:lnTo>
                    <a:pt x="339" y="754"/>
                  </a:lnTo>
                  <a:lnTo>
                    <a:pt x="335" y="755"/>
                  </a:lnTo>
                  <a:lnTo>
                    <a:pt x="335" y="756"/>
                  </a:lnTo>
                  <a:lnTo>
                    <a:pt x="336" y="761"/>
                  </a:lnTo>
                  <a:lnTo>
                    <a:pt x="334" y="758"/>
                  </a:lnTo>
                  <a:lnTo>
                    <a:pt x="332" y="755"/>
                  </a:lnTo>
                  <a:lnTo>
                    <a:pt x="330" y="751"/>
                  </a:lnTo>
                  <a:lnTo>
                    <a:pt x="330" y="749"/>
                  </a:lnTo>
                  <a:lnTo>
                    <a:pt x="327" y="749"/>
                  </a:lnTo>
                  <a:lnTo>
                    <a:pt x="321" y="738"/>
                  </a:lnTo>
                  <a:lnTo>
                    <a:pt x="316" y="734"/>
                  </a:lnTo>
                  <a:lnTo>
                    <a:pt x="314" y="734"/>
                  </a:lnTo>
                  <a:lnTo>
                    <a:pt x="314" y="733"/>
                  </a:lnTo>
                  <a:lnTo>
                    <a:pt x="317" y="727"/>
                  </a:lnTo>
                  <a:lnTo>
                    <a:pt x="316" y="725"/>
                  </a:lnTo>
                  <a:lnTo>
                    <a:pt x="314" y="723"/>
                  </a:lnTo>
                  <a:lnTo>
                    <a:pt x="309" y="720"/>
                  </a:lnTo>
                  <a:lnTo>
                    <a:pt x="303" y="717"/>
                  </a:lnTo>
                  <a:lnTo>
                    <a:pt x="301" y="716"/>
                  </a:lnTo>
                  <a:lnTo>
                    <a:pt x="299" y="713"/>
                  </a:lnTo>
                  <a:lnTo>
                    <a:pt x="297" y="712"/>
                  </a:lnTo>
                  <a:lnTo>
                    <a:pt x="292" y="706"/>
                  </a:lnTo>
                  <a:lnTo>
                    <a:pt x="291" y="705"/>
                  </a:lnTo>
                  <a:lnTo>
                    <a:pt x="287" y="704"/>
                  </a:lnTo>
                  <a:lnTo>
                    <a:pt x="285" y="704"/>
                  </a:lnTo>
                  <a:lnTo>
                    <a:pt x="282" y="704"/>
                  </a:lnTo>
                  <a:lnTo>
                    <a:pt x="279" y="702"/>
                  </a:lnTo>
                  <a:lnTo>
                    <a:pt x="271" y="696"/>
                  </a:lnTo>
                  <a:lnTo>
                    <a:pt x="265" y="689"/>
                  </a:lnTo>
                  <a:lnTo>
                    <a:pt x="267" y="686"/>
                  </a:lnTo>
                  <a:lnTo>
                    <a:pt x="263" y="684"/>
                  </a:lnTo>
                  <a:lnTo>
                    <a:pt x="260" y="683"/>
                  </a:lnTo>
                  <a:lnTo>
                    <a:pt x="254" y="682"/>
                  </a:lnTo>
                  <a:lnTo>
                    <a:pt x="253" y="681"/>
                  </a:lnTo>
                  <a:lnTo>
                    <a:pt x="252" y="679"/>
                  </a:lnTo>
                  <a:lnTo>
                    <a:pt x="249" y="676"/>
                  </a:lnTo>
                  <a:lnTo>
                    <a:pt x="247" y="674"/>
                  </a:lnTo>
                  <a:lnTo>
                    <a:pt x="247" y="674"/>
                  </a:lnTo>
                  <a:lnTo>
                    <a:pt x="245" y="673"/>
                  </a:lnTo>
                  <a:lnTo>
                    <a:pt x="240" y="668"/>
                  </a:lnTo>
                  <a:lnTo>
                    <a:pt x="237" y="666"/>
                  </a:lnTo>
                  <a:lnTo>
                    <a:pt x="234" y="666"/>
                  </a:lnTo>
                  <a:lnTo>
                    <a:pt x="230" y="667"/>
                  </a:lnTo>
                  <a:lnTo>
                    <a:pt x="226" y="669"/>
                  </a:lnTo>
                  <a:lnTo>
                    <a:pt x="225" y="670"/>
                  </a:lnTo>
                  <a:lnTo>
                    <a:pt x="221" y="669"/>
                  </a:lnTo>
                  <a:lnTo>
                    <a:pt x="214" y="665"/>
                  </a:lnTo>
                  <a:lnTo>
                    <a:pt x="210" y="663"/>
                  </a:lnTo>
                  <a:lnTo>
                    <a:pt x="210" y="665"/>
                  </a:lnTo>
                  <a:lnTo>
                    <a:pt x="212" y="666"/>
                  </a:lnTo>
                  <a:lnTo>
                    <a:pt x="214" y="668"/>
                  </a:lnTo>
                  <a:lnTo>
                    <a:pt x="216" y="670"/>
                  </a:lnTo>
                  <a:lnTo>
                    <a:pt x="217" y="671"/>
                  </a:lnTo>
                  <a:lnTo>
                    <a:pt x="216" y="672"/>
                  </a:lnTo>
                  <a:lnTo>
                    <a:pt x="214" y="671"/>
                  </a:lnTo>
                  <a:lnTo>
                    <a:pt x="198" y="660"/>
                  </a:lnTo>
                  <a:lnTo>
                    <a:pt x="195" y="658"/>
                  </a:lnTo>
                  <a:lnTo>
                    <a:pt x="192" y="658"/>
                  </a:lnTo>
                  <a:lnTo>
                    <a:pt x="189" y="657"/>
                  </a:lnTo>
                  <a:lnTo>
                    <a:pt x="186" y="655"/>
                  </a:lnTo>
                  <a:lnTo>
                    <a:pt x="184" y="650"/>
                  </a:lnTo>
                  <a:lnTo>
                    <a:pt x="181" y="647"/>
                  </a:lnTo>
                  <a:lnTo>
                    <a:pt x="172" y="640"/>
                  </a:lnTo>
                  <a:lnTo>
                    <a:pt x="168" y="635"/>
                  </a:lnTo>
                  <a:lnTo>
                    <a:pt x="157" y="620"/>
                  </a:lnTo>
                  <a:lnTo>
                    <a:pt x="154" y="616"/>
                  </a:lnTo>
                  <a:lnTo>
                    <a:pt x="154" y="615"/>
                  </a:lnTo>
                  <a:lnTo>
                    <a:pt x="155" y="615"/>
                  </a:lnTo>
                  <a:lnTo>
                    <a:pt x="157" y="615"/>
                  </a:lnTo>
                  <a:lnTo>
                    <a:pt x="158" y="614"/>
                  </a:lnTo>
                  <a:lnTo>
                    <a:pt x="159" y="612"/>
                  </a:lnTo>
                  <a:lnTo>
                    <a:pt x="156" y="612"/>
                  </a:lnTo>
                  <a:lnTo>
                    <a:pt x="154" y="611"/>
                  </a:lnTo>
                  <a:lnTo>
                    <a:pt x="150" y="607"/>
                  </a:lnTo>
                  <a:lnTo>
                    <a:pt x="149" y="605"/>
                  </a:lnTo>
                  <a:lnTo>
                    <a:pt x="148" y="600"/>
                  </a:lnTo>
                  <a:lnTo>
                    <a:pt x="147" y="598"/>
                  </a:lnTo>
                  <a:lnTo>
                    <a:pt x="141" y="591"/>
                  </a:lnTo>
                  <a:lnTo>
                    <a:pt x="141" y="589"/>
                  </a:lnTo>
                  <a:lnTo>
                    <a:pt x="144" y="584"/>
                  </a:lnTo>
                  <a:lnTo>
                    <a:pt x="138" y="582"/>
                  </a:lnTo>
                  <a:lnTo>
                    <a:pt x="136" y="582"/>
                  </a:lnTo>
                  <a:lnTo>
                    <a:pt x="136" y="583"/>
                  </a:lnTo>
                  <a:lnTo>
                    <a:pt x="136" y="584"/>
                  </a:lnTo>
                  <a:lnTo>
                    <a:pt x="132" y="582"/>
                  </a:lnTo>
                  <a:lnTo>
                    <a:pt x="130" y="580"/>
                  </a:lnTo>
                  <a:lnTo>
                    <a:pt x="131" y="577"/>
                  </a:lnTo>
                  <a:lnTo>
                    <a:pt x="130" y="576"/>
                  </a:lnTo>
                  <a:lnTo>
                    <a:pt x="129" y="575"/>
                  </a:lnTo>
                  <a:lnTo>
                    <a:pt x="129" y="574"/>
                  </a:lnTo>
                  <a:lnTo>
                    <a:pt x="130" y="572"/>
                  </a:lnTo>
                  <a:lnTo>
                    <a:pt x="131" y="574"/>
                  </a:lnTo>
                  <a:lnTo>
                    <a:pt x="132" y="574"/>
                  </a:lnTo>
                  <a:lnTo>
                    <a:pt x="134" y="575"/>
                  </a:lnTo>
                  <a:lnTo>
                    <a:pt x="136" y="575"/>
                  </a:lnTo>
                  <a:lnTo>
                    <a:pt x="135" y="574"/>
                  </a:lnTo>
                  <a:lnTo>
                    <a:pt x="134" y="570"/>
                  </a:lnTo>
                  <a:lnTo>
                    <a:pt x="132" y="570"/>
                  </a:lnTo>
                  <a:lnTo>
                    <a:pt x="131" y="570"/>
                  </a:lnTo>
                  <a:lnTo>
                    <a:pt x="129" y="567"/>
                  </a:lnTo>
                  <a:lnTo>
                    <a:pt x="128" y="567"/>
                  </a:lnTo>
                  <a:lnTo>
                    <a:pt x="128" y="570"/>
                  </a:lnTo>
                  <a:lnTo>
                    <a:pt x="124" y="567"/>
                  </a:lnTo>
                  <a:lnTo>
                    <a:pt x="119" y="563"/>
                  </a:lnTo>
                  <a:lnTo>
                    <a:pt x="116" y="559"/>
                  </a:lnTo>
                  <a:lnTo>
                    <a:pt x="117" y="555"/>
                  </a:lnTo>
                  <a:lnTo>
                    <a:pt x="118" y="557"/>
                  </a:lnTo>
                  <a:lnTo>
                    <a:pt x="119" y="558"/>
                  </a:lnTo>
                  <a:lnTo>
                    <a:pt x="120" y="556"/>
                  </a:lnTo>
                  <a:lnTo>
                    <a:pt x="119" y="554"/>
                  </a:lnTo>
                  <a:lnTo>
                    <a:pt x="118" y="553"/>
                  </a:lnTo>
                  <a:lnTo>
                    <a:pt x="117" y="552"/>
                  </a:lnTo>
                  <a:lnTo>
                    <a:pt x="114" y="551"/>
                  </a:lnTo>
                  <a:lnTo>
                    <a:pt x="112" y="551"/>
                  </a:lnTo>
                  <a:lnTo>
                    <a:pt x="109" y="552"/>
                  </a:lnTo>
                  <a:lnTo>
                    <a:pt x="109" y="551"/>
                  </a:lnTo>
                  <a:lnTo>
                    <a:pt x="104" y="544"/>
                  </a:lnTo>
                  <a:lnTo>
                    <a:pt x="103" y="542"/>
                  </a:lnTo>
                  <a:lnTo>
                    <a:pt x="102" y="538"/>
                  </a:lnTo>
                  <a:lnTo>
                    <a:pt x="102" y="535"/>
                  </a:lnTo>
                  <a:lnTo>
                    <a:pt x="102" y="533"/>
                  </a:lnTo>
                  <a:lnTo>
                    <a:pt x="100" y="531"/>
                  </a:lnTo>
                  <a:lnTo>
                    <a:pt x="99" y="529"/>
                  </a:lnTo>
                  <a:lnTo>
                    <a:pt x="99" y="528"/>
                  </a:lnTo>
                  <a:lnTo>
                    <a:pt x="98" y="527"/>
                  </a:lnTo>
                  <a:lnTo>
                    <a:pt x="97" y="526"/>
                  </a:lnTo>
                  <a:lnTo>
                    <a:pt x="90" y="521"/>
                  </a:lnTo>
                  <a:lnTo>
                    <a:pt x="88" y="519"/>
                  </a:lnTo>
                  <a:lnTo>
                    <a:pt x="87" y="514"/>
                  </a:lnTo>
                  <a:lnTo>
                    <a:pt x="86" y="511"/>
                  </a:lnTo>
                  <a:lnTo>
                    <a:pt x="86" y="508"/>
                  </a:lnTo>
                  <a:lnTo>
                    <a:pt x="86" y="508"/>
                  </a:lnTo>
                  <a:lnTo>
                    <a:pt x="87" y="506"/>
                  </a:lnTo>
                  <a:lnTo>
                    <a:pt x="87" y="505"/>
                  </a:lnTo>
                  <a:lnTo>
                    <a:pt x="87" y="502"/>
                  </a:lnTo>
                  <a:lnTo>
                    <a:pt x="80" y="492"/>
                  </a:lnTo>
                  <a:lnTo>
                    <a:pt x="78" y="490"/>
                  </a:lnTo>
                  <a:lnTo>
                    <a:pt x="72" y="482"/>
                  </a:lnTo>
                  <a:lnTo>
                    <a:pt x="86" y="470"/>
                  </a:lnTo>
                  <a:lnTo>
                    <a:pt x="88" y="466"/>
                  </a:lnTo>
                  <a:lnTo>
                    <a:pt x="88" y="460"/>
                  </a:lnTo>
                  <a:lnTo>
                    <a:pt x="87" y="455"/>
                  </a:lnTo>
                  <a:lnTo>
                    <a:pt x="84" y="452"/>
                  </a:lnTo>
                  <a:lnTo>
                    <a:pt x="84" y="452"/>
                  </a:lnTo>
                  <a:lnTo>
                    <a:pt x="87" y="450"/>
                  </a:lnTo>
                  <a:lnTo>
                    <a:pt x="86" y="447"/>
                  </a:lnTo>
                  <a:lnTo>
                    <a:pt x="83" y="441"/>
                  </a:lnTo>
                  <a:lnTo>
                    <a:pt x="81" y="445"/>
                  </a:lnTo>
                  <a:lnTo>
                    <a:pt x="79" y="445"/>
                  </a:lnTo>
                  <a:lnTo>
                    <a:pt x="78" y="444"/>
                  </a:lnTo>
                  <a:lnTo>
                    <a:pt x="76" y="440"/>
                  </a:lnTo>
                  <a:lnTo>
                    <a:pt x="78" y="439"/>
                  </a:lnTo>
                  <a:lnTo>
                    <a:pt x="74" y="435"/>
                  </a:lnTo>
                  <a:lnTo>
                    <a:pt x="74" y="430"/>
                  </a:lnTo>
                  <a:lnTo>
                    <a:pt x="74" y="424"/>
                  </a:lnTo>
                  <a:lnTo>
                    <a:pt x="74" y="419"/>
                  </a:lnTo>
                  <a:lnTo>
                    <a:pt x="72" y="414"/>
                  </a:lnTo>
                  <a:lnTo>
                    <a:pt x="72" y="412"/>
                  </a:lnTo>
                  <a:lnTo>
                    <a:pt x="76" y="410"/>
                  </a:lnTo>
                  <a:lnTo>
                    <a:pt x="77" y="409"/>
                  </a:lnTo>
                  <a:lnTo>
                    <a:pt x="78" y="407"/>
                  </a:lnTo>
                  <a:lnTo>
                    <a:pt x="78" y="404"/>
                  </a:lnTo>
                  <a:lnTo>
                    <a:pt x="76" y="402"/>
                  </a:lnTo>
                  <a:lnTo>
                    <a:pt x="75" y="406"/>
                  </a:lnTo>
                  <a:lnTo>
                    <a:pt x="74" y="407"/>
                  </a:lnTo>
                  <a:lnTo>
                    <a:pt x="72" y="408"/>
                  </a:lnTo>
                  <a:lnTo>
                    <a:pt x="71" y="408"/>
                  </a:lnTo>
                  <a:lnTo>
                    <a:pt x="70" y="407"/>
                  </a:lnTo>
                  <a:lnTo>
                    <a:pt x="70" y="406"/>
                  </a:lnTo>
                  <a:lnTo>
                    <a:pt x="69" y="404"/>
                  </a:lnTo>
                  <a:lnTo>
                    <a:pt x="67" y="402"/>
                  </a:lnTo>
                  <a:lnTo>
                    <a:pt x="66" y="400"/>
                  </a:lnTo>
                  <a:lnTo>
                    <a:pt x="65" y="399"/>
                  </a:lnTo>
                  <a:lnTo>
                    <a:pt x="65" y="396"/>
                  </a:lnTo>
                  <a:lnTo>
                    <a:pt x="64" y="394"/>
                  </a:lnTo>
                  <a:lnTo>
                    <a:pt x="63" y="393"/>
                  </a:lnTo>
                  <a:lnTo>
                    <a:pt x="61" y="391"/>
                  </a:lnTo>
                  <a:lnTo>
                    <a:pt x="56" y="384"/>
                  </a:lnTo>
                  <a:lnTo>
                    <a:pt x="51" y="373"/>
                  </a:lnTo>
                  <a:lnTo>
                    <a:pt x="48" y="358"/>
                  </a:lnTo>
                  <a:lnTo>
                    <a:pt x="48" y="354"/>
                  </a:lnTo>
                  <a:lnTo>
                    <a:pt x="52" y="353"/>
                  </a:lnTo>
                  <a:lnTo>
                    <a:pt x="56" y="358"/>
                  </a:lnTo>
                  <a:lnTo>
                    <a:pt x="60" y="358"/>
                  </a:lnTo>
                  <a:lnTo>
                    <a:pt x="61" y="354"/>
                  </a:lnTo>
                  <a:lnTo>
                    <a:pt x="61" y="351"/>
                  </a:lnTo>
                  <a:lnTo>
                    <a:pt x="61" y="349"/>
                  </a:lnTo>
                  <a:lnTo>
                    <a:pt x="64" y="346"/>
                  </a:lnTo>
                  <a:lnTo>
                    <a:pt x="64" y="346"/>
                  </a:lnTo>
                  <a:lnTo>
                    <a:pt x="65" y="342"/>
                  </a:lnTo>
                  <a:lnTo>
                    <a:pt x="67" y="335"/>
                  </a:lnTo>
                  <a:lnTo>
                    <a:pt x="67" y="331"/>
                  </a:lnTo>
                  <a:lnTo>
                    <a:pt x="66" y="331"/>
                  </a:lnTo>
                  <a:lnTo>
                    <a:pt x="64" y="338"/>
                  </a:lnTo>
                  <a:lnTo>
                    <a:pt x="63" y="335"/>
                  </a:lnTo>
                  <a:lnTo>
                    <a:pt x="63" y="333"/>
                  </a:lnTo>
                  <a:lnTo>
                    <a:pt x="64" y="331"/>
                  </a:lnTo>
                  <a:lnTo>
                    <a:pt x="64" y="328"/>
                  </a:lnTo>
                  <a:lnTo>
                    <a:pt x="64" y="321"/>
                  </a:lnTo>
                  <a:lnTo>
                    <a:pt x="66" y="315"/>
                  </a:lnTo>
                  <a:lnTo>
                    <a:pt x="71" y="309"/>
                  </a:lnTo>
                  <a:lnTo>
                    <a:pt x="73" y="301"/>
                  </a:lnTo>
                  <a:lnTo>
                    <a:pt x="74" y="300"/>
                  </a:lnTo>
                  <a:lnTo>
                    <a:pt x="76" y="299"/>
                  </a:lnTo>
                  <a:lnTo>
                    <a:pt x="78" y="296"/>
                  </a:lnTo>
                  <a:lnTo>
                    <a:pt x="79" y="292"/>
                  </a:lnTo>
                  <a:lnTo>
                    <a:pt x="83" y="289"/>
                  </a:lnTo>
                  <a:lnTo>
                    <a:pt x="83" y="288"/>
                  </a:lnTo>
                  <a:lnTo>
                    <a:pt x="83" y="285"/>
                  </a:lnTo>
                  <a:lnTo>
                    <a:pt x="82" y="284"/>
                  </a:lnTo>
                  <a:lnTo>
                    <a:pt x="80" y="282"/>
                  </a:lnTo>
                  <a:lnTo>
                    <a:pt x="79" y="283"/>
                  </a:lnTo>
                  <a:lnTo>
                    <a:pt x="78" y="285"/>
                  </a:lnTo>
                  <a:lnTo>
                    <a:pt x="76" y="290"/>
                  </a:lnTo>
                  <a:lnTo>
                    <a:pt x="75" y="292"/>
                  </a:lnTo>
                  <a:lnTo>
                    <a:pt x="71" y="292"/>
                  </a:lnTo>
                  <a:lnTo>
                    <a:pt x="71" y="287"/>
                  </a:lnTo>
                  <a:lnTo>
                    <a:pt x="72" y="279"/>
                  </a:lnTo>
                  <a:lnTo>
                    <a:pt x="71" y="270"/>
                  </a:lnTo>
                  <a:lnTo>
                    <a:pt x="72" y="259"/>
                  </a:lnTo>
                  <a:lnTo>
                    <a:pt x="71" y="254"/>
                  </a:lnTo>
                  <a:lnTo>
                    <a:pt x="71" y="252"/>
                  </a:lnTo>
                  <a:lnTo>
                    <a:pt x="65" y="246"/>
                  </a:lnTo>
                  <a:lnTo>
                    <a:pt x="61" y="236"/>
                  </a:lnTo>
                  <a:lnTo>
                    <a:pt x="58" y="230"/>
                  </a:lnTo>
                  <a:lnTo>
                    <a:pt x="56" y="227"/>
                  </a:lnTo>
                  <a:lnTo>
                    <a:pt x="57" y="225"/>
                  </a:lnTo>
                  <a:lnTo>
                    <a:pt x="62" y="221"/>
                  </a:lnTo>
                  <a:lnTo>
                    <a:pt x="62" y="219"/>
                  </a:lnTo>
                  <a:lnTo>
                    <a:pt x="53" y="210"/>
                  </a:lnTo>
                  <a:lnTo>
                    <a:pt x="50" y="208"/>
                  </a:lnTo>
                  <a:lnTo>
                    <a:pt x="49" y="209"/>
                  </a:lnTo>
                  <a:lnTo>
                    <a:pt x="49" y="209"/>
                  </a:lnTo>
                  <a:lnTo>
                    <a:pt x="52" y="213"/>
                  </a:lnTo>
                  <a:lnTo>
                    <a:pt x="53" y="215"/>
                  </a:lnTo>
                  <a:lnTo>
                    <a:pt x="54" y="216"/>
                  </a:lnTo>
                  <a:lnTo>
                    <a:pt x="55" y="220"/>
                  </a:lnTo>
                  <a:lnTo>
                    <a:pt x="56" y="222"/>
                  </a:lnTo>
                  <a:lnTo>
                    <a:pt x="55" y="224"/>
                  </a:lnTo>
                  <a:lnTo>
                    <a:pt x="52" y="218"/>
                  </a:lnTo>
                  <a:lnTo>
                    <a:pt x="48" y="210"/>
                  </a:lnTo>
                  <a:lnTo>
                    <a:pt x="42" y="206"/>
                  </a:lnTo>
                  <a:lnTo>
                    <a:pt x="34" y="190"/>
                  </a:lnTo>
                  <a:lnTo>
                    <a:pt x="34" y="187"/>
                  </a:lnTo>
                  <a:lnTo>
                    <a:pt x="39" y="190"/>
                  </a:lnTo>
                  <a:lnTo>
                    <a:pt x="44" y="202"/>
                  </a:lnTo>
                  <a:lnTo>
                    <a:pt x="48" y="203"/>
                  </a:lnTo>
                  <a:lnTo>
                    <a:pt x="49" y="204"/>
                  </a:lnTo>
                  <a:lnTo>
                    <a:pt x="51" y="204"/>
                  </a:lnTo>
                  <a:lnTo>
                    <a:pt x="52" y="202"/>
                  </a:lnTo>
                  <a:lnTo>
                    <a:pt x="53" y="201"/>
                  </a:lnTo>
                  <a:lnTo>
                    <a:pt x="51" y="199"/>
                  </a:lnTo>
                  <a:lnTo>
                    <a:pt x="49" y="193"/>
                  </a:lnTo>
                  <a:lnTo>
                    <a:pt x="46" y="192"/>
                  </a:lnTo>
                  <a:lnTo>
                    <a:pt x="44" y="190"/>
                  </a:lnTo>
                  <a:lnTo>
                    <a:pt x="43" y="188"/>
                  </a:lnTo>
                  <a:lnTo>
                    <a:pt x="42" y="186"/>
                  </a:lnTo>
                  <a:lnTo>
                    <a:pt x="41" y="183"/>
                  </a:lnTo>
                  <a:lnTo>
                    <a:pt x="38" y="182"/>
                  </a:lnTo>
                  <a:lnTo>
                    <a:pt x="34" y="181"/>
                  </a:lnTo>
                  <a:lnTo>
                    <a:pt x="32" y="179"/>
                  </a:lnTo>
                  <a:lnTo>
                    <a:pt x="28" y="180"/>
                  </a:lnTo>
                  <a:lnTo>
                    <a:pt x="26" y="178"/>
                  </a:lnTo>
                  <a:lnTo>
                    <a:pt x="22" y="170"/>
                  </a:lnTo>
                  <a:lnTo>
                    <a:pt x="24" y="168"/>
                  </a:lnTo>
                  <a:lnTo>
                    <a:pt x="26" y="165"/>
                  </a:lnTo>
                  <a:lnTo>
                    <a:pt x="26" y="163"/>
                  </a:lnTo>
                  <a:lnTo>
                    <a:pt x="26" y="160"/>
                  </a:lnTo>
                  <a:lnTo>
                    <a:pt x="26" y="155"/>
                  </a:lnTo>
                  <a:lnTo>
                    <a:pt x="26" y="152"/>
                  </a:lnTo>
                  <a:lnTo>
                    <a:pt x="26" y="149"/>
                  </a:lnTo>
                  <a:lnTo>
                    <a:pt x="23" y="149"/>
                  </a:lnTo>
                  <a:lnTo>
                    <a:pt x="22" y="151"/>
                  </a:lnTo>
                  <a:lnTo>
                    <a:pt x="19" y="148"/>
                  </a:lnTo>
                  <a:lnTo>
                    <a:pt x="17" y="144"/>
                  </a:lnTo>
                  <a:lnTo>
                    <a:pt x="14" y="138"/>
                  </a:lnTo>
                  <a:lnTo>
                    <a:pt x="11" y="134"/>
                  </a:lnTo>
                  <a:lnTo>
                    <a:pt x="10" y="130"/>
                  </a:lnTo>
                  <a:lnTo>
                    <a:pt x="7" y="127"/>
                  </a:lnTo>
                  <a:lnTo>
                    <a:pt x="7" y="125"/>
                  </a:lnTo>
                  <a:lnTo>
                    <a:pt x="5" y="121"/>
                  </a:lnTo>
                  <a:lnTo>
                    <a:pt x="5" y="119"/>
                  </a:lnTo>
                  <a:lnTo>
                    <a:pt x="4" y="114"/>
                  </a:lnTo>
                  <a:lnTo>
                    <a:pt x="2" y="109"/>
                  </a:lnTo>
                  <a:lnTo>
                    <a:pt x="0" y="103"/>
                  </a:lnTo>
                  <a:lnTo>
                    <a:pt x="0" y="101"/>
                  </a:lnTo>
                  <a:lnTo>
                    <a:pt x="4" y="100"/>
                  </a:lnTo>
                  <a:lnTo>
                    <a:pt x="26" y="98"/>
                  </a:lnTo>
                  <a:lnTo>
                    <a:pt x="37" y="95"/>
                  </a:lnTo>
                  <a:lnTo>
                    <a:pt x="42" y="94"/>
                  </a:lnTo>
                  <a:lnTo>
                    <a:pt x="47" y="96"/>
                  </a:lnTo>
                  <a:lnTo>
                    <a:pt x="50" y="100"/>
                  </a:lnTo>
                  <a:lnTo>
                    <a:pt x="57" y="110"/>
                  </a:lnTo>
                  <a:lnTo>
                    <a:pt x="59" y="113"/>
                  </a:lnTo>
                  <a:lnTo>
                    <a:pt x="72" y="125"/>
                  </a:lnTo>
                  <a:lnTo>
                    <a:pt x="86" y="140"/>
                  </a:lnTo>
                  <a:lnTo>
                    <a:pt x="90" y="144"/>
                  </a:lnTo>
                  <a:lnTo>
                    <a:pt x="94" y="147"/>
                  </a:lnTo>
                  <a:lnTo>
                    <a:pt x="99" y="148"/>
                  </a:lnTo>
                  <a:lnTo>
                    <a:pt x="106" y="148"/>
                  </a:lnTo>
                  <a:lnTo>
                    <a:pt x="124" y="144"/>
                  </a:lnTo>
                  <a:lnTo>
                    <a:pt x="129" y="144"/>
                  </a:lnTo>
                  <a:lnTo>
                    <a:pt x="132" y="146"/>
                  </a:lnTo>
                  <a:lnTo>
                    <a:pt x="133" y="149"/>
                  </a:lnTo>
                  <a:lnTo>
                    <a:pt x="134" y="153"/>
                  </a:lnTo>
                  <a:lnTo>
                    <a:pt x="135" y="160"/>
                  </a:lnTo>
                  <a:lnTo>
                    <a:pt x="137" y="163"/>
                  </a:lnTo>
                  <a:lnTo>
                    <a:pt x="140" y="164"/>
                  </a:lnTo>
                  <a:lnTo>
                    <a:pt x="154" y="162"/>
                  </a:lnTo>
                  <a:lnTo>
                    <a:pt x="189" y="151"/>
                  </a:lnTo>
                  <a:lnTo>
                    <a:pt x="205" y="149"/>
                  </a:lnTo>
                  <a:lnTo>
                    <a:pt x="208" y="149"/>
                  </a:lnTo>
                  <a:lnTo>
                    <a:pt x="212" y="150"/>
                  </a:lnTo>
                  <a:lnTo>
                    <a:pt x="215" y="153"/>
                  </a:lnTo>
                  <a:lnTo>
                    <a:pt x="217" y="156"/>
                  </a:lnTo>
                  <a:lnTo>
                    <a:pt x="218" y="160"/>
                  </a:lnTo>
                  <a:lnTo>
                    <a:pt x="219" y="163"/>
                  </a:lnTo>
                  <a:lnTo>
                    <a:pt x="219" y="169"/>
                  </a:lnTo>
                  <a:lnTo>
                    <a:pt x="217" y="178"/>
                  </a:lnTo>
                  <a:lnTo>
                    <a:pt x="217" y="180"/>
                  </a:lnTo>
                  <a:lnTo>
                    <a:pt x="207" y="202"/>
                  </a:lnTo>
                  <a:lnTo>
                    <a:pt x="207" y="206"/>
                  </a:lnTo>
                  <a:lnTo>
                    <a:pt x="207" y="209"/>
                  </a:lnTo>
                  <a:lnTo>
                    <a:pt x="209" y="213"/>
                  </a:lnTo>
                  <a:lnTo>
                    <a:pt x="213" y="214"/>
                  </a:lnTo>
                  <a:lnTo>
                    <a:pt x="224" y="217"/>
                  </a:lnTo>
                  <a:lnTo>
                    <a:pt x="229" y="220"/>
                  </a:lnTo>
                  <a:lnTo>
                    <a:pt x="232" y="222"/>
                  </a:lnTo>
                  <a:lnTo>
                    <a:pt x="235" y="225"/>
                  </a:lnTo>
                  <a:lnTo>
                    <a:pt x="237" y="229"/>
                  </a:lnTo>
                  <a:lnTo>
                    <a:pt x="239" y="232"/>
                  </a:lnTo>
                  <a:lnTo>
                    <a:pt x="240" y="236"/>
                  </a:lnTo>
                  <a:lnTo>
                    <a:pt x="240" y="240"/>
                  </a:lnTo>
                  <a:lnTo>
                    <a:pt x="239" y="248"/>
                  </a:lnTo>
                  <a:lnTo>
                    <a:pt x="237" y="255"/>
                  </a:lnTo>
                  <a:lnTo>
                    <a:pt x="237" y="259"/>
                  </a:lnTo>
                  <a:lnTo>
                    <a:pt x="238" y="262"/>
                  </a:lnTo>
                  <a:lnTo>
                    <a:pt x="240" y="266"/>
                  </a:lnTo>
                  <a:lnTo>
                    <a:pt x="244" y="268"/>
                  </a:lnTo>
                  <a:lnTo>
                    <a:pt x="244" y="268"/>
                  </a:lnTo>
                  <a:lnTo>
                    <a:pt x="255" y="270"/>
                  </a:lnTo>
                  <a:lnTo>
                    <a:pt x="259" y="270"/>
                  </a:lnTo>
                  <a:lnTo>
                    <a:pt x="262" y="270"/>
                  </a:lnTo>
                  <a:lnTo>
                    <a:pt x="267" y="268"/>
                  </a:lnTo>
                  <a:lnTo>
                    <a:pt x="271" y="266"/>
                  </a:lnTo>
                  <a:lnTo>
                    <a:pt x="288" y="251"/>
                  </a:lnTo>
                  <a:lnTo>
                    <a:pt x="295" y="247"/>
                  </a:lnTo>
                  <a:lnTo>
                    <a:pt x="300" y="246"/>
                  </a:lnTo>
                  <a:lnTo>
                    <a:pt x="304" y="247"/>
                  </a:lnTo>
                  <a:lnTo>
                    <a:pt x="330" y="254"/>
                  </a:lnTo>
                  <a:lnTo>
                    <a:pt x="334" y="254"/>
                  </a:lnTo>
                  <a:lnTo>
                    <a:pt x="337" y="252"/>
                  </a:lnTo>
                  <a:lnTo>
                    <a:pt x="342" y="247"/>
                  </a:lnTo>
                  <a:lnTo>
                    <a:pt x="354" y="229"/>
                  </a:lnTo>
                  <a:lnTo>
                    <a:pt x="360" y="221"/>
                  </a:lnTo>
                  <a:lnTo>
                    <a:pt x="408" y="183"/>
                  </a:lnTo>
                  <a:lnTo>
                    <a:pt x="432" y="160"/>
                  </a:lnTo>
                  <a:lnTo>
                    <a:pt x="437" y="155"/>
                  </a:lnTo>
                  <a:lnTo>
                    <a:pt x="441" y="153"/>
                  </a:lnTo>
                  <a:lnTo>
                    <a:pt x="461" y="146"/>
                  </a:lnTo>
                  <a:lnTo>
                    <a:pt x="464" y="143"/>
                  </a:lnTo>
                  <a:lnTo>
                    <a:pt x="468" y="140"/>
                  </a:lnTo>
                  <a:lnTo>
                    <a:pt x="470" y="134"/>
                  </a:lnTo>
                  <a:lnTo>
                    <a:pt x="469" y="131"/>
                  </a:lnTo>
                  <a:lnTo>
                    <a:pt x="466" y="128"/>
                  </a:lnTo>
                  <a:lnTo>
                    <a:pt x="448" y="117"/>
                  </a:lnTo>
                  <a:lnTo>
                    <a:pt x="444" y="115"/>
                  </a:lnTo>
                  <a:lnTo>
                    <a:pt x="441" y="112"/>
                  </a:lnTo>
                  <a:lnTo>
                    <a:pt x="440" y="108"/>
                  </a:lnTo>
                  <a:lnTo>
                    <a:pt x="441" y="103"/>
                  </a:lnTo>
                  <a:lnTo>
                    <a:pt x="447" y="98"/>
                  </a:lnTo>
                  <a:lnTo>
                    <a:pt x="454" y="93"/>
                  </a:lnTo>
                  <a:lnTo>
                    <a:pt x="476" y="80"/>
                  </a:lnTo>
                  <a:lnTo>
                    <a:pt x="506" y="67"/>
                  </a:lnTo>
                  <a:lnTo>
                    <a:pt x="509" y="64"/>
                  </a:lnTo>
                  <a:lnTo>
                    <a:pt x="514" y="60"/>
                  </a:lnTo>
                  <a:lnTo>
                    <a:pt x="518" y="53"/>
                  </a:lnTo>
                  <a:lnTo>
                    <a:pt x="521" y="49"/>
                  </a:lnTo>
                  <a:lnTo>
                    <a:pt x="522" y="43"/>
                  </a:lnTo>
                  <a:lnTo>
                    <a:pt x="522" y="35"/>
                  </a:lnTo>
                  <a:lnTo>
                    <a:pt x="522" y="32"/>
                  </a:lnTo>
                  <a:lnTo>
                    <a:pt x="521" y="27"/>
                  </a:lnTo>
                  <a:lnTo>
                    <a:pt x="516" y="16"/>
                  </a:lnTo>
                  <a:lnTo>
                    <a:pt x="516" y="11"/>
                  </a:lnTo>
                  <a:lnTo>
                    <a:pt x="517" y="8"/>
                  </a:lnTo>
                  <a:lnTo>
                    <a:pt x="519" y="4"/>
                  </a:lnTo>
                  <a:lnTo>
                    <a:pt x="523" y="3"/>
                  </a:lnTo>
                  <a:lnTo>
                    <a:pt x="526" y="1"/>
                  </a:lnTo>
                  <a:lnTo>
                    <a:pt x="537" y="0"/>
                  </a:lnTo>
                  <a:lnTo>
                    <a:pt x="559" y="3"/>
                  </a:lnTo>
                  <a:lnTo>
                    <a:pt x="559" y="3"/>
                  </a:lnTo>
                  <a:close/>
                </a:path>
              </a:pathLst>
            </a:custGeom>
            <a:solidFill>
              <a:srgbClr val="5EAD8E"/>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srgbClr val="000000"/>
                </a:solidFill>
                <a:latin typeface="Arial"/>
                <a:cs typeface="+mn-cs"/>
              </a:endParaRPr>
            </a:p>
          </p:txBody>
        </p:sp>
      </p:grpSp>
      <p:sp>
        <p:nvSpPr>
          <p:cNvPr id="230" name="Oval 229">
            <a:extLst>
              <a:ext uri="{FF2B5EF4-FFF2-40B4-BE49-F238E27FC236}"/>
            </a:extLst>
          </p:cNvPr>
          <p:cNvSpPr/>
          <p:nvPr/>
        </p:nvSpPr>
        <p:spPr>
          <a:xfrm>
            <a:off x="2805113" y="4327525"/>
            <a:ext cx="111125" cy="112713"/>
          </a:xfrm>
          <a:prstGeom prst="ellipse">
            <a:avLst/>
          </a:prstGeom>
          <a:solidFill>
            <a:srgbClr val="9B1717"/>
          </a:solidFill>
          <a:ln w="6350" cap="flat">
            <a:noFill/>
            <a:miter lim="800000"/>
          </a:ln>
          <a:effectLst>
            <a:outerShdw blurRad="50800" dist="38100" dir="2700015"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231" name="TextBox 230">
            <a:extLst>
              <a:ext uri="{FF2B5EF4-FFF2-40B4-BE49-F238E27FC236}"/>
            </a:extLst>
          </p:cNvPr>
          <p:cNvSpPr txBox="1"/>
          <p:nvPr/>
        </p:nvSpPr>
        <p:spPr>
          <a:xfrm>
            <a:off x="1884363" y="4881563"/>
            <a:ext cx="555625" cy="112712"/>
          </a:xfrm>
          <a:prstGeom prst="rect">
            <a:avLst/>
          </a:prstGeom>
          <a:noFill/>
          <a:ln w="6350" cap="flat">
            <a:noFill/>
            <a:miter lim="800000"/>
          </a:ln>
          <a:effectLst>
            <a:outerShdw blurRad="50800" dist="38100" dir="2700015" rotWithShape="0">
              <a:schemeClr val="tx1">
                <a:alpha val="40000"/>
              </a:schemeClr>
            </a:outerShdw>
          </a:effectLst>
          <a:extLst>
            <a:ext uri="{909E8E84-426E-40DD-AFC4-6F175D3DCCD1}">
              <a14:hiddenFill xmlns:a14="http://schemas.microsoft.com/office/drawing/2010/main">
                <a:solidFill>
                  <a:srgbClr val="A5FFFF"/>
                </a:solidFill>
              </a14:hiddenFill>
            </a:ext>
          </a:extLst>
        </p:spPr>
        <p:txBody>
          <a:bodyPr lIns="0" tIns="0" rIns="0" bIns="0">
            <a:spAutoFit/>
          </a:bodyPr>
          <a:lstStyle/>
          <a:p>
            <a:pPr eaLnBrk="1" fontAlgn="auto" hangingPunct="1">
              <a:lnSpc>
                <a:spcPct val="90000"/>
              </a:lnSpc>
              <a:buClr>
                <a:srgbClr val="048962"/>
              </a:buClr>
              <a:defRPr/>
            </a:pPr>
            <a:r>
              <a:rPr lang="en-US" sz="1000" b="1" dirty="0">
                <a:solidFill>
                  <a:srgbClr val="FFFFFF"/>
                </a:solidFill>
                <a:latin typeface="Arial" panose="020B0604020202020204" pitchFamily="34" charset="0"/>
              </a:rPr>
              <a:t>Western</a:t>
            </a:r>
          </a:p>
        </p:txBody>
      </p:sp>
      <p:sp>
        <p:nvSpPr>
          <p:cNvPr id="232" name="Oval 231">
            <a:extLst>
              <a:ext uri="{FF2B5EF4-FFF2-40B4-BE49-F238E27FC236}"/>
            </a:extLst>
          </p:cNvPr>
          <p:cNvSpPr/>
          <p:nvPr/>
        </p:nvSpPr>
        <p:spPr>
          <a:xfrm>
            <a:off x="2455863" y="4430713"/>
            <a:ext cx="111125" cy="112712"/>
          </a:xfrm>
          <a:prstGeom prst="ellipse">
            <a:avLst/>
          </a:prstGeom>
          <a:solidFill>
            <a:srgbClr val="9B1717"/>
          </a:solidFill>
          <a:ln w="6350" cap="flat">
            <a:noFill/>
            <a:miter lim="800000"/>
          </a:ln>
          <a:effectLst>
            <a:outerShdw blurRad="50800" dist="38100" dir="2700015"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234" name="Oval 233">
            <a:extLst>
              <a:ext uri="{FF2B5EF4-FFF2-40B4-BE49-F238E27FC236}"/>
            </a:extLst>
          </p:cNvPr>
          <p:cNvSpPr/>
          <p:nvPr/>
        </p:nvSpPr>
        <p:spPr>
          <a:xfrm>
            <a:off x="1730375" y="4838700"/>
            <a:ext cx="111125" cy="111125"/>
          </a:xfrm>
          <a:prstGeom prst="ellipse">
            <a:avLst/>
          </a:prstGeom>
          <a:solidFill>
            <a:srgbClr val="9B1717"/>
          </a:solidFill>
          <a:ln w="6350" cap="flat">
            <a:noFill/>
            <a:miter lim="800000"/>
          </a:ln>
          <a:effectLst>
            <a:outerShdw blurRad="50800" dist="38100" dir="2700015"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236" name="TextBox 235">
            <a:extLst>
              <a:ext uri="{FF2B5EF4-FFF2-40B4-BE49-F238E27FC236}"/>
            </a:extLst>
          </p:cNvPr>
          <p:cNvSpPr txBox="1"/>
          <p:nvPr/>
        </p:nvSpPr>
        <p:spPr>
          <a:xfrm>
            <a:off x="2157413" y="4733925"/>
            <a:ext cx="504825" cy="112713"/>
          </a:xfrm>
          <a:prstGeom prst="rect">
            <a:avLst/>
          </a:prstGeom>
          <a:noFill/>
          <a:ln w="6350" cap="flat">
            <a:noFill/>
            <a:miter lim="800000"/>
          </a:ln>
          <a:effectLst>
            <a:outerShdw blurRad="50800" dist="38100" dir="2700015" rotWithShape="0">
              <a:schemeClr val="tx1">
                <a:alpha val="40000"/>
              </a:schemeClr>
            </a:outerShdw>
          </a:effectLst>
          <a:extLst>
            <a:ext uri="{909E8E84-426E-40DD-AFC4-6F175D3DCCD1}">
              <a14:hiddenFill xmlns:a14="http://schemas.microsoft.com/office/drawing/2010/main">
                <a:solidFill>
                  <a:srgbClr val="A5FFFF"/>
                </a:solidFill>
              </a14:hiddenFill>
            </a:ext>
          </a:extLst>
        </p:spPr>
        <p:txBody>
          <a:bodyPr lIns="0" tIns="0" rIns="0" bIns="0">
            <a:spAutoFit/>
          </a:bodyPr>
          <a:lstStyle/>
          <a:p>
            <a:pPr algn="ctr" eaLnBrk="1" fontAlgn="auto" hangingPunct="1">
              <a:lnSpc>
                <a:spcPct val="90000"/>
              </a:lnSpc>
              <a:buClr>
                <a:srgbClr val="048962"/>
              </a:buClr>
              <a:defRPr/>
            </a:pPr>
            <a:r>
              <a:rPr lang="en-US" sz="1000" b="1" dirty="0">
                <a:solidFill>
                  <a:srgbClr val="FFFFFF"/>
                </a:solidFill>
                <a:latin typeface="Arial" panose="020B0604020202020204" pitchFamily="34" charset="0"/>
              </a:rPr>
              <a:t>Central</a:t>
            </a:r>
          </a:p>
        </p:txBody>
      </p:sp>
      <p:sp>
        <p:nvSpPr>
          <p:cNvPr id="237" name="TextBox 236">
            <a:extLst>
              <a:ext uri="{FF2B5EF4-FFF2-40B4-BE49-F238E27FC236}"/>
            </a:extLst>
          </p:cNvPr>
          <p:cNvSpPr txBox="1"/>
          <p:nvPr/>
        </p:nvSpPr>
        <p:spPr>
          <a:xfrm>
            <a:off x="2743200" y="4808538"/>
            <a:ext cx="528638" cy="112712"/>
          </a:xfrm>
          <a:prstGeom prst="rect">
            <a:avLst/>
          </a:prstGeom>
          <a:noFill/>
          <a:ln w="6350" cap="flat">
            <a:noFill/>
            <a:miter lim="800000"/>
          </a:ln>
          <a:effectLst>
            <a:outerShdw blurRad="50800" dist="38100" dir="2700015" rotWithShape="0">
              <a:schemeClr val="tx1">
                <a:alpha val="40000"/>
              </a:schemeClr>
            </a:outerShdw>
          </a:effectLst>
          <a:extLst>
            <a:ext uri="{909E8E84-426E-40DD-AFC4-6F175D3DCCD1}">
              <a14:hiddenFill xmlns:a14="http://schemas.microsoft.com/office/drawing/2010/main">
                <a:solidFill>
                  <a:srgbClr val="A5FFFF"/>
                </a:solidFill>
              </a14:hiddenFill>
            </a:ext>
          </a:extLst>
        </p:spPr>
        <p:txBody>
          <a:bodyPr lIns="0" tIns="0" rIns="0" bIns="0">
            <a:spAutoFit/>
          </a:bodyPr>
          <a:lstStyle/>
          <a:p>
            <a:pPr algn="ctr" eaLnBrk="1" fontAlgn="auto" hangingPunct="1">
              <a:lnSpc>
                <a:spcPct val="90000"/>
              </a:lnSpc>
              <a:buClr>
                <a:srgbClr val="048962"/>
              </a:buClr>
              <a:defRPr/>
            </a:pPr>
            <a:r>
              <a:rPr lang="en-US" sz="1000" b="1" dirty="0">
                <a:solidFill>
                  <a:srgbClr val="FFFFFF"/>
                </a:solidFill>
                <a:latin typeface="Arial" panose="020B0604020202020204" pitchFamily="34" charset="0"/>
              </a:rPr>
              <a:t>Eastern</a:t>
            </a:r>
          </a:p>
        </p:txBody>
      </p:sp>
      <p:sp>
        <p:nvSpPr>
          <p:cNvPr id="238" name="Oval 237">
            <a:extLst>
              <a:ext uri="{FF2B5EF4-FFF2-40B4-BE49-F238E27FC236}"/>
            </a:extLst>
          </p:cNvPr>
          <p:cNvSpPr/>
          <p:nvPr/>
        </p:nvSpPr>
        <p:spPr>
          <a:xfrm>
            <a:off x="2320925" y="4430713"/>
            <a:ext cx="112713" cy="112712"/>
          </a:xfrm>
          <a:prstGeom prst="ellipse">
            <a:avLst/>
          </a:prstGeom>
          <a:solidFill>
            <a:srgbClr val="9B1717"/>
          </a:solidFill>
          <a:ln w="6350" cap="flat">
            <a:noFill/>
            <a:miter lim="800000"/>
          </a:ln>
          <a:effectLst>
            <a:outerShdw blurRad="50800" dist="38100" dir="2700015"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11" name="Oval 10">
            <a:extLst>
              <a:ext uri="{FF2B5EF4-FFF2-40B4-BE49-F238E27FC236}"/>
            </a:extLst>
          </p:cNvPr>
          <p:cNvSpPr/>
          <p:nvPr/>
        </p:nvSpPr>
        <p:spPr>
          <a:xfrm>
            <a:off x="323850" y="2120900"/>
            <a:ext cx="279400" cy="279400"/>
          </a:xfrm>
          <a:prstGeom prst="ellipse">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1600" b="1" dirty="0">
                <a:solidFill>
                  <a:srgbClr val="048962"/>
                </a:solidFill>
                <a:latin typeface="Arial" panose="020B0604020202020204" pitchFamily="34" charset="0"/>
                <a:cs typeface="Arial" pitchFamily="34" charset="0"/>
              </a:rPr>
              <a:t>2a</a:t>
            </a:r>
          </a:p>
        </p:txBody>
      </p:sp>
      <p:sp>
        <p:nvSpPr>
          <p:cNvPr id="15" name="Oval 14">
            <a:extLst>
              <a:ext uri="{FF2B5EF4-FFF2-40B4-BE49-F238E27FC236}"/>
            </a:extLst>
          </p:cNvPr>
          <p:cNvSpPr/>
          <p:nvPr/>
        </p:nvSpPr>
        <p:spPr>
          <a:xfrm>
            <a:off x="4760913" y="2120900"/>
            <a:ext cx="279400" cy="279400"/>
          </a:xfrm>
          <a:prstGeom prst="ellipse">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1600" b="1" dirty="0">
                <a:solidFill>
                  <a:srgbClr val="048962"/>
                </a:solidFill>
                <a:latin typeface="Arial" panose="020B0604020202020204" pitchFamily="34" charset="0"/>
                <a:cs typeface="Arial" pitchFamily="34" charset="0"/>
              </a:rPr>
              <a:t>2b</a:t>
            </a:r>
          </a:p>
        </p:txBody>
      </p:sp>
      <p:grpSp>
        <p:nvGrpSpPr>
          <p:cNvPr id="75806" name="Group 3"/>
          <p:cNvGrpSpPr>
            <a:grpSpLocks/>
          </p:cNvGrpSpPr>
          <p:nvPr/>
        </p:nvGrpSpPr>
        <p:grpSpPr bwMode="auto">
          <a:xfrm>
            <a:off x="3163888" y="4041775"/>
            <a:ext cx="182562" cy="182563"/>
            <a:chOff x="3080961" y="5085184"/>
            <a:chExt cx="182880" cy="182880"/>
          </a:xfrm>
        </p:grpSpPr>
        <p:sp>
          <p:nvSpPr>
            <p:cNvPr id="207" name="Oval 91">
              <a:extLst>
                <a:ext uri="{FF2B5EF4-FFF2-40B4-BE49-F238E27FC236}"/>
              </a:extLst>
            </p:cNvPr>
            <p:cNvSpPr>
              <a:spLocks noChangeArrowheads="1"/>
            </p:cNvSpPr>
            <p:nvPr/>
          </p:nvSpPr>
          <p:spPr bwMode="gray">
            <a:xfrm>
              <a:off x="3080961" y="5085184"/>
              <a:ext cx="182880" cy="182880"/>
            </a:xfrm>
            <a:prstGeom prst="ellipse">
              <a:avLst/>
            </a:prstGeom>
            <a:solidFill>
              <a:schemeClr val="bg1"/>
            </a:solidFill>
            <a:ln w="19050">
              <a:solidFill>
                <a:srgbClr val="04704C"/>
              </a:solidFill>
              <a:round/>
              <a:headEnd/>
              <a:tailEnd/>
            </a:ln>
          </p:spPr>
          <p:txBody>
            <a:bodyPr wrap="none" anchor="ctr"/>
            <a:lstStyle/>
            <a:p>
              <a:pPr eaLnBrk="1" fontAlgn="auto" hangingPunct="1">
                <a:lnSpc>
                  <a:spcPct val="90000"/>
                </a:lnSpc>
                <a:spcBef>
                  <a:spcPts val="0"/>
                </a:spcBef>
                <a:spcAft>
                  <a:spcPts val="0"/>
                </a:spcAft>
                <a:defRPr/>
              </a:pPr>
              <a:endParaRPr lang="en-US" noProof="1">
                <a:solidFill>
                  <a:srgbClr val="000000"/>
                </a:solidFill>
                <a:latin typeface="Arial"/>
                <a:cs typeface="+mn-cs"/>
              </a:endParaRPr>
            </a:p>
          </p:txBody>
        </p:sp>
        <p:pic>
          <p:nvPicPr>
            <p:cNvPr id="208" name="Picture 51" descr="Image result for city icons">
              <a:extLst>
                <a:ext uri="{FF2B5EF4-FFF2-40B4-BE49-F238E27FC236}"/>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04832" y="5085184"/>
              <a:ext cx="148343" cy="148343"/>
            </a:xfrm>
            <a:prstGeom prst="rect">
              <a:avLst/>
            </a:prstGeom>
            <a:noFill/>
            <a:extLst>
              <a:ext uri="{909E8E84-426E-40DD-AFC4-6F175D3DCCD1}">
                <a14:hiddenFill xmlns:a14="http://schemas.microsoft.com/office/drawing/2010/main">
                  <a:solidFill>
                    <a:srgbClr val="FFFFFF"/>
                  </a:solidFill>
                </a14:hiddenFill>
              </a:ext>
            </a:extLst>
          </p:spPr>
        </p:pic>
      </p:grpSp>
      <p:sp>
        <p:nvSpPr>
          <p:cNvPr id="72" name="Rectangle 71">
            <a:extLst>
              <a:ext uri="{FF2B5EF4-FFF2-40B4-BE49-F238E27FC236}"/>
            </a:extLst>
          </p:cNvPr>
          <p:cNvSpPr/>
          <p:nvPr/>
        </p:nvSpPr>
        <p:spPr>
          <a:xfrm>
            <a:off x="244475" y="5408613"/>
            <a:ext cx="8648700" cy="407987"/>
          </a:xfrm>
          <a:prstGeom prst="rect">
            <a:avLst/>
          </a:prstGeom>
          <a:solidFill>
            <a:schemeClr val="bg2"/>
          </a:solidFill>
          <a:ln w="6350" cap="flat" cmpd="sng" algn="ctr">
            <a:noFill/>
            <a:prstDash val="solid"/>
            <a:miter lim="800000"/>
          </a:ln>
          <a:effectLst/>
          <a:extLst>
            <a:ext uri="{91240B29-F687-4F45-9708-019B960494DF}">
              <a14:hiddenLine xmlns:a14="http://schemas.microsoft.com/office/drawing/2010/main" w="6350"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marL="341313" eaLnBrk="1" fontAlgn="auto" hangingPunct="1">
              <a:lnSpc>
                <a:spcPct val="90000"/>
              </a:lnSpc>
              <a:spcBef>
                <a:spcPts val="900"/>
              </a:spcBef>
              <a:spcAft>
                <a:spcPts val="0"/>
              </a:spcAft>
              <a:defRPr/>
            </a:pPr>
            <a:r>
              <a:rPr lang="en-US" sz="1400" b="1" dirty="0">
                <a:solidFill>
                  <a:srgbClr val="FFFFFF"/>
                </a:solidFill>
                <a:latin typeface="Arial" panose="020B0604020202020204" pitchFamily="34" charset="0"/>
                <a:cs typeface="Arial" panose="020B0604020202020204" pitchFamily="34" charset="0"/>
              </a:rPr>
              <a:t>Cost benefit analysis</a:t>
            </a:r>
          </a:p>
        </p:txBody>
      </p:sp>
      <p:sp>
        <p:nvSpPr>
          <p:cNvPr id="73" name="Oval 72">
            <a:extLst>
              <a:ext uri="{FF2B5EF4-FFF2-40B4-BE49-F238E27FC236}"/>
            </a:extLst>
          </p:cNvPr>
          <p:cNvSpPr/>
          <p:nvPr/>
        </p:nvSpPr>
        <p:spPr>
          <a:xfrm>
            <a:off x="323850" y="5448300"/>
            <a:ext cx="279400" cy="279400"/>
          </a:xfrm>
          <a:prstGeom prst="ellipse">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1600" b="1" dirty="0">
                <a:solidFill>
                  <a:srgbClr val="048962"/>
                </a:solidFill>
                <a:latin typeface="Arial" panose="020B0604020202020204" pitchFamily="34" charset="0"/>
                <a:cs typeface="Arial" pitchFamily="34" charset="0"/>
              </a:rPr>
              <a:t>2c</a:t>
            </a:r>
          </a:p>
        </p:txBody>
      </p:sp>
      <p:sp>
        <p:nvSpPr>
          <p:cNvPr id="75" name="Rectangle 74">
            <a:extLst>
              <a:ext uri="{FF2B5EF4-FFF2-40B4-BE49-F238E27FC236}"/>
            </a:extLst>
          </p:cNvPr>
          <p:cNvSpPr/>
          <p:nvPr/>
        </p:nvSpPr>
        <p:spPr>
          <a:xfrm>
            <a:off x="252413" y="5799138"/>
            <a:ext cx="8640762" cy="563562"/>
          </a:xfrm>
          <a:prstGeom prst="rect">
            <a:avLst/>
          </a:prstGeom>
          <a:gradFill>
            <a:gsLst>
              <a:gs pos="0">
                <a:schemeClr val="tx2">
                  <a:lumMod val="10000"/>
                  <a:lumOff val="90000"/>
                </a:schemeClr>
              </a:gs>
              <a:gs pos="100000">
                <a:schemeClr val="bg1">
                  <a:alpha val="66000"/>
                </a:schemeClr>
              </a:gs>
            </a:gsLst>
            <a:lin ang="5400000" scaled="1"/>
          </a:gra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eaLnBrk="1" fontAlgn="auto" hangingPunct="1">
              <a:lnSpc>
                <a:spcPct val="90000"/>
              </a:lnSpc>
              <a:spcBef>
                <a:spcPts val="900"/>
              </a:spcBef>
              <a:spcAft>
                <a:spcPts val="0"/>
              </a:spcAft>
              <a:defRPr/>
            </a:pPr>
            <a:endParaRPr lang="en-US" sz="1200" i="1" dirty="0">
              <a:solidFill>
                <a:srgbClr val="000000"/>
              </a:solidFill>
              <a:latin typeface="Arial" pitchFamily="34" charset="0"/>
              <a:cs typeface="Arial" pitchFamily="34" charset="0"/>
            </a:endParaRPr>
          </a:p>
        </p:txBody>
      </p:sp>
      <p:sp>
        <p:nvSpPr>
          <p:cNvPr id="75810" name="TextBox 75"/>
          <p:cNvSpPr txBox="1">
            <a:spLocks noChangeArrowheads="1"/>
          </p:cNvSpPr>
          <p:nvPr/>
        </p:nvSpPr>
        <p:spPr bwMode="auto">
          <a:xfrm>
            <a:off x="244475" y="1628775"/>
            <a:ext cx="7856538" cy="249238"/>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ct val="0"/>
              </a:spcBef>
              <a:spcAft>
                <a:spcPct val="0"/>
              </a:spcAft>
              <a:buClr>
                <a:srgbClr val="048962"/>
              </a:buClr>
              <a:buSzTx/>
              <a:buFontTx/>
              <a:buNone/>
            </a:pPr>
            <a:r>
              <a:rPr lang="en-US" sz="1800" b="1">
                <a:solidFill>
                  <a:srgbClr val="000000"/>
                </a:solidFill>
                <a:latin typeface="Arial" panose="020B0604020202020204" pitchFamily="34" charset="0"/>
              </a:rPr>
              <a:t>Phase II: Pathway development and implementation preparation</a:t>
            </a:r>
          </a:p>
        </p:txBody>
      </p:sp>
      <p:sp>
        <p:nvSpPr>
          <p:cNvPr id="75811" name="Title 1"/>
          <p:cNvSpPr txBox="1">
            <a:spLocks/>
          </p:cNvSpPr>
          <p:nvPr/>
        </p:nvSpPr>
        <p:spPr bwMode="auto">
          <a:xfrm>
            <a:off x="244475" y="152400"/>
            <a:ext cx="7856538"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ct val="0"/>
              </a:spcBef>
              <a:spcAft>
                <a:spcPct val="0"/>
              </a:spcAft>
              <a:buClrTx/>
              <a:buSzTx/>
              <a:buFontTx/>
              <a:buNone/>
            </a:pPr>
            <a:r>
              <a:rPr lang="en-US" sz="2400">
                <a:solidFill>
                  <a:srgbClr val="048962"/>
                </a:solidFill>
                <a:latin typeface="Arial" panose="020B0604020202020204" pitchFamily="34" charset="0"/>
              </a:rPr>
              <a:t>In Phase II, preparation initiated for implementation by detailing a pathway for each System of Care, 6 national interventions and a national cost-benefit analysis</a:t>
            </a:r>
          </a:p>
        </p:txBody>
      </p:sp>
      <p:sp>
        <p:nvSpPr>
          <p:cNvPr id="79" name="Oval 78">
            <a:extLst>
              <a:ext uri="{FF2B5EF4-FFF2-40B4-BE49-F238E27FC236}"/>
            </a:extLst>
          </p:cNvPr>
          <p:cNvSpPr/>
          <p:nvPr/>
        </p:nvSpPr>
        <p:spPr>
          <a:xfrm>
            <a:off x="2390775" y="4545013"/>
            <a:ext cx="111125" cy="111125"/>
          </a:xfrm>
          <a:prstGeom prst="ellipse">
            <a:avLst/>
          </a:prstGeom>
          <a:solidFill>
            <a:srgbClr val="9B1717"/>
          </a:solidFill>
          <a:ln w="6350" cap="flat">
            <a:noFill/>
            <a:miter lim="800000"/>
          </a:ln>
          <a:effectLst>
            <a:outerShdw blurRad="50800" dist="38100" dir="2700015"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82" name="TextBox 81">
            <a:extLst>
              <a:ext uri="{FF2B5EF4-FFF2-40B4-BE49-F238E27FC236}"/>
            </a:extLst>
          </p:cNvPr>
          <p:cNvSpPr txBox="1"/>
          <p:nvPr/>
        </p:nvSpPr>
        <p:spPr>
          <a:xfrm>
            <a:off x="3262313" y="3195638"/>
            <a:ext cx="1139825" cy="323850"/>
          </a:xfrm>
          <a:prstGeom prst="rect">
            <a:avLst/>
          </a:prstGeom>
          <a:solidFill>
            <a:srgbClr val="96CAB3"/>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rPr>
              <a:t>King Khaled Eye S. Hospital</a:t>
            </a:r>
            <a:endParaRPr lang="en-GB" sz="1100" b="1" kern="0" dirty="0">
              <a:solidFill>
                <a:srgbClr val="FFFFFF"/>
              </a:solidFill>
              <a:latin typeface="Arial"/>
            </a:endParaRPr>
          </a:p>
        </p:txBody>
      </p:sp>
      <p:sp>
        <p:nvSpPr>
          <p:cNvPr id="83" name="Rectangle 82">
            <a:extLst>
              <a:ext uri="{FF2B5EF4-FFF2-40B4-BE49-F238E27FC236}"/>
            </a:extLst>
          </p:cNvPr>
          <p:cNvSpPr/>
          <p:nvPr/>
        </p:nvSpPr>
        <p:spPr>
          <a:xfrm>
            <a:off x="3262313" y="3511550"/>
            <a:ext cx="1139825" cy="277813"/>
          </a:xfrm>
          <a:prstGeom prst="rect">
            <a:avLst/>
          </a:prstGeom>
          <a:solidFill>
            <a:schemeClr val="accent5"/>
          </a:solidFill>
          <a:ln w="3175"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Planned Care</a:t>
            </a:r>
          </a:p>
        </p:txBody>
      </p:sp>
      <p:sp>
        <p:nvSpPr>
          <p:cNvPr id="75815" name="TextBox 83"/>
          <p:cNvSpPr txBox="1">
            <a:spLocks noChangeArrowheads="1"/>
          </p:cNvSpPr>
          <p:nvPr/>
        </p:nvSpPr>
        <p:spPr bwMode="auto">
          <a:xfrm>
            <a:off x="4770438" y="3290888"/>
            <a:ext cx="215582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200" b="1" u="sng">
                <a:solidFill>
                  <a:srgbClr val="000000"/>
                </a:solidFill>
                <a:latin typeface="Arial" panose="020B0604020202020204" pitchFamily="34" charset="0"/>
              </a:rPr>
              <a:t>Cross-cutting interventions</a:t>
            </a:r>
          </a:p>
        </p:txBody>
      </p:sp>
      <p:sp>
        <p:nvSpPr>
          <p:cNvPr id="75816" name="TextBox 84"/>
          <p:cNvSpPr txBox="1">
            <a:spLocks noChangeArrowheads="1"/>
          </p:cNvSpPr>
          <p:nvPr/>
        </p:nvSpPr>
        <p:spPr bwMode="auto">
          <a:xfrm>
            <a:off x="7092950" y="3290888"/>
            <a:ext cx="1887538"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200" b="1" u="sng">
                <a:solidFill>
                  <a:srgbClr val="000000"/>
                </a:solidFill>
                <a:latin typeface="Arial" panose="020B0604020202020204" pitchFamily="34" charset="0"/>
              </a:rPr>
              <a:t>Keep Well interventions</a:t>
            </a:r>
          </a:p>
        </p:txBody>
      </p:sp>
      <p:grpSp>
        <p:nvGrpSpPr>
          <p:cNvPr id="75817" name="Group 85"/>
          <p:cNvGrpSpPr>
            <a:grpSpLocks/>
          </p:cNvGrpSpPr>
          <p:nvPr/>
        </p:nvGrpSpPr>
        <p:grpSpPr bwMode="auto">
          <a:xfrm flipH="1">
            <a:off x="4787900" y="3579813"/>
            <a:ext cx="300038" cy="307975"/>
            <a:chOff x="1807987" y="4203814"/>
            <a:chExt cx="365760" cy="365760"/>
          </a:xfrm>
        </p:grpSpPr>
        <p:sp>
          <p:nvSpPr>
            <p:cNvPr id="87" name="Oval 86">
              <a:extLst>
                <a:ext uri="{FF2B5EF4-FFF2-40B4-BE49-F238E27FC236}"/>
              </a:extLst>
            </p:cNvPr>
            <p:cNvSpPr/>
            <p:nvPr/>
          </p:nvSpPr>
          <p:spPr bwMode="ltGray">
            <a:xfrm>
              <a:off x="1807987" y="4203814"/>
              <a:ext cx="365760" cy="365760"/>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71196" rtl="1" eaLnBrk="1" fontAlgn="auto" hangingPunct="1">
                <a:spcBef>
                  <a:spcPts val="0"/>
                </a:spcBef>
                <a:spcAft>
                  <a:spcPts val="0"/>
                </a:spcAft>
                <a:defRPr/>
              </a:pPr>
              <a:endParaRPr lang="ar-SA" sz="1000" dirty="0">
                <a:solidFill>
                  <a:srgbClr val="FFFFFF"/>
                </a:solidFill>
                <a:latin typeface="Traditional Arabic" panose="02020603050405020304" pitchFamily="18" charset="-78"/>
                <a:cs typeface="Traditional Arabic" panose="02020603050405020304" pitchFamily="18" charset="-78"/>
              </a:endParaRPr>
            </a:p>
          </p:txBody>
        </p:sp>
        <p:grpSp>
          <p:nvGrpSpPr>
            <p:cNvPr id="88" name="Group 87">
              <a:extLst>
                <a:ext uri="{FF2B5EF4-FFF2-40B4-BE49-F238E27FC236}"/>
              </a:extLst>
            </p:cNvPr>
            <p:cNvGrpSpPr/>
            <p:nvPr/>
          </p:nvGrpSpPr>
          <p:grpSpPr>
            <a:xfrm>
              <a:off x="1847116" y="4239862"/>
              <a:ext cx="288000" cy="288000"/>
              <a:chOff x="7983287" y="3931481"/>
              <a:chExt cx="426378" cy="394096"/>
            </a:xfrm>
            <a:solidFill>
              <a:schemeClr val="bg1"/>
            </a:solidFill>
          </p:grpSpPr>
          <p:sp>
            <p:nvSpPr>
              <p:cNvPr id="89" name="Freeform 1901">
                <a:extLst>
                  <a:ext uri="{FF2B5EF4-FFF2-40B4-BE49-F238E27FC236}"/>
                </a:extLst>
              </p:cNvPr>
              <p:cNvSpPr>
                <a:spLocks/>
              </p:cNvSpPr>
              <p:nvPr/>
            </p:nvSpPr>
            <p:spPr bwMode="auto">
              <a:xfrm>
                <a:off x="7991959" y="3931481"/>
                <a:ext cx="417706" cy="237999"/>
              </a:xfrm>
              <a:custGeom>
                <a:avLst/>
                <a:gdLst>
                  <a:gd name="T0" fmla="*/ 546 w 1734"/>
                  <a:gd name="T1" fmla="*/ 67 h 987"/>
                  <a:gd name="T2" fmla="*/ 628 w 1734"/>
                  <a:gd name="T3" fmla="*/ 47 h 987"/>
                  <a:gd name="T4" fmla="*/ 703 w 1734"/>
                  <a:gd name="T5" fmla="*/ 29 h 987"/>
                  <a:gd name="T6" fmla="*/ 767 w 1734"/>
                  <a:gd name="T7" fmla="*/ 15 h 987"/>
                  <a:gd name="T8" fmla="*/ 817 w 1734"/>
                  <a:gd name="T9" fmla="*/ 5 h 987"/>
                  <a:gd name="T10" fmla="*/ 1734 w 1734"/>
                  <a:gd name="T11" fmla="*/ 491 h 987"/>
                  <a:gd name="T12" fmla="*/ 1677 w 1734"/>
                  <a:gd name="T13" fmla="*/ 508 h 987"/>
                  <a:gd name="T14" fmla="*/ 1610 w 1734"/>
                  <a:gd name="T15" fmla="*/ 527 h 987"/>
                  <a:gd name="T16" fmla="*/ 1533 w 1734"/>
                  <a:gd name="T17" fmla="*/ 552 h 987"/>
                  <a:gd name="T18" fmla="*/ 1448 w 1734"/>
                  <a:gd name="T19" fmla="*/ 578 h 987"/>
                  <a:gd name="T20" fmla="*/ 1359 w 1734"/>
                  <a:gd name="T21" fmla="*/ 607 h 987"/>
                  <a:gd name="T22" fmla="*/ 1267 w 1734"/>
                  <a:gd name="T23" fmla="*/ 638 h 987"/>
                  <a:gd name="T24" fmla="*/ 1175 w 1734"/>
                  <a:gd name="T25" fmla="*/ 669 h 987"/>
                  <a:gd name="T26" fmla="*/ 1085 w 1734"/>
                  <a:gd name="T27" fmla="*/ 701 h 987"/>
                  <a:gd name="T28" fmla="*/ 1000 w 1734"/>
                  <a:gd name="T29" fmla="*/ 732 h 987"/>
                  <a:gd name="T30" fmla="*/ 920 w 1734"/>
                  <a:gd name="T31" fmla="*/ 764 h 987"/>
                  <a:gd name="T32" fmla="*/ 185 w 1734"/>
                  <a:gd name="T33" fmla="*/ 275 h 987"/>
                  <a:gd name="T34" fmla="*/ 173 w 1734"/>
                  <a:gd name="T35" fmla="*/ 269 h 987"/>
                  <a:gd name="T36" fmla="*/ 156 w 1734"/>
                  <a:gd name="T37" fmla="*/ 271 h 987"/>
                  <a:gd name="T38" fmla="*/ 141 w 1734"/>
                  <a:gd name="T39" fmla="*/ 282 h 987"/>
                  <a:gd name="T40" fmla="*/ 139 w 1734"/>
                  <a:gd name="T41" fmla="*/ 317 h 987"/>
                  <a:gd name="T42" fmla="*/ 787 w 1734"/>
                  <a:gd name="T43" fmla="*/ 828 h 987"/>
                  <a:gd name="T44" fmla="*/ 743 w 1734"/>
                  <a:gd name="T45" fmla="*/ 887 h 987"/>
                  <a:gd name="T46" fmla="*/ 728 w 1734"/>
                  <a:gd name="T47" fmla="*/ 962 h 987"/>
                  <a:gd name="T48" fmla="*/ 26 w 1734"/>
                  <a:gd name="T49" fmla="*/ 417 h 987"/>
                  <a:gd name="T50" fmla="*/ 6 w 1734"/>
                  <a:gd name="T51" fmla="*/ 380 h 987"/>
                  <a:gd name="T52" fmla="*/ 0 w 1734"/>
                  <a:gd name="T53" fmla="*/ 333 h 987"/>
                  <a:gd name="T54" fmla="*/ 8 w 1734"/>
                  <a:gd name="T55" fmla="*/ 288 h 987"/>
                  <a:gd name="T56" fmla="*/ 29 w 1734"/>
                  <a:gd name="T57" fmla="*/ 248 h 987"/>
                  <a:gd name="T58" fmla="*/ 65 w 1734"/>
                  <a:gd name="T59" fmla="*/ 220 h 987"/>
                  <a:gd name="T60" fmla="*/ 135 w 1734"/>
                  <a:gd name="T61" fmla="*/ 192 h 987"/>
                  <a:gd name="T62" fmla="*/ 211 w 1734"/>
                  <a:gd name="T63" fmla="*/ 166 h 987"/>
                  <a:gd name="T64" fmla="*/ 293 w 1734"/>
                  <a:gd name="T65" fmla="*/ 139 h 987"/>
                  <a:gd name="T66" fmla="*/ 377 w 1734"/>
                  <a:gd name="T67" fmla="*/ 114 h 987"/>
                  <a:gd name="T68" fmla="*/ 461 w 1734"/>
                  <a:gd name="T69" fmla="*/ 90 h 987"/>
                  <a:gd name="T70" fmla="*/ 380 w 1734"/>
                  <a:gd name="T71" fmla="*/ 219 h 987"/>
                  <a:gd name="T72" fmla="*/ 364 w 1734"/>
                  <a:gd name="T73" fmla="*/ 234 h 987"/>
                  <a:gd name="T74" fmla="*/ 364 w 1734"/>
                  <a:gd name="T75" fmla="*/ 257 h 987"/>
                  <a:gd name="T76" fmla="*/ 577 w 1734"/>
                  <a:gd name="T77" fmla="*/ 408 h 987"/>
                  <a:gd name="T78" fmla="*/ 595 w 1734"/>
                  <a:gd name="T79" fmla="*/ 412 h 987"/>
                  <a:gd name="T80" fmla="*/ 1068 w 1734"/>
                  <a:gd name="T81" fmla="*/ 266 h 987"/>
                  <a:gd name="T82" fmla="*/ 1079 w 1734"/>
                  <a:gd name="T83" fmla="*/ 246 h 987"/>
                  <a:gd name="T84" fmla="*/ 1071 w 1734"/>
                  <a:gd name="T85" fmla="*/ 223 h 987"/>
                  <a:gd name="T86" fmla="*/ 843 w 1734"/>
                  <a:gd name="T87" fmla="*/ 87 h 987"/>
                  <a:gd name="T88" fmla="*/ 827 w 1734"/>
                  <a:gd name="T89" fmla="*/ 8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4" h="987">
                    <a:moveTo>
                      <a:pt x="490" y="82"/>
                    </a:moveTo>
                    <a:lnTo>
                      <a:pt x="519" y="75"/>
                    </a:lnTo>
                    <a:lnTo>
                      <a:pt x="546" y="67"/>
                    </a:lnTo>
                    <a:lnTo>
                      <a:pt x="574" y="60"/>
                    </a:lnTo>
                    <a:lnTo>
                      <a:pt x="601" y="53"/>
                    </a:lnTo>
                    <a:lnTo>
                      <a:pt x="628" y="47"/>
                    </a:lnTo>
                    <a:lnTo>
                      <a:pt x="654" y="40"/>
                    </a:lnTo>
                    <a:lnTo>
                      <a:pt x="679" y="34"/>
                    </a:lnTo>
                    <a:lnTo>
                      <a:pt x="703" y="29"/>
                    </a:lnTo>
                    <a:lnTo>
                      <a:pt x="726" y="24"/>
                    </a:lnTo>
                    <a:lnTo>
                      <a:pt x="748" y="20"/>
                    </a:lnTo>
                    <a:lnTo>
                      <a:pt x="767" y="15"/>
                    </a:lnTo>
                    <a:lnTo>
                      <a:pt x="786" y="11"/>
                    </a:lnTo>
                    <a:lnTo>
                      <a:pt x="802" y="8"/>
                    </a:lnTo>
                    <a:lnTo>
                      <a:pt x="817" y="5"/>
                    </a:lnTo>
                    <a:lnTo>
                      <a:pt x="831" y="2"/>
                    </a:lnTo>
                    <a:lnTo>
                      <a:pt x="841" y="0"/>
                    </a:lnTo>
                    <a:lnTo>
                      <a:pt x="1734" y="491"/>
                    </a:lnTo>
                    <a:lnTo>
                      <a:pt x="1716" y="495"/>
                    </a:lnTo>
                    <a:lnTo>
                      <a:pt x="1698" y="501"/>
                    </a:lnTo>
                    <a:lnTo>
                      <a:pt x="1677" y="508"/>
                    </a:lnTo>
                    <a:lnTo>
                      <a:pt x="1656" y="514"/>
                    </a:lnTo>
                    <a:lnTo>
                      <a:pt x="1633" y="521"/>
                    </a:lnTo>
                    <a:lnTo>
                      <a:pt x="1610" y="527"/>
                    </a:lnTo>
                    <a:lnTo>
                      <a:pt x="1585" y="536"/>
                    </a:lnTo>
                    <a:lnTo>
                      <a:pt x="1560" y="544"/>
                    </a:lnTo>
                    <a:lnTo>
                      <a:pt x="1533" y="552"/>
                    </a:lnTo>
                    <a:lnTo>
                      <a:pt x="1506" y="561"/>
                    </a:lnTo>
                    <a:lnTo>
                      <a:pt x="1477" y="569"/>
                    </a:lnTo>
                    <a:lnTo>
                      <a:pt x="1448" y="578"/>
                    </a:lnTo>
                    <a:lnTo>
                      <a:pt x="1419" y="589"/>
                    </a:lnTo>
                    <a:lnTo>
                      <a:pt x="1389" y="598"/>
                    </a:lnTo>
                    <a:lnTo>
                      <a:pt x="1359" y="607"/>
                    </a:lnTo>
                    <a:lnTo>
                      <a:pt x="1329" y="617"/>
                    </a:lnTo>
                    <a:lnTo>
                      <a:pt x="1298" y="628"/>
                    </a:lnTo>
                    <a:lnTo>
                      <a:pt x="1267" y="638"/>
                    </a:lnTo>
                    <a:lnTo>
                      <a:pt x="1237" y="648"/>
                    </a:lnTo>
                    <a:lnTo>
                      <a:pt x="1206" y="659"/>
                    </a:lnTo>
                    <a:lnTo>
                      <a:pt x="1175" y="669"/>
                    </a:lnTo>
                    <a:lnTo>
                      <a:pt x="1145" y="679"/>
                    </a:lnTo>
                    <a:lnTo>
                      <a:pt x="1115" y="690"/>
                    </a:lnTo>
                    <a:lnTo>
                      <a:pt x="1085" y="701"/>
                    </a:lnTo>
                    <a:lnTo>
                      <a:pt x="1056" y="712"/>
                    </a:lnTo>
                    <a:lnTo>
                      <a:pt x="1028" y="722"/>
                    </a:lnTo>
                    <a:lnTo>
                      <a:pt x="1000" y="732"/>
                    </a:lnTo>
                    <a:lnTo>
                      <a:pt x="972" y="743"/>
                    </a:lnTo>
                    <a:lnTo>
                      <a:pt x="947" y="753"/>
                    </a:lnTo>
                    <a:lnTo>
                      <a:pt x="920" y="764"/>
                    </a:lnTo>
                    <a:lnTo>
                      <a:pt x="896" y="773"/>
                    </a:lnTo>
                    <a:lnTo>
                      <a:pt x="873" y="783"/>
                    </a:lnTo>
                    <a:lnTo>
                      <a:pt x="185" y="275"/>
                    </a:lnTo>
                    <a:lnTo>
                      <a:pt x="185" y="275"/>
                    </a:lnTo>
                    <a:lnTo>
                      <a:pt x="179" y="272"/>
                    </a:lnTo>
                    <a:lnTo>
                      <a:pt x="173" y="269"/>
                    </a:lnTo>
                    <a:lnTo>
                      <a:pt x="167" y="269"/>
                    </a:lnTo>
                    <a:lnTo>
                      <a:pt x="162" y="269"/>
                    </a:lnTo>
                    <a:lnTo>
                      <a:pt x="156" y="271"/>
                    </a:lnTo>
                    <a:lnTo>
                      <a:pt x="150" y="273"/>
                    </a:lnTo>
                    <a:lnTo>
                      <a:pt x="145" y="278"/>
                    </a:lnTo>
                    <a:lnTo>
                      <a:pt x="141" y="282"/>
                    </a:lnTo>
                    <a:lnTo>
                      <a:pt x="135" y="294"/>
                    </a:lnTo>
                    <a:lnTo>
                      <a:pt x="135" y="305"/>
                    </a:lnTo>
                    <a:lnTo>
                      <a:pt x="139" y="317"/>
                    </a:lnTo>
                    <a:lnTo>
                      <a:pt x="148" y="326"/>
                    </a:lnTo>
                    <a:lnTo>
                      <a:pt x="808" y="813"/>
                    </a:lnTo>
                    <a:lnTo>
                      <a:pt x="787" y="828"/>
                    </a:lnTo>
                    <a:lnTo>
                      <a:pt x="768" y="845"/>
                    </a:lnTo>
                    <a:lnTo>
                      <a:pt x="755" y="865"/>
                    </a:lnTo>
                    <a:lnTo>
                      <a:pt x="743" y="887"/>
                    </a:lnTo>
                    <a:lnTo>
                      <a:pt x="735" y="911"/>
                    </a:lnTo>
                    <a:lnTo>
                      <a:pt x="730" y="935"/>
                    </a:lnTo>
                    <a:lnTo>
                      <a:pt x="728" y="962"/>
                    </a:lnTo>
                    <a:lnTo>
                      <a:pt x="729" y="987"/>
                    </a:lnTo>
                    <a:lnTo>
                      <a:pt x="35" y="426"/>
                    </a:lnTo>
                    <a:lnTo>
                      <a:pt x="26" y="417"/>
                    </a:lnTo>
                    <a:lnTo>
                      <a:pt x="18" y="407"/>
                    </a:lnTo>
                    <a:lnTo>
                      <a:pt x="11" y="394"/>
                    </a:lnTo>
                    <a:lnTo>
                      <a:pt x="6" y="380"/>
                    </a:lnTo>
                    <a:lnTo>
                      <a:pt x="1" y="365"/>
                    </a:lnTo>
                    <a:lnTo>
                      <a:pt x="0" y="349"/>
                    </a:lnTo>
                    <a:lnTo>
                      <a:pt x="0" y="333"/>
                    </a:lnTo>
                    <a:lnTo>
                      <a:pt x="1" y="316"/>
                    </a:lnTo>
                    <a:lnTo>
                      <a:pt x="4" y="302"/>
                    </a:lnTo>
                    <a:lnTo>
                      <a:pt x="8" y="288"/>
                    </a:lnTo>
                    <a:lnTo>
                      <a:pt x="13" y="274"/>
                    </a:lnTo>
                    <a:lnTo>
                      <a:pt x="20" y="260"/>
                    </a:lnTo>
                    <a:lnTo>
                      <a:pt x="29" y="248"/>
                    </a:lnTo>
                    <a:lnTo>
                      <a:pt x="39" y="237"/>
                    </a:lnTo>
                    <a:lnTo>
                      <a:pt x="51" y="227"/>
                    </a:lnTo>
                    <a:lnTo>
                      <a:pt x="65" y="220"/>
                    </a:lnTo>
                    <a:lnTo>
                      <a:pt x="88" y="211"/>
                    </a:lnTo>
                    <a:lnTo>
                      <a:pt x="111" y="201"/>
                    </a:lnTo>
                    <a:lnTo>
                      <a:pt x="135" y="192"/>
                    </a:lnTo>
                    <a:lnTo>
                      <a:pt x="160" y="183"/>
                    </a:lnTo>
                    <a:lnTo>
                      <a:pt x="186" y="175"/>
                    </a:lnTo>
                    <a:lnTo>
                      <a:pt x="211" y="166"/>
                    </a:lnTo>
                    <a:lnTo>
                      <a:pt x="239" y="157"/>
                    </a:lnTo>
                    <a:lnTo>
                      <a:pt x="265" y="147"/>
                    </a:lnTo>
                    <a:lnTo>
                      <a:pt x="293" y="139"/>
                    </a:lnTo>
                    <a:lnTo>
                      <a:pt x="320" y="130"/>
                    </a:lnTo>
                    <a:lnTo>
                      <a:pt x="348" y="122"/>
                    </a:lnTo>
                    <a:lnTo>
                      <a:pt x="377" y="114"/>
                    </a:lnTo>
                    <a:lnTo>
                      <a:pt x="405" y="105"/>
                    </a:lnTo>
                    <a:lnTo>
                      <a:pt x="433" y="97"/>
                    </a:lnTo>
                    <a:lnTo>
                      <a:pt x="461" y="90"/>
                    </a:lnTo>
                    <a:lnTo>
                      <a:pt x="490" y="82"/>
                    </a:lnTo>
                    <a:lnTo>
                      <a:pt x="561" y="166"/>
                    </a:lnTo>
                    <a:lnTo>
                      <a:pt x="380" y="219"/>
                    </a:lnTo>
                    <a:lnTo>
                      <a:pt x="373" y="222"/>
                    </a:lnTo>
                    <a:lnTo>
                      <a:pt x="368" y="228"/>
                    </a:lnTo>
                    <a:lnTo>
                      <a:pt x="364" y="234"/>
                    </a:lnTo>
                    <a:lnTo>
                      <a:pt x="362" y="242"/>
                    </a:lnTo>
                    <a:lnTo>
                      <a:pt x="362" y="250"/>
                    </a:lnTo>
                    <a:lnTo>
                      <a:pt x="364" y="257"/>
                    </a:lnTo>
                    <a:lnTo>
                      <a:pt x="369" y="264"/>
                    </a:lnTo>
                    <a:lnTo>
                      <a:pt x="375" y="269"/>
                    </a:lnTo>
                    <a:lnTo>
                      <a:pt x="577" y="408"/>
                    </a:lnTo>
                    <a:lnTo>
                      <a:pt x="583" y="410"/>
                    </a:lnTo>
                    <a:lnTo>
                      <a:pt x="589" y="412"/>
                    </a:lnTo>
                    <a:lnTo>
                      <a:pt x="595" y="412"/>
                    </a:lnTo>
                    <a:lnTo>
                      <a:pt x="600" y="411"/>
                    </a:lnTo>
                    <a:lnTo>
                      <a:pt x="1061" y="269"/>
                    </a:lnTo>
                    <a:lnTo>
                      <a:pt x="1068" y="266"/>
                    </a:lnTo>
                    <a:lnTo>
                      <a:pt x="1074" y="260"/>
                    </a:lnTo>
                    <a:lnTo>
                      <a:pt x="1077" y="253"/>
                    </a:lnTo>
                    <a:lnTo>
                      <a:pt x="1079" y="246"/>
                    </a:lnTo>
                    <a:lnTo>
                      <a:pt x="1079" y="238"/>
                    </a:lnTo>
                    <a:lnTo>
                      <a:pt x="1076" y="230"/>
                    </a:lnTo>
                    <a:lnTo>
                      <a:pt x="1071" y="223"/>
                    </a:lnTo>
                    <a:lnTo>
                      <a:pt x="1066" y="219"/>
                    </a:lnTo>
                    <a:lnTo>
                      <a:pt x="849" y="90"/>
                    </a:lnTo>
                    <a:lnTo>
                      <a:pt x="843" y="87"/>
                    </a:lnTo>
                    <a:lnTo>
                      <a:pt x="839" y="85"/>
                    </a:lnTo>
                    <a:lnTo>
                      <a:pt x="833" y="85"/>
                    </a:lnTo>
                    <a:lnTo>
                      <a:pt x="827" y="86"/>
                    </a:lnTo>
                    <a:lnTo>
                      <a:pt x="561" y="166"/>
                    </a:lnTo>
                    <a:lnTo>
                      <a:pt x="490" y="82"/>
                    </a:lnTo>
                    <a:close/>
                  </a:path>
                </a:pathLst>
              </a:custGeom>
              <a:grpFill/>
              <a:ln>
                <a:noFill/>
              </a:ln>
            </p:spPr>
            <p:txBody>
              <a:bodyPr lIns="78191" tIns="39095" rIns="78191" bIns="39095"/>
              <a:lstStyle/>
              <a:p>
                <a:pPr algn="ctr" defTabSz="871196" rtl="1"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90" name="Freeform 1902">
                <a:extLst>
                  <a:ext uri="{FF2B5EF4-FFF2-40B4-BE49-F238E27FC236}"/>
                </a:extLst>
              </p:cNvPr>
              <p:cNvSpPr>
                <a:spLocks/>
              </p:cNvSpPr>
              <p:nvPr/>
            </p:nvSpPr>
            <p:spPr bwMode="auto">
              <a:xfrm>
                <a:off x="8100842" y="3966169"/>
                <a:ext cx="128154" cy="50587"/>
              </a:xfrm>
              <a:custGeom>
                <a:avLst/>
                <a:gdLst>
                  <a:gd name="T0" fmla="*/ 531 w 531"/>
                  <a:gd name="T1" fmla="*/ 90 h 210"/>
                  <a:gd name="T2" fmla="*/ 143 w 531"/>
                  <a:gd name="T3" fmla="*/ 210 h 210"/>
                  <a:gd name="T4" fmla="*/ 0 w 531"/>
                  <a:gd name="T5" fmla="*/ 113 h 210"/>
                  <a:gd name="T6" fmla="*/ 380 w 531"/>
                  <a:gd name="T7" fmla="*/ 0 h 210"/>
                  <a:gd name="T8" fmla="*/ 531 w 531"/>
                  <a:gd name="T9" fmla="*/ 90 h 210"/>
                </a:gdLst>
                <a:ahLst/>
                <a:cxnLst>
                  <a:cxn ang="0">
                    <a:pos x="T0" y="T1"/>
                  </a:cxn>
                  <a:cxn ang="0">
                    <a:pos x="T2" y="T3"/>
                  </a:cxn>
                  <a:cxn ang="0">
                    <a:pos x="T4" y="T5"/>
                  </a:cxn>
                  <a:cxn ang="0">
                    <a:pos x="T6" y="T7"/>
                  </a:cxn>
                  <a:cxn ang="0">
                    <a:pos x="T8" y="T9"/>
                  </a:cxn>
                </a:cxnLst>
                <a:rect l="0" t="0" r="r" b="b"/>
                <a:pathLst>
                  <a:path w="531" h="210">
                    <a:moveTo>
                      <a:pt x="531" y="90"/>
                    </a:moveTo>
                    <a:lnTo>
                      <a:pt x="143" y="210"/>
                    </a:lnTo>
                    <a:lnTo>
                      <a:pt x="0" y="113"/>
                    </a:lnTo>
                    <a:lnTo>
                      <a:pt x="380" y="0"/>
                    </a:lnTo>
                    <a:lnTo>
                      <a:pt x="531" y="90"/>
                    </a:lnTo>
                    <a:close/>
                  </a:path>
                </a:pathLst>
              </a:custGeom>
              <a:grpFill/>
              <a:ln>
                <a:noFill/>
              </a:ln>
            </p:spPr>
            <p:txBody>
              <a:bodyPr lIns="78191" tIns="39095" rIns="78191" bIns="39095"/>
              <a:lstStyle/>
              <a:p>
                <a:pPr algn="ctr" defTabSz="871196" rtl="1"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91" name="Freeform 1904">
                <a:extLst>
                  <a:ext uri="{FF2B5EF4-FFF2-40B4-BE49-F238E27FC236}"/>
                </a:extLst>
              </p:cNvPr>
              <p:cNvSpPr>
                <a:spLocks/>
              </p:cNvSpPr>
              <p:nvPr/>
            </p:nvSpPr>
            <p:spPr bwMode="auto">
              <a:xfrm>
                <a:off x="8155283" y="4184897"/>
                <a:ext cx="229329" cy="140680"/>
              </a:xfrm>
              <a:custGeom>
                <a:avLst/>
                <a:gdLst>
                  <a:gd name="T0" fmla="*/ 38 w 951"/>
                  <a:gd name="T1" fmla="*/ 581 h 582"/>
                  <a:gd name="T2" fmla="*/ 27 w 951"/>
                  <a:gd name="T3" fmla="*/ 581 h 582"/>
                  <a:gd name="T4" fmla="*/ 22 w 951"/>
                  <a:gd name="T5" fmla="*/ 575 h 582"/>
                  <a:gd name="T6" fmla="*/ 18 w 951"/>
                  <a:gd name="T7" fmla="*/ 571 h 582"/>
                  <a:gd name="T8" fmla="*/ 16 w 951"/>
                  <a:gd name="T9" fmla="*/ 569 h 582"/>
                  <a:gd name="T10" fmla="*/ 13 w 951"/>
                  <a:gd name="T11" fmla="*/ 565 h 582"/>
                  <a:gd name="T12" fmla="*/ 12 w 951"/>
                  <a:gd name="T13" fmla="*/ 562 h 582"/>
                  <a:gd name="T14" fmla="*/ 3 w 951"/>
                  <a:gd name="T15" fmla="*/ 536 h 582"/>
                  <a:gd name="T16" fmla="*/ 1 w 951"/>
                  <a:gd name="T17" fmla="*/ 475 h 582"/>
                  <a:gd name="T18" fmla="*/ 16 w 951"/>
                  <a:gd name="T19" fmla="*/ 412 h 582"/>
                  <a:gd name="T20" fmla="*/ 53 w 951"/>
                  <a:gd name="T21" fmla="*/ 359 h 582"/>
                  <a:gd name="T22" fmla="*/ 99 w 951"/>
                  <a:gd name="T23" fmla="*/ 331 h 582"/>
                  <a:gd name="T24" fmla="*/ 140 w 951"/>
                  <a:gd name="T25" fmla="*/ 311 h 582"/>
                  <a:gd name="T26" fmla="*/ 186 w 951"/>
                  <a:gd name="T27" fmla="*/ 290 h 582"/>
                  <a:gd name="T28" fmla="*/ 237 w 951"/>
                  <a:gd name="T29" fmla="*/ 268 h 582"/>
                  <a:gd name="T30" fmla="*/ 290 w 951"/>
                  <a:gd name="T31" fmla="*/ 245 h 582"/>
                  <a:gd name="T32" fmla="*/ 345 w 951"/>
                  <a:gd name="T33" fmla="*/ 222 h 582"/>
                  <a:gd name="T34" fmla="*/ 402 w 951"/>
                  <a:gd name="T35" fmla="*/ 199 h 582"/>
                  <a:gd name="T36" fmla="*/ 460 w 951"/>
                  <a:gd name="T37" fmla="*/ 176 h 582"/>
                  <a:gd name="T38" fmla="*/ 520 w 951"/>
                  <a:gd name="T39" fmla="*/ 153 h 582"/>
                  <a:gd name="T40" fmla="*/ 580 w 951"/>
                  <a:gd name="T41" fmla="*/ 130 h 582"/>
                  <a:gd name="T42" fmla="*/ 640 w 951"/>
                  <a:gd name="T43" fmla="*/ 108 h 582"/>
                  <a:gd name="T44" fmla="*/ 699 w 951"/>
                  <a:gd name="T45" fmla="*/ 86 h 582"/>
                  <a:gd name="T46" fmla="*/ 756 w 951"/>
                  <a:gd name="T47" fmla="*/ 65 h 582"/>
                  <a:gd name="T48" fmla="*/ 812 w 951"/>
                  <a:gd name="T49" fmla="*/ 44 h 582"/>
                  <a:gd name="T50" fmla="*/ 865 w 951"/>
                  <a:gd name="T51" fmla="*/ 26 h 582"/>
                  <a:gd name="T52" fmla="*/ 914 w 951"/>
                  <a:gd name="T53" fmla="*/ 8 h 582"/>
                  <a:gd name="T54" fmla="*/ 931 w 951"/>
                  <a:gd name="T55" fmla="*/ 17 h 582"/>
                  <a:gd name="T56" fmla="*/ 920 w 951"/>
                  <a:gd name="T57" fmla="*/ 58 h 582"/>
                  <a:gd name="T58" fmla="*/ 914 w 951"/>
                  <a:gd name="T59" fmla="*/ 107 h 582"/>
                  <a:gd name="T60" fmla="*/ 918 w 951"/>
                  <a:gd name="T61" fmla="*/ 152 h 582"/>
                  <a:gd name="T62" fmla="*/ 929 w 951"/>
                  <a:gd name="T63" fmla="*/ 187 h 582"/>
                  <a:gd name="T64" fmla="*/ 944 w 951"/>
                  <a:gd name="T65" fmla="*/ 217 h 582"/>
                  <a:gd name="T66" fmla="*/ 929 w 951"/>
                  <a:gd name="T67" fmla="*/ 237 h 582"/>
                  <a:gd name="T68" fmla="*/ 878 w 951"/>
                  <a:gd name="T69" fmla="*/ 256 h 582"/>
                  <a:gd name="T70" fmla="*/ 821 w 951"/>
                  <a:gd name="T71" fmla="*/ 279 h 582"/>
                  <a:gd name="T72" fmla="*/ 759 w 951"/>
                  <a:gd name="T73" fmla="*/ 304 h 582"/>
                  <a:gd name="T74" fmla="*/ 692 w 951"/>
                  <a:gd name="T75" fmla="*/ 329 h 582"/>
                  <a:gd name="T76" fmla="*/ 622 w 951"/>
                  <a:gd name="T77" fmla="*/ 355 h 582"/>
                  <a:gd name="T78" fmla="*/ 550 w 951"/>
                  <a:gd name="T79" fmla="*/ 383 h 582"/>
                  <a:gd name="T80" fmla="*/ 479 w 951"/>
                  <a:gd name="T81" fmla="*/ 411 h 582"/>
                  <a:gd name="T82" fmla="*/ 407 w 951"/>
                  <a:gd name="T83" fmla="*/ 438 h 582"/>
                  <a:gd name="T84" fmla="*/ 339 w 951"/>
                  <a:gd name="T85" fmla="*/ 465 h 582"/>
                  <a:gd name="T86" fmla="*/ 275 w 951"/>
                  <a:gd name="T87" fmla="*/ 489 h 582"/>
                  <a:gd name="T88" fmla="*/ 215 w 951"/>
                  <a:gd name="T89" fmla="*/ 513 h 582"/>
                  <a:gd name="T90" fmla="*/ 161 w 951"/>
                  <a:gd name="T91" fmla="*/ 534 h 582"/>
                  <a:gd name="T92" fmla="*/ 115 w 951"/>
                  <a:gd name="T93" fmla="*/ 551 h 582"/>
                  <a:gd name="T94" fmla="*/ 78 w 951"/>
                  <a:gd name="T95" fmla="*/ 566 h 582"/>
                  <a:gd name="T96" fmla="*/ 50 w 951"/>
                  <a:gd name="T97" fmla="*/ 57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1" h="582">
                    <a:moveTo>
                      <a:pt x="41" y="580"/>
                    </a:moveTo>
                    <a:lnTo>
                      <a:pt x="38" y="581"/>
                    </a:lnTo>
                    <a:lnTo>
                      <a:pt x="33" y="582"/>
                    </a:lnTo>
                    <a:lnTo>
                      <a:pt x="27" y="581"/>
                    </a:lnTo>
                    <a:lnTo>
                      <a:pt x="23" y="578"/>
                    </a:lnTo>
                    <a:lnTo>
                      <a:pt x="22" y="575"/>
                    </a:lnTo>
                    <a:lnTo>
                      <a:pt x="19" y="573"/>
                    </a:lnTo>
                    <a:lnTo>
                      <a:pt x="18" y="571"/>
                    </a:lnTo>
                    <a:lnTo>
                      <a:pt x="16" y="569"/>
                    </a:lnTo>
                    <a:lnTo>
                      <a:pt x="16" y="569"/>
                    </a:lnTo>
                    <a:lnTo>
                      <a:pt x="15" y="566"/>
                    </a:lnTo>
                    <a:lnTo>
                      <a:pt x="13" y="565"/>
                    </a:lnTo>
                    <a:lnTo>
                      <a:pt x="13" y="564"/>
                    </a:lnTo>
                    <a:lnTo>
                      <a:pt x="12" y="562"/>
                    </a:lnTo>
                    <a:lnTo>
                      <a:pt x="11" y="560"/>
                    </a:lnTo>
                    <a:lnTo>
                      <a:pt x="3" y="536"/>
                    </a:lnTo>
                    <a:lnTo>
                      <a:pt x="0" y="507"/>
                    </a:lnTo>
                    <a:lnTo>
                      <a:pt x="1" y="475"/>
                    </a:lnTo>
                    <a:lnTo>
                      <a:pt x="5" y="443"/>
                    </a:lnTo>
                    <a:lnTo>
                      <a:pt x="16" y="412"/>
                    </a:lnTo>
                    <a:lnTo>
                      <a:pt x="32" y="383"/>
                    </a:lnTo>
                    <a:lnTo>
                      <a:pt x="53" y="359"/>
                    </a:lnTo>
                    <a:lnTo>
                      <a:pt x="79" y="340"/>
                    </a:lnTo>
                    <a:lnTo>
                      <a:pt x="99" y="331"/>
                    </a:lnTo>
                    <a:lnTo>
                      <a:pt x="119" y="321"/>
                    </a:lnTo>
                    <a:lnTo>
                      <a:pt x="140" y="311"/>
                    </a:lnTo>
                    <a:lnTo>
                      <a:pt x="163" y="300"/>
                    </a:lnTo>
                    <a:lnTo>
                      <a:pt x="186" y="290"/>
                    </a:lnTo>
                    <a:lnTo>
                      <a:pt x="212" y="278"/>
                    </a:lnTo>
                    <a:lnTo>
                      <a:pt x="237" y="268"/>
                    </a:lnTo>
                    <a:lnTo>
                      <a:pt x="262" y="256"/>
                    </a:lnTo>
                    <a:lnTo>
                      <a:pt x="290" y="245"/>
                    </a:lnTo>
                    <a:lnTo>
                      <a:pt x="316" y="233"/>
                    </a:lnTo>
                    <a:lnTo>
                      <a:pt x="345" y="222"/>
                    </a:lnTo>
                    <a:lnTo>
                      <a:pt x="373" y="210"/>
                    </a:lnTo>
                    <a:lnTo>
                      <a:pt x="402" y="199"/>
                    </a:lnTo>
                    <a:lnTo>
                      <a:pt x="432" y="187"/>
                    </a:lnTo>
                    <a:lnTo>
                      <a:pt x="460" y="176"/>
                    </a:lnTo>
                    <a:lnTo>
                      <a:pt x="490" y="164"/>
                    </a:lnTo>
                    <a:lnTo>
                      <a:pt x="520" y="153"/>
                    </a:lnTo>
                    <a:lnTo>
                      <a:pt x="550" y="141"/>
                    </a:lnTo>
                    <a:lnTo>
                      <a:pt x="580" y="130"/>
                    </a:lnTo>
                    <a:lnTo>
                      <a:pt x="610" y="119"/>
                    </a:lnTo>
                    <a:lnTo>
                      <a:pt x="640" y="108"/>
                    </a:lnTo>
                    <a:lnTo>
                      <a:pt x="670" y="96"/>
                    </a:lnTo>
                    <a:lnTo>
                      <a:pt x="699" y="86"/>
                    </a:lnTo>
                    <a:lnTo>
                      <a:pt x="727" y="76"/>
                    </a:lnTo>
                    <a:lnTo>
                      <a:pt x="756" y="65"/>
                    </a:lnTo>
                    <a:lnTo>
                      <a:pt x="784" y="55"/>
                    </a:lnTo>
                    <a:lnTo>
                      <a:pt x="812" y="44"/>
                    </a:lnTo>
                    <a:lnTo>
                      <a:pt x="838" y="35"/>
                    </a:lnTo>
                    <a:lnTo>
                      <a:pt x="865" y="26"/>
                    </a:lnTo>
                    <a:lnTo>
                      <a:pt x="890" y="17"/>
                    </a:lnTo>
                    <a:lnTo>
                      <a:pt x="914" y="8"/>
                    </a:lnTo>
                    <a:lnTo>
                      <a:pt x="938" y="0"/>
                    </a:lnTo>
                    <a:lnTo>
                      <a:pt x="931" y="17"/>
                    </a:lnTo>
                    <a:lnTo>
                      <a:pt x="924" y="36"/>
                    </a:lnTo>
                    <a:lnTo>
                      <a:pt x="920" y="58"/>
                    </a:lnTo>
                    <a:lnTo>
                      <a:pt x="916" y="82"/>
                    </a:lnTo>
                    <a:lnTo>
                      <a:pt x="914" y="107"/>
                    </a:lnTo>
                    <a:lnTo>
                      <a:pt x="915" y="130"/>
                    </a:lnTo>
                    <a:lnTo>
                      <a:pt x="918" y="152"/>
                    </a:lnTo>
                    <a:lnTo>
                      <a:pt x="923" y="170"/>
                    </a:lnTo>
                    <a:lnTo>
                      <a:pt x="929" y="187"/>
                    </a:lnTo>
                    <a:lnTo>
                      <a:pt x="936" y="203"/>
                    </a:lnTo>
                    <a:lnTo>
                      <a:pt x="944" y="217"/>
                    </a:lnTo>
                    <a:lnTo>
                      <a:pt x="951" y="229"/>
                    </a:lnTo>
                    <a:lnTo>
                      <a:pt x="929" y="237"/>
                    </a:lnTo>
                    <a:lnTo>
                      <a:pt x="905" y="247"/>
                    </a:lnTo>
                    <a:lnTo>
                      <a:pt x="878" y="256"/>
                    </a:lnTo>
                    <a:lnTo>
                      <a:pt x="851" y="268"/>
                    </a:lnTo>
                    <a:lnTo>
                      <a:pt x="821" y="279"/>
                    </a:lnTo>
                    <a:lnTo>
                      <a:pt x="791" y="291"/>
                    </a:lnTo>
                    <a:lnTo>
                      <a:pt x="759" y="304"/>
                    </a:lnTo>
                    <a:lnTo>
                      <a:pt x="725" y="316"/>
                    </a:lnTo>
                    <a:lnTo>
                      <a:pt x="692" y="329"/>
                    </a:lnTo>
                    <a:lnTo>
                      <a:pt x="657" y="343"/>
                    </a:lnTo>
                    <a:lnTo>
                      <a:pt x="622" y="355"/>
                    </a:lnTo>
                    <a:lnTo>
                      <a:pt x="586" y="369"/>
                    </a:lnTo>
                    <a:lnTo>
                      <a:pt x="550" y="383"/>
                    </a:lnTo>
                    <a:lnTo>
                      <a:pt x="514" y="397"/>
                    </a:lnTo>
                    <a:lnTo>
                      <a:pt x="479" y="411"/>
                    </a:lnTo>
                    <a:lnTo>
                      <a:pt x="443" y="425"/>
                    </a:lnTo>
                    <a:lnTo>
                      <a:pt x="407" y="438"/>
                    </a:lnTo>
                    <a:lnTo>
                      <a:pt x="373" y="451"/>
                    </a:lnTo>
                    <a:lnTo>
                      <a:pt x="339" y="465"/>
                    </a:lnTo>
                    <a:lnTo>
                      <a:pt x="306" y="478"/>
                    </a:lnTo>
                    <a:lnTo>
                      <a:pt x="275" y="489"/>
                    </a:lnTo>
                    <a:lnTo>
                      <a:pt x="244" y="502"/>
                    </a:lnTo>
                    <a:lnTo>
                      <a:pt x="215" y="513"/>
                    </a:lnTo>
                    <a:lnTo>
                      <a:pt x="187" y="524"/>
                    </a:lnTo>
                    <a:lnTo>
                      <a:pt x="161" y="534"/>
                    </a:lnTo>
                    <a:lnTo>
                      <a:pt x="137" y="543"/>
                    </a:lnTo>
                    <a:lnTo>
                      <a:pt x="115" y="551"/>
                    </a:lnTo>
                    <a:lnTo>
                      <a:pt x="95" y="559"/>
                    </a:lnTo>
                    <a:lnTo>
                      <a:pt x="78" y="566"/>
                    </a:lnTo>
                    <a:lnTo>
                      <a:pt x="63" y="572"/>
                    </a:lnTo>
                    <a:lnTo>
                      <a:pt x="50" y="577"/>
                    </a:lnTo>
                    <a:lnTo>
                      <a:pt x="41" y="580"/>
                    </a:lnTo>
                    <a:close/>
                  </a:path>
                </a:pathLst>
              </a:custGeom>
              <a:grpFill/>
              <a:ln>
                <a:noFill/>
              </a:ln>
            </p:spPr>
            <p:txBody>
              <a:bodyPr lIns="78191" tIns="39095" rIns="78191" bIns="39095"/>
              <a:lstStyle/>
              <a:p>
                <a:pPr algn="ctr" defTabSz="871196" rtl="1"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92" name="Freeform 1905">
                <a:extLst>
                  <a:ext uri="{FF2B5EF4-FFF2-40B4-BE49-F238E27FC236}"/>
                </a:extLst>
              </p:cNvPr>
              <p:cNvSpPr>
                <a:spLocks/>
              </p:cNvSpPr>
              <p:nvPr/>
            </p:nvSpPr>
            <p:spPr bwMode="auto">
              <a:xfrm>
                <a:off x="8405329" y="4176225"/>
                <a:ext cx="482" cy="0"/>
              </a:xfrm>
              <a:custGeom>
                <a:avLst/>
                <a:gdLst>
                  <a:gd name="T0" fmla="*/ 0 w 1"/>
                  <a:gd name="T1" fmla="*/ 1 w 1"/>
                  <a:gd name="T2" fmla="*/ 1 w 1"/>
                  <a:gd name="T3" fmla="*/ 1 w 1"/>
                  <a:gd name="T4" fmla="*/ 1 w 1"/>
                  <a:gd name="T5" fmla="*/ 1 w 1"/>
                  <a:gd name="T6" fmla="*/ 1 w 1"/>
                  <a:gd name="T7" fmla="*/ 1 w 1"/>
                  <a:gd name="T8" fmla="*/ 1 w 1"/>
                  <a:gd name="T9"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lnTo>
                      <a:pt x="1" y="0"/>
                    </a:lnTo>
                    <a:lnTo>
                      <a:pt x="1" y="0"/>
                    </a:lnTo>
                    <a:lnTo>
                      <a:pt x="1" y="0"/>
                    </a:lnTo>
                    <a:lnTo>
                      <a:pt x="1" y="0"/>
                    </a:lnTo>
                    <a:lnTo>
                      <a:pt x="1" y="0"/>
                    </a:lnTo>
                    <a:lnTo>
                      <a:pt x="1" y="0"/>
                    </a:lnTo>
                    <a:lnTo>
                      <a:pt x="1" y="0"/>
                    </a:lnTo>
                    <a:lnTo>
                      <a:pt x="1"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algn="ctr" defTabSz="871196" rtl="1"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93" name="Freeform 1906">
                <a:extLst>
                  <a:ext uri="{FF2B5EF4-FFF2-40B4-BE49-F238E27FC236}"/>
                </a:extLst>
              </p:cNvPr>
              <p:cNvSpPr>
                <a:spLocks/>
              </p:cNvSpPr>
              <p:nvPr/>
            </p:nvSpPr>
            <p:spPr bwMode="auto">
              <a:xfrm>
                <a:off x="7983287" y="4089986"/>
                <a:ext cx="425896" cy="213429"/>
              </a:xfrm>
              <a:custGeom>
                <a:avLst/>
                <a:gdLst>
                  <a:gd name="T0" fmla="*/ 1731 w 1768"/>
                  <a:gd name="T1" fmla="*/ 298 h 885"/>
                  <a:gd name="T2" fmla="*/ 1665 w 1768"/>
                  <a:gd name="T3" fmla="*/ 321 h 885"/>
                  <a:gd name="T4" fmla="*/ 1585 w 1768"/>
                  <a:gd name="T5" fmla="*/ 350 h 885"/>
                  <a:gd name="T6" fmla="*/ 1495 w 1768"/>
                  <a:gd name="T7" fmla="*/ 382 h 885"/>
                  <a:gd name="T8" fmla="*/ 1400 w 1768"/>
                  <a:gd name="T9" fmla="*/ 417 h 885"/>
                  <a:gd name="T10" fmla="*/ 1300 w 1768"/>
                  <a:gd name="T11" fmla="*/ 455 h 885"/>
                  <a:gd name="T12" fmla="*/ 1198 w 1768"/>
                  <a:gd name="T13" fmla="*/ 494 h 885"/>
                  <a:gd name="T14" fmla="*/ 1097 w 1768"/>
                  <a:gd name="T15" fmla="*/ 533 h 885"/>
                  <a:gd name="T16" fmla="*/ 1000 w 1768"/>
                  <a:gd name="T17" fmla="*/ 572 h 885"/>
                  <a:gd name="T18" fmla="*/ 909 w 1768"/>
                  <a:gd name="T19" fmla="*/ 611 h 885"/>
                  <a:gd name="T20" fmla="*/ 827 w 1768"/>
                  <a:gd name="T21" fmla="*/ 648 h 885"/>
                  <a:gd name="T22" fmla="*/ 173 w 1768"/>
                  <a:gd name="T23" fmla="*/ 96 h 885"/>
                  <a:gd name="T24" fmla="*/ 156 w 1768"/>
                  <a:gd name="T25" fmla="*/ 95 h 885"/>
                  <a:gd name="T26" fmla="*/ 140 w 1768"/>
                  <a:gd name="T27" fmla="*/ 106 h 885"/>
                  <a:gd name="T28" fmla="*/ 135 w 1768"/>
                  <a:gd name="T29" fmla="*/ 140 h 885"/>
                  <a:gd name="T30" fmla="*/ 738 w 1768"/>
                  <a:gd name="T31" fmla="*/ 695 h 885"/>
                  <a:gd name="T32" fmla="*/ 680 w 1768"/>
                  <a:gd name="T33" fmla="*/ 768 h 885"/>
                  <a:gd name="T34" fmla="*/ 655 w 1768"/>
                  <a:gd name="T35" fmla="*/ 855 h 885"/>
                  <a:gd name="T36" fmla="*/ 24 w 1768"/>
                  <a:gd name="T37" fmla="*/ 277 h 885"/>
                  <a:gd name="T38" fmla="*/ 4 w 1768"/>
                  <a:gd name="T39" fmla="*/ 230 h 885"/>
                  <a:gd name="T40" fmla="*/ 2 w 1768"/>
                  <a:gd name="T41" fmla="*/ 175 h 885"/>
                  <a:gd name="T42" fmla="*/ 15 w 1768"/>
                  <a:gd name="T43" fmla="*/ 122 h 885"/>
                  <a:gd name="T44" fmla="*/ 42 w 1768"/>
                  <a:gd name="T45" fmla="*/ 83 h 885"/>
                  <a:gd name="T46" fmla="*/ 79 w 1768"/>
                  <a:gd name="T47" fmla="*/ 57 h 885"/>
                  <a:gd name="T48" fmla="*/ 111 w 1768"/>
                  <a:gd name="T49" fmla="*/ 46 h 885"/>
                  <a:gd name="T50" fmla="*/ 150 w 1768"/>
                  <a:gd name="T51" fmla="*/ 32 h 885"/>
                  <a:gd name="T52" fmla="*/ 188 w 1768"/>
                  <a:gd name="T53" fmla="*/ 20 h 885"/>
                  <a:gd name="T54" fmla="*/ 219 w 1768"/>
                  <a:gd name="T55" fmla="*/ 11 h 885"/>
                  <a:gd name="T56" fmla="*/ 248 w 1768"/>
                  <a:gd name="T57" fmla="*/ 3 h 885"/>
                  <a:gd name="T58" fmla="*/ 340 w 1768"/>
                  <a:gd name="T59" fmla="*/ 66 h 885"/>
                  <a:gd name="T60" fmla="*/ 470 w 1768"/>
                  <a:gd name="T61" fmla="*/ 171 h 885"/>
                  <a:gd name="T62" fmla="*/ 596 w 1768"/>
                  <a:gd name="T63" fmla="*/ 274 h 885"/>
                  <a:gd name="T64" fmla="*/ 704 w 1768"/>
                  <a:gd name="T65" fmla="*/ 361 h 885"/>
                  <a:gd name="T66" fmla="*/ 782 w 1768"/>
                  <a:gd name="T67" fmla="*/ 425 h 885"/>
                  <a:gd name="T68" fmla="*/ 823 w 1768"/>
                  <a:gd name="T69" fmla="*/ 459 h 885"/>
                  <a:gd name="T70" fmla="*/ 858 w 1768"/>
                  <a:gd name="T71" fmla="*/ 480 h 885"/>
                  <a:gd name="T72" fmla="*/ 898 w 1768"/>
                  <a:gd name="T73" fmla="*/ 482 h 885"/>
                  <a:gd name="T74" fmla="*/ 929 w 1768"/>
                  <a:gd name="T75" fmla="*/ 473 h 885"/>
                  <a:gd name="T76" fmla="*/ 969 w 1768"/>
                  <a:gd name="T77" fmla="*/ 459 h 885"/>
                  <a:gd name="T78" fmla="*/ 1023 w 1768"/>
                  <a:gd name="T79" fmla="*/ 441 h 885"/>
                  <a:gd name="T80" fmla="*/ 1090 w 1768"/>
                  <a:gd name="T81" fmla="*/ 418 h 885"/>
                  <a:gd name="T82" fmla="*/ 1166 w 1768"/>
                  <a:gd name="T83" fmla="*/ 392 h 885"/>
                  <a:gd name="T84" fmla="*/ 1249 w 1768"/>
                  <a:gd name="T85" fmla="*/ 364 h 885"/>
                  <a:gd name="T86" fmla="*/ 1335 w 1768"/>
                  <a:gd name="T87" fmla="*/ 335 h 885"/>
                  <a:gd name="T88" fmla="*/ 1423 w 1768"/>
                  <a:gd name="T89" fmla="*/ 305 h 885"/>
                  <a:gd name="T90" fmla="*/ 1508 w 1768"/>
                  <a:gd name="T91" fmla="*/ 276 h 885"/>
                  <a:gd name="T92" fmla="*/ 1590 w 1768"/>
                  <a:gd name="T93" fmla="*/ 248 h 885"/>
                  <a:gd name="T94" fmla="*/ 1663 w 1768"/>
                  <a:gd name="T95" fmla="*/ 22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8" h="885">
                    <a:moveTo>
                      <a:pt x="1768" y="285"/>
                    </a:moveTo>
                    <a:lnTo>
                      <a:pt x="1751" y="291"/>
                    </a:lnTo>
                    <a:lnTo>
                      <a:pt x="1731" y="298"/>
                    </a:lnTo>
                    <a:lnTo>
                      <a:pt x="1711" y="305"/>
                    </a:lnTo>
                    <a:lnTo>
                      <a:pt x="1688" y="313"/>
                    </a:lnTo>
                    <a:lnTo>
                      <a:pt x="1665" y="321"/>
                    </a:lnTo>
                    <a:lnTo>
                      <a:pt x="1639" y="330"/>
                    </a:lnTo>
                    <a:lnTo>
                      <a:pt x="1613" y="339"/>
                    </a:lnTo>
                    <a:lnTo>
                      <a:pt x="1585" y="350"/>
                    </a:lnTo>
                    <a:lnTo>
                      <a:pt x="1556" y="360"/>
                    </a:lnTo>
                    <a:lnTo>
                      <a:pt x="1526" y="371"/>
                    </a:lnTo>
                    <a:lnTo>
                      <a:pt x="1495" y="382"/>
                    </a:lnTo>
                    <a:lnTo>
                      <a:pt x="1464" y="394"/>
                    </a:lnTo>
                    <a:lnTo>
                      <a:pt x="1432" y="405"/>
                    </a:lnTo>
                    <a:lnTo>
                      <a:pt x="1400" y="417"/>
                    </a:lnTo>
                    <a:lnTo>
                      <a:pt x="1366" y="429"/>
                    </a:lnTo>
                    <a:lnTo>
                      <a:pt x="1333" y="442"/>
                    </a:lnTo>
                    <a:lnTo>
                      <a:pt x="1300" y="455"/>
                    </a:lnTo>
                    <a:lnTo>
                      <a:pt x="1266" y="467"/>
                    </a:lnTo>
                    <a:lnTo>
                      <a:pt x="1232" y="480"/>
                    </a:lnTo>
                    <a:lnTo>
                      <a:pt x="1198" y="494"/>
                    </a:lnTo>
                    <a:lnTo>
                      <a:pt x="1164" y="506"/>
                    </a:lnTo>
                    <a:lnTo>
                      <a:pt x="1130" y="519"/>
                    </a:lnTo>
                    <a:lnTo>
                      <a:pt x="1097" y="533"/>
                    </a:lnTo>
                    <a:lnTo>
                      <a:pt x="1065" y="546"/>
                    </a:lnTo>
                    <a:lnTo>
                      <a:pt x="1031" y="559"/>
                    </a:lnTo>
                    <a:lnTo>
                      <a:pt x="1000" y="572"/>
                    </a:lnTo>
                    <a:lnTo>
                      <a:pt x="969" y="586"/>
                    </a:lnTo>
                    <a:lnTo>
                      <a:pt x="939" y="599"/>
                    </a:lnTo>
                    <a:lnTo>
                      <a:pt x="909" y="611"/>
                    </a:lnTo>
                    <a:lnTo>
                      <a:pt x="880" y="624"/>
                    </a:lnTo>
                    <a:lnTo>
                      <a:pt x="854" y="635"/>
                    </a:lnTo>
                    <a:lnTo>
                      <a:pt x="827" y="648"/>
                    </a:lnTo>
                    <a:lnTo>
                      <a:pt x="185" y="102"/>
                    </a:lnTo>
                    <a:lnTo>
                      <a:pt x="179" y="99"/>
                    </a:lnTo>
                    <a:lnTo>
                      <a:pt x="173" y="96"/>
                    </a:lnTo>
                    <a:lnTo>
                      <a:pt x="167" y="94"/>
                    </a:lnTo>
                    <a:lnTo>
                      <a:pt x="162" y="94"/>
                    </a:lnTo>
                    <a:lnTo>
                      <a:pt x="156" y="95"/>
                    </a:lnTo>
                    <a:lnTo>
                      <a:pt x="150" y="98"/>
                    </a:lnTo>
                    <a:lnTo>
                      <a:pt x="144" y="101"/>
                    </a:lnTo>
                    <a:lnTo>
                      <a:pt x="140" y="106"/>
                    </a:lnTo>
                    <a:lnTo>
                      <a:pt x="134" y="116"/>
                    </a:lnTo>
                    <a:lnTo>
                      <a:pt x="132" y="129"/>
                    </a:lnTo>
                    <a:lnTo>
                      <a:pt x="135" y="140"/>
                    </a:lnTo>
                    <a:lnTo>
                      <a:pt x="143" y="151"/>
                    </a:lnTo>
                    <a:lnTo>
                      <a:pt x="765" y="678"/>
                    </a:lnTo>
                    <a:lnTo>
                      <a:pt x="738" y="695"/>
                    </a:lnTo>
                    <a:lnTo>
                      <a:pt x="714" y="716"/>
                    </a:lnTo>
                    <a:lnTo>
                      <a:pt x="695" y="740"/>
                    </a:lnTo>
                    <a:lnTo>
                      <a:pt x="680" y="768"/>
                    </a:lnTo>
                    <a:lnTo>
                      <a:pt x="668" y="796"/>
                    </a:lnTo>
                    <a:lnTo>
                      <a:pt x="659" y="825"/>
                    </a:lnTo>
                    <a:lnTo>
                      <a:pt x="655" y="855"/>
                    </a:lnTo>
                    <a:lnTo>
                      <a:pt x="652" y="885"/>
                    </a:lnTo>
                    <a:lnTo>
                      <a:pt x="33" y="290"/>
                    </a:lnTo>
                    <a:lnTo>
                      <a:pt x="24" y="277"/>
                    </a:lnTo>
                    <a:lnTo>
                      <a:pt x="15" y="263"/>
                    </a:lnTo>
                    <a:lnTo>
                      <a:pt x="9" y="247"/>
                    </a:lnTo>
                    <a:lnTo>
                      <a:pt x="4" y="230"/>
                    </a:lnTo>
                    <a:lnTo>
                      <a:pt x="2" y="213"/>
                    </a:lnTo>
                    <a:lnTo>
                      <a:pt x="0" y="193"/>
                    </a:lnTo>
                    <a:lnTo>
                      <a:pt x="2" y="175"/>
                    </a:lnTo>
                    <a:lnTo>
                      <a:pt x="5" y="155"/>
                    </a:lnTo>
                    <a:lnTo>
                      <a:pt x="10" y="138"/>
                    </a:lnTo>
                    <a:lnTo>
                      <a:pt x="15" y="122"/>
                    </a:lnTo>
                    <a:lnTo>
                      <a:pt x="24" y="108"/>
                    </a:lnTo>
                    <a:lnTo>
                      <a:pt x="32" y="94"/>
                    </a:lnTo>
                    <a:lnTo>
                      <a:pt x="42" y="83"/>
                    </a:lnTo>
                    <a:lnTo>
                      <a:pt x="53" y="72"/>
                    </a:lnTo>
                    <a:lnTo>
                      <a:pt x="65" y="64"/>
                    </a:lnTo>
                    <a:lnTo>
                      <a:pt x="79" y="57"/>
                    </a:lnTo>
                    <a:lnTo>
                      <a:pt x="88" y="54"/>
                    </a:lnTo>
                    <a:lnTo>
                      <a:pt x="98" y="49"/>
                    </a:lnTo>
                    <a:lnTo>
                      <a:pt x="111" y="46"/>
                    </a:lnTo>
                    <a:lnTo>
                      <a:pt x="124" y="41"/>
                    </a:lnTo>
                    <a:lnTo>
                      <a:pt x="136" y="36"/>
                    </a:lnTo>
                    <a:lnTo>
                      <a:pt x="150" y="32"/>
                    </a:lnTo>
                    <a:lnTo>
                      <a:pt x="164" y="28"/>
                    </a:lnTo>
                    <a:lnTo>
                      <a:pt x="178" y="24"/>
                    </a:lnTo>
                    <a:lnTo>
                      <a:pt x="188" y="20"/>
                    </a:lnTo>
                    <a:lnTo>
                      <a:pt x="199" y="18"/>
                    </a:lnTo>
                    <a:lnTo>
                      <a:pt x="209" y="15"/>
                    </a:lnTo>
                    <a:lnTo>
                      <a:pt x="219" y="11"/>
                    </a:lnTo>
                    <a:lnTo>
                      <a:pt x="229" y="9"/>
                    </a:lnTo>
                    <a:lnTo>
                      <a:pt x="239" y="5"/>
                    </a:lnTo>
                    <a:lnTo>
                      <a:pt x="248" y="3"/>
                    </a:lnTo>
                    <a:lnTo>
                      <a:pt x="257" y="0"/>
                    </a:lnTo>
                    <a:lnTo>
                      <a:pt x="298" y="33"/>
                    </a:lnTo>
                    <a:lnTo>
                      <a:pt x="340" y="66"/>
                    </a:lnTo>
                    <a:lnTo>
                      <a:pt x="383" y="101"/>
                    </a:lnTo>
                    <a:lnTo>
                      <a:pt x="427" y="137"/>
                    </a:lnTo>
                    <a:lnTo>
                      <a:pt x="470" y="171"/>
                    </a:lnTo>
                    <a:lnTo>
                      <a:pt x="513" y="207"/>
                    </a:lnTo>
                    <a:lnTo>
                      <a:pt x="556" y="240"/>
                    </a:lnTo>
                    <a:lnTo>
                      <a:pt x="596" y="274"/>
                    </a:lnTo>
                    <a:lnTo>
                      <a:pt x="635" y="305"/>
                    </a:lnTo>
                    <a:lnTo>
                      <a:pt x="671" y="335"/>
                    </a:lnTo>
                    <a:lnTo>
                      <a:pt x="704" y="361"/>
                    </a:lnTo>
                    <a:lnTo>
                      <a:pt x="734" y="385"/>
                    </a:lnTo>
                    <a:lnTo>
                      <a:pt x="761" y="407"/>
                    </a:lnTo>
                    <a:lnTo>
                      <a:pt x="782" y="425"/>
                    </a:lnTo>
                    <a:lnTo>
                      <a:pt x="801" y="438"/>
                    </a:lnTo>
                    <a:lnTo>
                      <a:pt x="812" y="449"/>
                    </a:lnTo>
                    <a:lnTo>
                      <a:pt x="823" y="459"/>
                    </a:lnTo>
                    <a:lnTo>
                      <a:pt x="834" y="468"/>
                    </a:lnTo>
                    <a:lnTo>
                      <a:pt x="847" y="475"/>
                    </a:lnTo>
                    <a:lnTo>
                      <a:pt x="858" y="480"/>
                    </a:lnTo>
                    <a:lnTo>
                      <a:pt x="871" y="483"/>
                    </a:lnTo>
                    <a:lnTo>
                      <a:pt x="885" y="483"/>
                    </a:lnTo>
                    <a:lnTo>
                      <a:pt x="898" y="482"/>
                    </a:lnTo>
                    <a:lnTo>
                      <a:pt x="911" y="479"/>
                    </a:lnTo>
                    <a:lnTo>
                      <a:pt x="919" y="476"/>
                    </a:lnTo>
                    <a:lnTo>
                      <a:pt x="929" y="473"/>
                    </a:lnTo>
                    <a:lnTo>
                      <a:pt x="940" y="468"/>
                    </a:lnTo>
                    <a:lnTo>
                      <a:pt x="954" y="464"/>
                    </a:lnTo>
                    <a:lnTo>
                      <a:pt x="969" y="459"/>
                    </a:lnTo>
                    <a:lnTo>
                      <a:pt x="985" y="453"/>
                    </a:lnTo>
                    <a:lnTo>
                      <a:pt x="1004" y="448"/>
                    </a:lnTo>
                    <a:lnTo>
                      <a:pt x="1023" y="441"/>
                    </a:lnTo>
                    <a:lnTo>
                      <a:pt x="1045" y="433"/>
                    </a:lnTo>
                    <a:lnTo>
                      <a:pt x="1067" y="426"/>
                    </a:lnTo>
                    <a:lnTo>
                      <a:pt x="1090" y="418"/>
                    </a:lnTo>
                    <a:lnTo>
                      <a:pt x="1115" y="410"/>
                    </a:lnTo>
                    <a:lnTo>
                      <a:pt x="1141" y="400"/>
                    </a:lnTo>
                    <a:lnTo>
                      <a:pt x="1166" y="392"/>
                    </a:lnTo>
                    <a:lnTo>
                      <a:pt x="1194" y="383"/>
                    </a:lnTo>
                    <a:lnTo>
                      <a:pt x="1221" y="373"/>
                    </a:lnTo>
                    <a:lnTo>
                      <a:pt x="1249" y="364"/>
                    </a:lnTo>
                    <a:lnTo>
                      <a:pt x="1278" y="354"/>
                    </a:lnTo>
                    <a:lnTo>
                      <a:pt x="1306" y="344"/>
                    </a:lnTo>
                    <a:lnTo>
                      <a:pt x="1335" y="335"/>
                    </a:lnTo>
                    <a:lnTo>
                      <a:pt x="1364" y="324"/>
                    </a:lnTo>
                    <a:lnTo>
                      <a:pt x="1394" y="315"/>
                    </a:lnTo>
                    <a:lnTo>
                      <a:pt x="1423" y="305"/>
                    </a:lnTo>
                    <a:lnTo>
                      <a:pt x="1452" y="296"/>
                    </a:lnTo>
                    <a:lnTo>
                      <a:pt x="1480" y="285"/>
                    </a:lnTo>
                    <a:lnTo>
                      <a:pt x="1508" y="276"/>
                    </a:lnTo>
                    <a:lnTo>
                      <a:pt x="1536" y="267"/>
                    </a:lnTo>
                    <a:lnTo>
                      <a:pt x="1563" y="258"/>
                    </a:lnTo>
                    <a:lnTo>
                      <a:pt x="1590" y="248"/>
                    </a:lnTo>
                    <a:lnTo>
                      <a:pt x="1615" y="239"/>
                    </a:lnTo>
                    <a:lnTo>
                      <a:pt x="1639" y="231"/>
                    </a:lnTo>
                    <a:lnTo>
                      <a:pt x="1663" y="223"/>
                    </a:lnTo>
                    <a:lnTo>
                      <a:pt x="1768" y="285"/>
                    </a:lnTo>
                    <a:close/>
                  </a:path>
                </a:pathLst>
              </a:custGeom>
              <a:grpFill/>
              <a:ln>
                <a:noFill/>
              </a:ln>
            </p:spPr>
            <p:txBody>
              <a:bodyPr lIns="78191" tIns="39095" rIns="78191" bIns="39095"/>
              <a:lstStyle/>
              <a:p>
                <a:pPr algn="ctr" defTabSz="871196" rtl="1"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94" name="Freeform 1907">
                <a:extLst>
                  <a:ext uri="{FF2B5EF4-FFF2-40B4-BE49-F238E27FC236}"/>
                </a:extLst>
              </p:cNvPr>
              <p:cNvSpPr>
                <a:spLocks/>
              </p:cNvSpPr>
              <p:nvPr/>
            </p:nvSpPr>
            <p:spPr bwMode="auto">
              <a:xfrm>
                <a:off x="8182745" y="4072161"/>
                <a:ext cx="213912" cy="119481"/>
              </a:xfrm>
              <a:custGeom>
                <a:avLst/>
                <a:gdLst>
                  <a:gd name="T0" fmla="*/ 830 w 886"/>
                  <a:gd name="T1" fmla="*/ 230 h 494"/>
                  <a:gd name="T2" fmla="*/ 822 w 886"/>
                  <a:gd name="T3" fmla="*/ 233 h 494"/>
                  <a:gd name="T4" fmla="*/ 793 w 886"/>
                  <a:gd name="T5" fmla="*/ 243 h 494"/>
                  <a:gd name="T6" fmla="*/ 744 w 886"/>
                  <a:gd name="T7" fmla="*/ 260 h 494"/>
                  <a:gd name="T8" fmla="*/ 689 w 886"/>
                  <a:gd name="T9" fmla="*/ 279 h 494"/>
                  <a:gd name="T10" fmla="*/ 633 w 886"/>
                  <a:gd name="T11" fmla="*/ 297 h 494"/>
                  <a:gd name="T12" fmla="*/ 575 w 886"/>
                  <a:gd name="T13" fmla="*/ 317 h 494"/>
                  <a:gd name="T14" fmla="*/ 517 w 886"/>
                  <a:gd name="T15" fmla="*/ 337 h 494"/>
                  <a:gd name="T16" fmla="*/ 458 w 886"/>
                  <a:gd name="T17" fmla="*/ 357 h 494"/>
                  <a:gd name="T18" fmla="*/ 400 w 886"/>
                  <a:gd name="T19" fmla="*/ 377 h 494"/>
                  <a:gd name="T20" fmla="*/ 345 w 886"/>
                  <a:gd name="T21" fmla="*/ 396 h 494"/>
                  <a:gd name="T22" fmla="*/ 291 w 886"/>
                  <a:gd name="T23" fmla="*/ 415 h 494"/>
                  <a:gd name="T24" fmla="*/ 240 w 886"/>
                  <a:gd name="T25" fmla="*/ 431 h 494"/>
                  <a:gd name="T26" fmla="*/ 194 w 886"/>
                  <a:gd name="T27" fmla="*/ 447 h 494"/>
                  <a:gd name="T28" fmla="*/ 154 w 886"/>
                  <a:gd name="T29" fmla="*/ 461 h 494"/>
                  <a:gd name="T30" fmla="*/ 118 w 886"/>
                  <a:gd name="T31" fmla="*/ 473 h 494"/>
                  <a:gd name="T32" fmla="*/ 89 w 886"/>
                  <a:gd name="T33" fmla="*/ 483 h 494"/>
                  <a:gd name="T34" fmla="*/ 69 w 886"/>
                  <a:gd name="T35" fmla="*/ 491 h 494"/>
                  <a:gd name="T36" fmla="*/ 54 w 886"/>
                  <a:gd name="T37" fmla="*/ 494 h 494"/>
                  <a:gd name="T38" fmla="*/ 42 w 886"/>
                  <a:gd name="T39" fmla="*/ 491 h 494"/>
                  <a:gd name="T40" fmla="*/ 35 w 886"/>
                  <a:gd name="T41" fmla="*/ 485 h 494"/>
                  <a:gd name="T42" fmla="*/ 32 w 886"/>
                  <a:gd name="T43" fmla="*/ 481 h 494"/>
                  <a:gd name="T44" fmla="*/ 30 w 886"/>
                  <a:gd name="T45" fmla="*/ 479 h 494"/>
                  <a:gd name="T46" fmla="*/ 23 w 886"/>
                  <a:gd name="T47" fmla="*/ 469 h 494"/>
                  <a:gd name="T48" fmla="*/ 13 w 886"/>
                  <a:gd name="T49" fmla="*/ 454 h 494"/>
                  <a:gd name="T50" fmla="*/ 5 w 886"/>
                  <a:gd name="T51" fmla="*/ 430 h 494"/>
                  <a:gd name="T52" fmla="*/ 0 w 886"/>
                  <a:gd name="T53" fmla="*/ 382 h 494"/>
                  <a:gd name="T54" fmla="*/ 7 w 886"/>
                  <a:gd name="T55" fmla="*/ 335 h 494"/>
                  <a:gd name="T56" fmla="*/ 32 w 886"/>
                  <a:gd name="T57" fmla="*/ 296 h 494"/>
                  <a:gd name="T58" fmla="*/ 70 w 886"/>
                  <a:gd name="T59" fmla="*/ 274 h 494"/>
                  <a:gd name="T60" fmla="*/ 109 w 886"/>
                  <a:gd name="T61" fmla="*/ 257 h 494"/>
                  <a:gd name="T62" fmla="*/ 152 w 886"/>
                  <a:gd name="T63" fmla="*/ 239 h 494"/>
                  <a:gd name="T64" fmla="*/ 198 w 886"/>
                  <a:gd name="T65" fmla="*/ 221 h 494"/>
                  <a:gd name="T66" fmla="*/ 247 w 886"/>
                  <a:gd name="T67" fmla="*/ 203 h 494"/>
                  <a:gd name="T68" fmla="*/ 298 w 886"/>
                  <a:gd name="T69" fmla="*/ 183 h 494"/>
                  <a:gd name="T70" fmla="*/ 352 w 886"/>
                  <a:gd name="T71" fmla="*/ 165 h 494"/>
                  <a:gd name="T72" fmla="*/ 406 w 886"/>
                  <a:gd name="T73" fmla="*/ 145 h 494"/>
                  <a:gd name="T74" fmla="*/ 461 w 886"/>
                  <a:gd name="T75" fmla="*/ 125 h 494"/>
                  <a:gd name="T76" fmla="*/ 518 w 886"/>
                  <a:gd name="T77" fmla="*/ 107 h 494"/>
                  <a:gd name="T78" fmla="*/ 573 w 886"/>
                  <a:gd name="T79" fmla="*/ 89 h 494"/>
                  <a:gd name="T80" fmla="*/ 628 w 886"/>
                  <a:gd name="T81" fmla="*/ 70 h 494"/>
                  <a:gd name="T82" fmla="*/ 681 w 886"/>
                  <a:gd name="T83" fmla="*/ 53 h 494"/>
                  <a:gd name="T84" fmla="*/ 733 w 886"/>
                  <a:gd name="T85" fmla="*/ 37 h 494"/>
                  <a:gd name="T86" fmla="*/ 783 w 886"/>
                  <a:gd name="T87" fmla="*/ 22 h 494"/>
                  <a:gd name="T88" fmla="*/ 829 w 886"/>
                  <a:gd name="T89" fmla="*/ 7 h 494"/>
                  <a:gd name="T90" fmla="*/ 846 w 886"/>
                  <a:gd name="T91" fmla="*/ 17 h 494"/>
                  <a:gd name="T92" fmla="*/ 842 w 886"/>
                  <a:gd name="T93" fmla="*/ 57 h 494"/>
                  <a:gd name="T94" fmla="*/ 843 w 886"/>
                  <a:gd name="T95" fmla="*/ 102 h 494"/>
                  <a:gd name="T96" fmla="*/ 851 w 886"/>
                  <a:gd name="T97" fmla="*/ 140 h 494"/>
                  <a:gd name="T98" fmla="*/ 863 w 886"/>
                  <a:gd name="T99" fmla="*/ 174 h 494"/>
                  <a:gd name="T100" fmla="*/ 878 w 886"/>
                  <a:gd name="T101" fmla="*/ 201 h 494"/>
                  <a:gd name="T102" fmla="*/ 881 w 886"/>
                  <a:gd name="T103" fmla="*/ 214 h 494"/>
                  <a:gd name="T104" fmla="*/ 868 w 886"/>
                  <a:gd name="T105" fmla="*/ 219 h 494"/>
                  <a:gd name="T106" fmla="*/ 855 w 886"/>
                  <a:gd name="T107" fmla="*/ 222 h 494"/>
                  <a:gd name="T108" fmla="*/ 842 w 886"/>
                  <a:gd name="T109" fmla="*/ 22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6" h="494">
                    <a:moveTo>
                      <a:pt x="835" y="229"/>
                    </a:moveTo>
                    <a:lnTo>
                      <a:pt x="830" y="230"/>
                    </a:lnTo>
                    <a:lnTo>
                      <a:pt x="827" y="231"/>
                    </a:lnTo>
                    <a:lnTo>
                      <a:pt x="822" y="233"/>
                    </a:lnTo>
                    <a:lnTo>
                      <a:pt x="817" y="235"/>
                    </a:lnTo>
                    <a:lnTo>
                      <a:pt x="793" y="243"/>
                    </a:lnTo>
                    <a:lnTo>
                      <a:pt x="769" y="251"/>
                    </a:lnTo>
                    <a:lnTo>
                      <a:pt x="744" y="260"/>
                    </a:lnTo>
                    <a:lnTo>
                      <a:pt x="717" y="269"/>
                    </a:lnTo>
                    <a:lnTo>
                      <a:pt x="689" y="279"/>
                    </a:lnTo>
                    <a:lnTo>
                      <a:pt x="662" y="288"/>
                    </a:lnTo>
                    <a:lnTo>
                      <a:pt x="633" y="297"/>
                    </a:lnTo>
                    <a:lnTo>
                      <a:pt x="605" y="307"/>
                    </a:lnTo>
                    <a:lnTo>
                      <a:pt x="575" y="317"/>
                    </a:lnTo>
                    <a:lnTo>
                      <a:pt x="547" y="327"/>
                    </a:lnTo>
                    <a:lnTo>
                      <a:pt x="517" y="337"/>
                    </a:lnTo>
                    <a:lnTo>
                      <a:pt x="488" y="347"/>
                    </a:lnTo>
                    <a:lnTo>
                      <a:pt x="458" y="357"/>
                    </a:lnTo>
                    <a:lnTo>
                      <a:pt x="429" y="367"/>
                    </a:lnTo>
                    <a:lnTo>
                      <a:pt x="400" y="377"/>
                    </a:lnTo>
                    <a:lnTo>
                      <a:pt x="373" y="386"/>
                    </a:lnTo>
                    <a:lnTo>
                      <a:pt x="345" y="396"/>
                    </a:lnTo>
                    <a:lnTo>
                      <a:pt x="318" y="405"/>
                    </a:lnTo>
                    <a:lnTo>
                      <a:pt x="291" y="415"/>
                    </a:lnTo>
                    <a:lnTo>
                      <a:pt x="266" y="423"/>
                    </a:lnTo>
                    <a:lnTo>
                      <a:pt x="240" y="431"/>
                    </a:lnTo>
                    <a:lnTo>
                      <a:pt x="217" y="439"/>
                    </a:lnTo>
                    <a:lnTo>
                      <a:pt x="194" y="447"/>
                    </a:lnTo>
                    <a:lnTo>
                      <a:pt x="174" y="454"/>
                    </a:lnTo>
                    <a:lnTo>
                      <a:pt x="154" y="461"/>
                    </a:lnTo>
                    <a:lnTo>
                      <a:pt x="136" y="468"/>
                    </a:lnTo>
                    <a:lnTo>
                      <a:pt x="118" y="473"/>
                    </a:lnTo>
                    <a:lnTo>
                      <a:pt x="103" y="478"/>
                    </a:lnTo>
                    <a:lnTo>
                      <a:pt x="89" y="483"/>
                    </a:lnTo>
                    <a:lnTo>
                      <a:pt x="78" y="487"/>
                    </a:lnTo>
                    <a:lnTo>
                      <a:pt x="69" y="491"/>
                    </a:lnTo>
                    <a:lnTo>
                      <a:pt x="61" y="493"/>
                    </a:lnTo>
                    <a:lnTo>
                      <a:pt x="54" y="494"/>
                    </a:lnTo>
                    <a:lnTo>
                      <a:pt x="48" y="493"/>
                    </a:lnTo>
                    <a:lnTo>
                      <a:pt x="42" y="491"/>
                    </a:lnTo>
                    <a:lnTo>
                      <a:pt x="38" y="487"/>
                    </a:lnTo>
                    <a:lnTo>
                      <a:pt x="35" y="485"/>
                    </a:lnTo>
                    <a:lnTo>
                      <a:pt x="34" y="483"/>
                    </a:lnTo>
                    <a:lnTo>
                      <a:pt x="32" y="481"/>
                    </a:lnTo>
                    <a:lnTo>
                      <a:pt x="30" y="479"/>
                    </a:lnTo>
                    <a:lnTo>
                      <a:pt x="30" y="479"/>
                    </a:lnTo>
                    <a:lnTo>
                      <a:pt x="28" y="477"/>
                    </a:lnTo>
                    <a:lnTo>
                      <a:pt x="23" y="469"/>
                    </a:lnTo>
                    <a:lnTo>
                      <a:pt x="17" y="461"/>
                    </a:lnTo>
                    <a:lnTo>
                      <a:pt x="13" y="454"/>
                    </a:lnTo>
                    <a:lnTo>
                      <a:pt x="12" y="450"/>
                    </a:lnTo>
                    <a:lnTo>
                      <a:pt x="5" y="430"/>
                    </a:lnTo>
                    <a:lnTo>
                      <a:pt x="1" y="406"/>
                    </a:lnTo>
                    <a:lnTo>
                      <a:pt x="0" y="382"/>
                    </a:lnTo>
                    <a:lnTo>
                      <a:pt x="2" y="358"/>
                    </a:lnTo>
                    <a:lnTo>
                      <a:pt x="7" y="335"/>
                    </a:lnTo>
                    <a:lnTo>
                      <a:pt x="17" y="313"/>
                    </a:lnTo>
                    <a:lnTo>
                      <a:pt x="32" y="296"/>
                    </a:lnTo>
                    <a:lnTo>
                      <a:pt x="53" y="282"/>
                    </a:lnTo>
                    <a:lnTo>
                      <a:pt x="70" y="274"/>
                    </a:lnTo>
                    <a:lnTo>
                      <a:pt x="89" y="266"/>
                    </a:lnTo>
                    <a:lnTo>
                      <a:pt x="109" y="257"/>
                    </a:lnTo>
                    <a:lnTo>
                      <a:pt x="130" y="248"/>
                    </a:lnTo>
                    <a:lnTo>
                      <a:pt x="152" y="239"/>
                    </a:lnTo>
                    <a:lnTo>
                      <a:pt x="175" y="230"/>
                    </a:lnTo>
                    <a:lnTo>
                      <a:pt x="198" y="221"/>
                    </a:lnTo>
                    <a:lnTo>
                      <a:pt x="222" y="212"/>
                    </a:lnTo>
                    <a:lnTo>
                      <a:pt x="247" y="203"/>
                    </a:lnTo>
                    <a:lnTo>
                      <a:pt x="273" y="192"/>
                    </a:lnTo>
                    <a:lnTo>
                      <a:pt x="298" y="183"/>
                    </a:lnTo>
                    <a:lnTo>
                      <a:pt x="324" y="174"/>
                    </a:lnTo>
                    <a:lnTo>
                      <a:pt x="352" y="165"/>
                    </a:lnTo>
                    <a:lnTo>
                      <a:pt x="379" y="154"/>
                    </a:lnTo>
                    <a:lnTo>
                      <a:pt x="406" y="145"/>
                    </a:lnTo>
                    <a:lnTo>
                      <a:pt x="434" y="136"/>
                    </a:lnTo>
                    <a:lnTo>
                      <a:pt x="461" y="125"/>
                    </a:lnTo>
                    <a:lnTo>
                      <a:pt x="490" y="116"/>
                    </a:lnTo>
                    <a:lnTo>
                      <a:pt x="518" y="107"/>
                    </a:lnTo>
                    <a:lnTo>
                      <a:pt x="546" y="98"/>
                    </a:lnTo>
                    <a:lnTo>
                      <a:pt x="573" y="89"/>
                    </a:lnTo>
                    <a:lnTo>
                      <a:pt x="601" y="79"/>
                    </a:lnTo>
                    <a:lnTo>
                      <a:pt x="628" y="70"/>
                    </a:lnTo>
                    <a:lnTo>
                      <a:pt x="655" y="62"/>
                    </a:lnTo>
                    <a:lnTo>
                      <a:pt x="681" y="53"/>
                    </a:lnTo>
                    <a:lnTo>
                      <a:pt x="708" y="45"/>
                    </a:lnTo>
                    <a:lnTo>
                      <a:pt x="733" y="37"/>
                    </a:lnTo>
                    <a:lnTo>
                      <a:pt x="759" y="29"/>
                    </a:lnTo>
                    <a:lnTo>
                      <a:pt x="783" y="22"/>
                    </a:lnTo>
                    <a:lnTo>
                      <a:pt x="806" y="14"/>
                    </a:lnTo>
                    <a:lnTo>
                      <a:pt x="829" y="7"/>
                    </a:lnTo>
                    <a:lnTo>
                      <a:pt x="851" y="0"/>
                    </a:lnTo>
                    <a:lnTo>
                      <a:pt x="846" y="17"/>
                    </a:lnTo>
                    <a:lnTo>
                      <a:pt x="843" y="37"/>
                    </a:lnTo>
                    <a:lnTo>
                      <a:pt x="842" y="57"/>
                    </a:lnTo>
                    <a:lnTo>
                      <a:pt x="840" y="81"/>
                    </a:lnTo>
                    <a:lnTo>
                      <a:pt x="843" y="102"/>
                    </a:lnTo>
                    <a:lnTo>
                      <a:pt x="846" y="122"/>
                    </a:lnTo>
                    <a:lnTo>
                      <a:pt x="851" y="140"/>
                    </a:lnTo>
                    <a:lnTo>
                      <a:pt x="856" y="158"/>
                    </a:lnTo>
                    <a:lnTo>
                      <a:pt x="863" y="174"/>
                    </a:lnTo>
                    <a:lnTo>
                      <a:pt x="871" y="189"/>
                    </a:lnTo>
                    <a:lnTo>
                      <a:pt x="878" y="201"/>
                    </a:lnTo>
                    <a:lnTo>
                      <a:pt x="886" y="212"/>
                    </a:lnTo>
                    <a:lnTo>
                      <a:pt x="881" y="214"/>
                    </a:lnTo>
                    <a:lnTo>
                      <a:pt x="874" y="216"/>
                    </a:lnTo>
                    <a:lnTo>
                      <a:pt x="868" y="219"/>
                    </a:lnTo>
                    <a:lnTo>
                      <a:pt x="861" y="220"/>
                    </a:lnTo>
                    <a:lnTo>
                      <a:pt x="855" y="222"/>
                    </a:lnTo>
                    <a:lnTo>
                      <a:pt x="848" y="225"/>
                    </a:lnTo>
                    <a:lnTo>
                      <a:pt x="842" y="227"/>
                    </a:lnTo>
                    <a:lnTo>
                      <a:pt x="835" y="229"/>
                    </a:lnTo>
                    <a:close/>
                  </a:path>
                </a:pathLst>
              </a:custGeom>
              <a:grpFill/>
              <a:ln>
                <a:noFill/>
              </a:ln>
            </p:spPr>
            <p:txBody>
              <a:bodyPr lIns="78191" tIns="39095" rIns="78191" bIns="39095"/>
              <a:lstStyle/>
              <a:p>
                <a:pPr algn="ctr" defTabSz="871196" rtl="1"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grpSp>
      </p:grpSp>
      <p:grpSp>
        <p:nvGrpSpPr>
          <p:cNvPr id="75818" name="Group 94"/>
          <p:cNvGrpSpPr>
            <a:grpSpLocks/>
          </p:cNvGrpSpPr>
          <p:nvPr/>
        </p:nvGrpSpPr>
        <p:grpSpPr bwMode="auto">
          <a:xfrm flipH="1">
            <a:off x="4787900" y="4048125"/>
            <a:ext cx="300038" cy="307975"/>
            <a:chOff x="6076768" y="5791038"/>
            <a:chExt cx="365760" cy="365760"/>
          </a:xfrm>
        </p:grpSpPr>
        <p:sp>
          <p:nvSpPr>
            <p:cNvPr id="96" name="Oval 95">
              <a:extLst>
                <a:ext uri="{FF2B5EF4-FFF2-40B4-BE49-F238E27FC236}"/>
              </a:extLst>
            </p:cNvPr>
            <p:cNvSpPr/>
            <p:nvPr/>
          </p:nvSpPr>
          <p:spPr bwMode="ltGray">
            <a:xfrm>
              <a:off x="6076768" y="5791038"/>
              <a:ext cx="365760" cy="365760"/>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71196" rtl="1" eaLnBrk="1" fontAlgn="auto" hangingPunct="1">
                <a:spcBef>
                  <a:spcPts val="0"/>
                </a:spcBef>
                <a:spcAft>
                  <a:spcPts val="0"/>
                </a:spcAft>
                <a:defRPr/>
              </a:pPr>
              <a:endParaRPr lang="ar-SA" sz="1000" dirty="0">
                <a:solidFill>
                  <a:srgbClr val="FFFFFF"/>
                </a:solidFill>
                <a:latin typeface="Traditional Arabic" panose="02020603050405020304" pitchFamily="18" charset="-78"/>
                <a:cs typeface="Traditional Arabic" panose="02020603050405020304" pitchFamily="18" charset="-78"/>
              </a:endParaRPr>
            </a:p>
          </p:txBody>
        </p:sp>
        <p:sp>
          <p:nvSpPr>
            <p:cNvPr id="75840" name="Freeform 11"/>
            <p:cNvSpPr>
              <a:spLocks noEditPoints="1"/>
            </p:cNvSpPr>
            <p:nvPr/>
          </p:nvSpPr>
          <p:spPr bwMode="auto">
            <a:xfrm>
              <a:off x="6169071" y="5891761"/>
              <a:ext cx="186426" cy="114531"/>
            </a:xfrm>
            <a:custGeom>
              <a:avLst/>
              <a:gdLst>
                <a:gd name="T0" fmla="*/ 2147483646 w 223"/>
                <a:gd name="T1" fmla="*/ 0 h 137"/>
                <a:gd name="T2" fmla="*/ 2147483646 w 223"/>
                <a:gd name="T3" fmla="*/ 0 h 137"/>
                <a:gd name="T4" fmla="*/ 2147483646 w 223"/>
                <a:gd name="T5" fmla="*/ 0 h 137"/>
                <a:gd name="T6" fmla="*/ 2147483646 w 223"/>
                <a:gd name="T7" fmla="*/ 0 h 137"/>
                <a:gd name="T8" fmla="*/ 584264936 w 223"/>
                <a:gd name="T9" fmla="*/ 1168533877 h 137"/>
                <a:gd name="T10" fmla="*/ 0 w 223"/>
                <a:gd name="T11" fmla="*/ 2147483646 h 137"/>
                <a:gd name="T12" fmla="*/ 0 w 223"/>
                <a:gd name="T13" fmla="*/ 2147483646 h 137"/>
                <a:gd name="T14" fmla="*/ 0 w 223"/>
                <a:gd name="T15" fmla="*/ 2147483646 h 137"/>
                <a:gd name="T16" fmla="*/ 2147483646 w 223"/>
                <a:gd name="T17" fmla="*/ 2147483646 h 137"/>
                <a:gd name="T18" fmla="*/ 2147483646 w 223"/>
                <a:gd name="T19" fmla="*/ 2147483646 h 137"/>
                <a:gd name="T20" fmla="*/ 2147483646 w 223"/>
                <a:gd name="T21" fmla="*/ 2147483646 h 137"/>
                <a:gd name="T22" fmla="*/ 2147483646 w 223"/>
                <a:gd name="T23" fmla="*/ 2147483646 h 137"/>
                <a:gd name="T24" fmla="*/ 2147483646 w 223"/>
                <a:gd name="T25" fmla="*/ 1168533877 h 137"/>
                <a:gd name="T26" fmla="*/ 2147483646 w 223"/>
                <a:gd name="T27" fmla="*/ 0 h 137"/>
                <a:gd name="T28" fmla="*/ 2147483646 w 223"/>
                <a:gd name="T29" fmla="*/ 0 h 137"/>
                <a:gd name="T30" fmla="*/ 2147483646 w 223"/>
                <a:gd name="T31" fmla="*/ 0 h 137"/>
                <a:gd name="T32" fmla="*/ 2147483646 w 223"/>
                <a:gd name="T33" fmla="*/ 2147483646 h 137"/>
                <a:gd name="T34" fmla="*/ 2147483646 w 223"/>
                <a:gd name="T35" fmla="*/ 2147483646 h 137"/>
                <a:gd name="T36" fmla="*/ 2147483646 w 223"/>
                <a:gd name="T37" fmla="*/ 2147483646 h 137"/>
                <a:gd name="T38" fmla="*/ 2147483646 w 223"/>
                <a:gd name="T39" fmla="*/ 2147483646 h 137"/>
                <a:gd name="T40" fmla="*/ 2147483646 w 223"/>
                <a:gd name="T41" fmla="*/ 2147483646 h 137"/>
                <a:gd name="T42" fmla="*/ 2147483646 w 223"/>
                <a:gd name="T43" fmla="*/ 2147483646 h 137"/>
                <a:gd name="T44" fmla="*/ 2147483646 w 223"/>
                <a:gd name="T45" fmla="*/ 2147483646 h 137"/>
                <a:gd name="T46" fmla="*/ 2147483646 w 223"/>
                <a:gd name="T47" fmla="*/ 2147483646 h 137"/>
                <a:gd name="T48" fmla="*/ 2147483646 w 223"/>
                <a:gd name="T49" fmla="*/ 2147483646 h 137"/>
                <a:gd name="T50" fmla="*/ 2147483646 w 223"/>
                <a:gd name="T51" fmla="*/ 2147483646 h 137"/>
                <a:gd name="T52" fmla="*/ 2147483646 w 223"/>
                <a:gd name="T53" fmla="*/ 2147483646 h 137"/>
                <a:gd name="T54" fmla="*/ 2147483646 w 223"/>
                <a:gd name="T55" fmla="*/ 2147483646 h 137"/>
                <a:gd name="T56" fmla="*/ 2147483646 w 223"/>
                <a:gd name="T57" fmla="*/ 2147483646 h 137"/>
                <a:gd name="T58" fmla="*/ 2147483646 w 223"/>
                <a:gd name="T59" fmla="*/ 2147483646 h 137"/>
                <a:gd name="T60" fmla="*/ 2147483646 w 223"/>
                <a:gd name="T61" fmla="*/ 2147483646 h 1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23" h="137">
                  <a:moveTo>
                    <a:pt x="216" y="0"/>
                  </a:moveTo>
                  <a:lnTo>
                    <a:pt x="7" y="0"/>
                  </a:lnTo>
                  <a:lnTo>
                    <a:pt x="4" y="0"/>
                  </a:lnTo>
                  <a:lnTo>
                    <a:pt x="1" y="2"/>
                  </a:lnTo>
                  <a:lnTo>
                    <a:pt x="0" y="5"/>
                  </a:lnTo>
                  <a:lnTo>
                    <a:pt x="0" y="7"/>
                  </a:lnTo>
                  <a:lnTo>
                    <a:pt x="0" y="137"/>
                  </a:lnTo>
                  <a:lnTo>
                    <a:pt x="223" y="137"/>
                  </a:lnTo>
                  <a:lnTo>
                    <a:pt x="223" y="7"/>
                  </a:lnTo>
                  <a:lnTo>
                    <a:pt x="222" y="5"/>
                  </a:lnTo>
                  <a:lnTo>
                    <a:pt x="220" y="2"/>
                  </a:lnTo>
                  <a:lnTo>
                    <a:pt x="219" y="0"/>
                  </a:lnTo>
                  <a:lnTo>
                    <a:pt x="216" y="0"/>
                  </a:lnTo>
                  <a:close/>
                  <a:moveTo>
                    <a:pt x="216" y="26"/>
                  </a:moveTo>
                  <a:lnTo>
                    <a:pt x="216" y="26"/>
                  </a:lnTo>
                  <a:lnTo>
                    <a:pt x="199" y="38"/>
                  </a:lnTo>
                  <a:lnTo>
                    <a:pt x="176" y="49"/>
                  </a:lnTo>
                  <a:lnTo>
                    <a:pt x="150" y="59"/>
                  </a:lnTo>
                  <a:lnTo>
                    <a:pt x="122" y="69"/>
                  </a:lnTo>
                  <a:lnTo>
                    <a:pt x="93" y="78"/>
                  </a:lnTo>
                  <a:lnTo>
                    <a:pt x="63" y="85"/>
                  </a:lnTo>
                  <a:lnTo>
                    <a:pt x="7" y="98"/>
                  </a:lnTo>
                  <a:lnTo>
                    <a:pt x="7" y="6"/>
                  </a:lnTo>
                  <a:lnTo>
                    <a:pt x="216" y="6"/>
                  </a:lnTo>
                  <a:lnTo>
                    <a:pt x="216" y="10"/>
                  </a:lnTo>
                  <a:lnTo>
                    <a:pt x="2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endParaRPr lang="ar-SA"/>
            </a:p>
          </p:txBody>
        </p:sp>
        <p:sp>
          <p:nvSpPr>
            <p:cNvPr id="75841" name="Freeform 14"/>
            <p:cNvSpPr>
              <a:spLocks noEditPoints="1"/>
            </p:cNvSpPr>
            <p:nvPr/>
          </p:nvSpPr>
          <p:spPr bwMode="auto">
            <a:xfrm>
              <a:off x="6125082" y="6022176"/>
              <a:ext cx="256649" cy="30096"/>
            </a:xfrm>
            <a:custGeom>
              <a:avLst/>
              <a:gdLst>
                <a:gd name="T0" fmla="*/ 2147483646 w 307"/>
                <a:gd name="T1" fmla="*/ 2147483646 h 36"/>
                <a:gd name="T2" fmla="*/ 2147483646 w 307"/>
                <a:gd name="T3" fmla="*/ 2147483646 h 36"/>
                <a:gd name="T4" fmla="*/ 2147483646 w 307"/>
                <a:gd name="T5" fmla="*/ 0 h 36"/>
                <a:gd name="T6" fmla="*/ 2147483646 w 307"/>
                <a:gd name="T7" fmla="*/ 0 h 36"/>
                <a:gd name="T8" fmla="*/ 2147483646 w 307"/>
                <a:gd name="T9" fmla="*/ 0 h 36"/>
                <a:gd name="T10" fmla="*/ 2147483646 w 307"/>
                <a:gd name="T11" fmla="*/ 0 h 36"/>
                <a:gd name="T12" fmla="*/ 0 w 307"/>
                <a:gd name="T13" fmla="*/ 2147483646 h 36"/>
                <a:gd name="T14" fmla="*/ 2147483646 w 307"/>
                <a:gd name="T15" fmla="*/ 2147483646 h 36"/>
                <a:gd name="T16" fmla="*/ 2147483646 w 307"/>
                <a:gd name="T17" fmla="*/ 2147483646 h 36"/>
                <a:gd name="T18" fmla="*/ 2147483646 w 307"/>
                <a:gd name="T19" fmla="*/ 2147483646 h 36"/>
                <a:gd name="T20" fmla="*/ 2147483646 w 307"/>
                <a:gd name="T21" fmla="*/ 2147483646 h 36"/>
                <a:gd name="T22" fmla="*/ 2147483646 w 307"/>
                <a:gd name="T23" fmla="*/ 2147483646 h 36"/>
                <a:gd name="T24" fmla="*/ 2147483646 w 307"/>
                <a:gd name="T25" fmla="*/ 2147483646 h 36"/>
                <a:gd name="T26" fmla="*/ 2147483646 w 307"/>
                <a:gd name="T27" fmla="*/ 2147483646 h 36"/>
                <a:gd name="T28" fmla="*/ 2147483646 w 307"/>
                <a:gd name="T29" fmla="*/ 2147483646 h 36"/>
                <a:gd name="T30" fmla="*/ 2147483646 w 307"/>
                <a:gd name="T31" fmla="*/ 2147483646 h 36"/>
                <a:gd name="T32" fmla="*/ 2147483646 w 307"/>
                <a:gd name="T33" fmla="*/ 2147483646 h 36"/>
                <a:gd name="T34" fmla="*/ 2147483646 w 307"/>
                <a:gd name="T35" fmla="*/ 2147483646 h 36"/>
                <a:gd name="T36" fmla="*/ 2147483646 w 307"/>
                <a:gd name="T37" fmla="*/ 2147483646 h 36"/>
                <a:gd name="T38" fmla="*/ 2147483646 w 307"/>
                <a:gd name="T39" fmla="*/ 2147483646 h 36"/>
                <a:gd name="T40" fmla="*/ 2147483646 w 307"/>
                <a:gd name="T41" fmla="*/ 2147483646 h 36"/>
                <a:gd name="T42" fmla="*/ 2147483646 w 307"/>
                <a:gd name="T43" fmla="*/ 2147483646 h 36"/>
                <a:gd name="T44" fmla="*/ 2147483646 w 307"/>
                <a:gd name="T45" fmla="*/ 2147483646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07" h="36">
                  <a:moveTo>
                    <a:pt x="148" y="36"/>
                  </a:moveTo>
                  <a:lnTo>
                    <a:pt x="307" y="36"/>
                  </a:lnTo>
                  <a:lnTo>
                    <a:pt x="280" y="0"/>
                  </a:lnTo>
                  <a:lnTo>
                    <a:pt x="148" y="0"/>
                  </a:lnTo>
                  <a:lnTo>
                    <a:pt x="131" y="0"/>
                  </a:lnTo>
                  <a:lnTo>
                    <a:pt x="27" y="0"/>
                  </a:lnTo>
                  <a:lnTo>
                    <a:pt x="0" y="36"/>
                  </a:lnTo>
                  <a:lnTo>
                    <a:pt x="131" y="36"/>
                  </a:lnTo>
                  <a:lnTo>
                    <a:pt x="148" y="36"/>
                  </a:lnTo>
                  <a:close/>
                  <a:moveTo>
                    <a:pt x="49" y="9"/>
                  </a:moveTo>
                  <a:lnTo>
                    <a:pt x="258" y="9"/>
                  </a:lnTo>
                  <a:lnTo>
                    <a:pt x="265" y="19"/>
                  </a:lnTo>
                  <a:lnTo>
                    <a:pt x="40" y="19"/>
                  </a:lnTo>
                  <a:lnTo>
                    <a:pt x="49" y="9"/>
                  </a:lnTo>
                  <a:close/>
                  <a:moveTo>
                    <a:pt x="125" y="21"/>
                  </a:moveTo>
                  <a:lnTo>
                    <a:pt x="148" y="21"/>
                  </a:lnTo>
                  <a:lnTo>
                    <a:pt x="153" y="21"/>
                  </a:lnTo>
                  <a:lnTo>
                    <a:pt x="182" y="21"/>
                  </a:lnTo>
                  <a:lnTo>
                    <a:pt x="187" y="30"/>
                  </a:lnTo>
                  <a:lnTo>
                    <a:pt x="153" y="30"/>
                  </a:lnTo>
                  <a:lnTo>
                    <a:pt x="148" y="30"/>
                  </a:lnTo>
                  <a:lnTo>
                    <a:pt x="120" y="30"/>
                  </a:lnTo>
                  <a:lnTo>
                    <a:pt x="125" y="2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endParaRPr lang="ar-SA"/>
            </a:p>
          </p:txBody>
        </p:sp>
      </p:grpSp>
      <p:grpSp>
        <p:nvGrpSpPr>
          <p:cNvPr id="75819" name="Group 98"/>
          <p:cNvGrpSpPr>
            <a:grpSpLocks/>
          </p:cNvGrpSpPr>
          <p:nvPr/>
        </p:nvGrpSpPr>
        <p:grpSpPr bwMode="auto">
          <a:xfrm flipH="1">
            <a:off x="4787900" y="4518025"/>
            <a:ext cx="300038" cy="307975"/>
            <a:chOff x="3237709" y="5513539"/>
            <a:chExt cx="365760" cy="365760"/>
          </a:xfrm>
        </p:grpSpPr>
        <p:sp>
          <p:nvSpPr>
            <p:cNvPr id="100" name="Oval 99">
              <a:extLst>
                <a:ext uri="{FF2B5EF4-FFF2-40B4-BE49-F238E27FC236}"/>
              </a:extLst>
            </p:cNvPr>
            <p:cNvSpPr/>
            <p:nvPr/>
          </p:nvSpPr>
          <p:spPr bwMode="ltGray">
            <a:xfrm>
              <a:off x="3237709" y="5513539"/>
              <a:ext cx="365760" cy="365760"/>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71196" rtl="1" eaLnBrk="1" fontAlgn="auto" hangingPunct="1">
                <a:spcBef>
                  <a:spcPts val="0"/>
                </a:spcBef>
                <a:spcAft>
                  <a:spcPts val="0"/>
                </a:spcAft>
                <a:defRPr/>
              </a:pPr>
              <a:endParaRPr lang="ar-SA" sz="1000" dirty="0">
                <a:solidFill>
                  <a:srgbClr val="FFFFFF"/>
                </a:solidFill>
                <a:latin typeface="Traditional Arabic" panose="02020603050405020304" pitchFamily="18" charset="-78"/>
                <a:cs typeface="Traditional Arabic" panose="02020603050405020304" pitchFamily="18" charset="-78"/>
              </a:endParaRPr>
            </a:p>
          </p:txBody>
        </p:sp>
        <p:grpSp>
          <p:nvGrpSpPr>
            <p:cNvPr id="101" name="Group 75">
              <a:extLst>
                <a:ext uri="{FF2B5EF4-FFF2-40B4-BE49-F238E27FC236}"/>
              </a:extLst>
            </p:cNvPr>
            <p:cNvGrpSpPr>
              <a:grpSpLocks/>
            </p:cNvGrpSpPr>
            <p:nvPr/>
          </p:nvGrpSpPr>
          <p:grpSpPr bwMode="auto">
            <a:xfrm>
              <a:off x="3276589" y="5522885"/>
              <a:ext cx="288000" cy="287999"/>
              <a:chOff x="160" y="1544"/>
              <a:chExt cx="351" cy="378"/>
            </a:xfrm>
            <a:solidFill>
              <a:schemeClr val="bg1"/>
            </a:solidFill>
          </p:grpSpPr>
          <p:sp>
            <p:nvSpPr>
              <p:cNvPr id="102" name="Freeform 76">
                <a:extLst>
                  <a:ext uri="{FF2B5EF4-FFF2-40B4-BE49-F238E27FC236}"/>
                </a:extLst>
              </p:cNvPr>
              <p:cNvSpPr>
                <a:spLocks noEditPoints="1"/>
              </p:cNvSpPr>
              <p:nvPr/>
            </p:nvSpPr>
            <p:spPr bwMode="auto">
              <a:xfrm>
                <a:off x="254" y="1811"/>
                <a:ext cx="24" cy="26"/>
              </a:xfrm>
              <a:custGeom>
                <a:avLst/>
                <a:gdLst>
                  <a:gd name="T0" fmla="*/ 12 w 10"/>
                  <a:gd name="T1" fmla="*/ 26 h 11"/>
                  <a:gd name="T2" fmla="*/ 24 w 10"/>
                  <a:gd name="T3" fmla="*/ 14 h 11"/>
                  <a:gd name="T4" fmla="*/ 12 w 10"/>
                  <a:gd name="T5" fmla="*/ 0 h 11"/>
                  <a:gd name="T6" fmla="*/ 0 w 10"/>
                  <a:gd name="T7" fmla="*/ 14 h 11"/>
                  <a:gd name="T8" fmla="*/ 12 w 10"/>
                  <a:gd name="T9" fmla="*/ 26 h 11"/>
                  <a:gd name="T10" fmla="*/ 12 w 10"/>
                  <a:gd name="T11" fmla="*/ 7 h 11"/>
                  <a:gd name="T12" fmla="*/ 19 w 10"/>
                  <a:gd name="T13" fmla="*/ 14 h 11"/>
                  <a:gd name="T14" fmla="*/ 12 w 10"/>
                  <a:gd name="T15" fmla="*/ 19 h 11"/>
                  <a:gd name="T16" fmla="*/ 5 w 10"/>
                  <a:gd name="T17" fmla="*/ 14 h 11"/>
                  <a:gd name="T18" fmla="*/ 12 w 10"/>
                  <a:gd name="T19" fmla="*/ 7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11">
                    <a:moveTo>
                      <a:pt x="5" y="11"/>
                    </a:moveTo>
                    <a:cubicBezTo>
                      <a:pt x="8" y="11"/>
                      <a:pt x="10" y="9"/>
                      <a:pt x="10" y="6"/>
                    </a:cubicBezTo>
                    <a:cubicBezTo>
                      <a:pt x="10" y="3"/>
                      <a:pt x="8" y="0"/>
                      <a:pt x="5" y="0"/>
                    </a:cubicBezTo>
                    <a:cubicBezTo>
                      <a:pt x="2" y="0"/>
                      <a:pt x="0" y="3"/>
                      <a:pt x="0" y="6"/>
                    </a:cubicBezTo>
                    <a:cubicBezTo>
                      <a:pt x="0" y="9"/>
                      <a:pt x="2" y="11"/>
                      <a:pt x="5" y="11"/>
                    </a:cubicBezTo>
                    <a:close/>
                    <a:moveTo>
                      <a:pt x="5" y="3"/>
                    </a:moveTo>
                    <a:cubicBezTo>
                      <a:pt x="6" y="3"/>
                      <a:pt x="8" y="4"/>
                      <a:pt x="8" y="6"/>
                    </a:cubicBezTo>
                    <a:cubicBezTo>
                      <a:pt x="8" y="7"/>
                      <a:pt x="6" y="8"/>
                      <a:pt x="5" y="8"/>
                    </a:cubicBezTo>
                    <a:cubicBezTo>
                      <a:pt x="3" y="8"/>
                      <a:pt x="2" y="7"/>
                      <a:pt x="2" y="6"/>
                    </a:cubicBezTo>
                    <a:cubicBezTo>
                      <a:pt x="2" y="4"/>
                      <a:pt x="3"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103" name="Freeform 77">
                <a:extLst>
                  <a:ext uri="{FF2B5EF4-FFF2-40B4-BE49-F238E27FC236}"/>
                </a:extLst>
              </p:cNvPr>
              <p:cNvSpPr>
                <a:spLocks/>
              </p:cNvSpPr>
              <p:nvPr/>
            </p:nvSpPr>
            <p:spPr bwMode="auto">
              <a:xfrm>
                <a:off x="160" y="1743"/>
                <a:ext cx="351" cy="179"/>
              </a:xfrm>
              <a:custGeom>
                <a:avLst/>
                <a:gdLst>
                  <a:gd name="T0" fmla="*/ 250 w 149"/>
                  <a:gd name="T1" fmla="*/ 24 h 76"/>
                  <a:gd name="T2" fmla="*/ 252 w 149"/>
                  <a:gd name="T3" fmla="*/ 45 h 76"/>
                  <a:gd name="T4" fmla="*/ 273 w 149"/>
                  <a:gd name="T5" fmla="*/ 61 h 76"/>
                  <a:gd name="T6" fmla="*/ 269 w 149"/>
                  <a:gd name="T7" fmla="*/ 127 h 76"/>
                  <a:gd name="T8" fmla="*/ 273 w 149"/>
                  <a:gd name="T9" fmla="*/ 137 h 76"/>
                  <a:gd name="T10" fmla="*/ 261 w 149"/>
                  <a:gd name="T11" fmla="*/ 146 h 76"/>
                  <a:gd name="T12" fmla="*/ 250 w 149"/>
                  <a:gd name="T13" fmla="*/ 134 h 76"/>
                  <a:gd name="T14" fmla="*/ 259 w 149"/>
                  <a:gd name="T15" fmla="*/ 125 h 76"/>
                  <a:gd name="T16" fmla="*/ 266 w 149"/>
                  <a:gd name="T17" fmla="*/ 66 h 76"/>
                  <a:gd name="T18" fmla="*/ 243 w 149"/>
                  <a:gd name="T19" fmla="*/ 54 h 76"/>
                  <a:gd name="T20" fmla="*/ 224 w 149"/>
                  <a:gd name="T21" fmla="*/ 64 h 76"/>
                  <a:gd name="T22" fmla="*/ 207 w 149"/>
                  <a:gd name="T23" fmla="*/ 118 h 76"/>
                  <a:gd name="T24" fmla="*/ 212 w 149"/>
                  <a:gd name="T25" fmla="*/ 127 h 76"/>
                  <a:gd name="T26" fmla="*/ 203 w 149"/>
                  <a:gd name="T27" fmla="*/ 137 h 76"/>
                  <a:gd name="T28" fmla="*/ 191 w 149"/>
                  <a:gd name="T29" fmla="*/ 125 h 76"/>
                  <a:gd name="T30" fmla="*/ 198 w 149"/>
                  <a:gd name="T31" fmla="*/ 115 h 76"/>
                  <a:gd name="T32" fmla="*/ 217 w 149"/>
                  <a:gd name="T33" fmla="*/ 57 h 76"/>
                  <a:gd name="T34" fmla="*/ 243 w 149"/>
                  <a:gd name="T35" fmla="*/ 45 h 76"/>
                  <a:gd name="T36" fmla="*/ 245 w 149"/>
                  <a:gd name="T37" fmla="*/ 45 h 76"/>
                  <a:gd name="T38" fmla="*/ 238 w 149"/>
                  <a:gd name="T39" fmla="*/ 16 h 76"/>
                  <a:gd name="T40" fmla="*/ 177 w 149"/>
                  <a:gd name="T41" fmla="*/ 0 h 76"/>
                  <a:gd name="T42" fmla="*/ 113 w 149"/>
                  <a:gd name="T43" fmla="*/ 19 h 76"/>
                  <a:gd name="T44" fmla="*/ 108 w 149"/>
                  <a:gd name="T45" fmla="*/ 24 h 76"/>
                  <a:gd name="T46" fmla="*/ 101 w 149"/>
                  <a:gd name="T47" fmla="*/ 61 h 76"/>
                  <a:gd name="T48" fmla="*/ 106 w 149"/>
                  <a:gd name="T49" fmla="*/ 59 h 76"/>
                  <a:gd name="T50" fmla="*/ 127 w 149"/>
                  <a:gd name="T51" fmla="*/ 82 h 76"/>
                  <a:gd name="T52" fmla="*/ 106 w 149"/>
                  <a:gd name="T53" fmla="*/ 104 h 76"/>
                  <a:gd name="T54" fmla="*/ 82 w 149"/>
                  <a:gd name="T55" fmla="*/ 82 h 76"/>
                  <a:gd name="T56" fmla="*/ 94 w 149"/>
                  <a:gd name="T57" fmla="*/ 64 h 76"/>
                  <a:gd name="T58" fmla="*/ 99 w 149"/>
                  <a:gd name="T59" fmla="*/ 26 h 76"/>
                  <a:gd name="T60" fmla="*/ 0 w 149"/>
                  <a:gd name="T61" fmla="*/ 179 h 76"/>
                  <a:gd name="T62" fmla="*/ 66 w 149"/>
                  <a:gd name="T63" fmla="*/ 179 h 76"/>
                  <a:gd name="T64" fmla="*/ 78 w 149"/>
                  <a:gd name="T65" fmla="*/ 158 h 76"/>
                  <a:gd name="T66" fmla="*/ 80 w 149"/>
                  <a:gd name="T67" fmla="*/ 179 h 76"/>
                  <a:gd name="T68" fmla="*/ 283 w 149"/>
                  <a:gd name="T69" fmla="*/ 179 h 76"/>
                  <a:gd name="T70" fmla="*/ 287 w 149"/>
                  <a:gd name="T71" fmla="*/ 158 h 76"/>
                  <a:gd name="T72" fmla="*/ 297 w 149"/>
                  <a:gd name="T73" fmla="*/ 179 h 76"/>
                  <a:gd name="T74" fmla="*/ 351 w 149"/>
                  <a:gd name="T75" fmla="*/ 179 h 76"/>
                  <a:gd name="T76" fmla="*/ 250 w 149"/>
                  <a:gd name="T77" fmla="*/ 24 h 7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9" h="76">
                    <a:moveTo>
                      <a:pt x="106" y="10"/>
                    </a:moveTo>
                    <a:cubicBezTo>
                      <a:pt x="107" y="13"/>
                      <a:pt x="107" y="16"/>
                      <a:pt x="107" y="19"/>
                    </a:cubicBezTo>
                    <a:cubicBezTo>
                      <a:pt x="111" y="20"/>
                      <a:pt x="114" y="22"/>
                      <a:pt x="116" y="26"/>
                    </a:cubicBezTo>
                    <a:cubicBezTo>
                      <a:pt x="120" y="32"/>
                      <a:pt x="119" y="43"/>
                      <a:pt x="114" y="54"/>
                    </a:cubicBezTo>
                    <a:cubicBezTo>
                      <a:pt x="115" y="55"/>
                      <a:pt x="116" y="57"/>
                      <a:pt x="116" y="58"/>
                    </a:cubicBezTo>
                    <a:cubicBezTo>
                      <a:pt x="115" y="61"/>
                      <a:pt x="113" y="62"/>
                      <a:pt x="111" y="62"/>
                    </a:cubicBezTo>
                    <a:cubicBezTo>
                      <a:pt x="108" y="62"/>
                      <a:pt x="106" y="60"/>
                      <a:pt x="106" y="57"/>
                    </a:cubicBezTo>
                    <a:cubicBezTo>
                      <a:pt x="106" y="55"/>
                      <a:pt x="108" y="54"/>
                      <a:pt x="110" y="53"/>
                    </a:cubicBezTo>
                    <a:cubicBezTo>
                      <a:pt x="115" y="43"/>
                      <a:pt x="116" y="33"/>
                      <a:pt x="113" y="28"/>
                    </a:cubicBezTo>
                    <a:cubicBezTo>
                      <a:pt x="111" y="25"/>
                      <a:pt x="108" y="23"/>
                      <a:pt x="103" y="23"/>
                    </a:cubicBezTo>
                    <a:cubicBezTo>
                      <a:pt x="100" y="23"/>
                      <a:pt x="97" y="24"/>
                      <a:pt x="95" y="27"/>
                    </a:cubicBezTo>
                    <a:cubicBezTo>
                      <a:pt x="89" y="33"/>
                      <a:pt x="88" y="44"/>
                      <a:pt x="88" y="50"/>
                    </a:cubicBezTo>
                    <a:cubicBezTo>
                      <a:pt x="90" y="51"/>
                      <a:pt x="91" y="52"/>
                      <a:pt x="90" y="54"/>
                    </a:cubicBezTo>
                    <a:cubicBezTo>
                      <a:pt x="90" y="56"/>
                      <a:pt x="88" y="58"/>
                      <a:pt x="86" y="58"/>
                    </a:cubicBezTo>
                    <a:cubicBezTo>
                      <a:pt x="83" y="58"/>
                      <a:pt x="81" y="56"/>
                      <a:pt x="81" y="53"/>
                    </a:cubicBezTo>
                    <a:cubicBezTo>
                      <a:pt x="81" y="51"/>
                      <a:pt x="83" y="50"/>
                      <a:pt x="84" y="49"/>
                    </a:cubicBezTo>
                    <a:cubicBezTo>
                      <a:pt x="84" y="43"/>
                      <a:pt x="86" y="31"/>
                      <a:pt x="92" y="24"/>
                    </a:cubicBezTo>
                    <a:cubicBezTo>
                      <a:pt x="95" y="21"/>
                      <a:pt x="99" y="19"/>
                      <a:pt x="103" y="19"/>
                    </a:cubicBezTo>
                    <a:cubicBezTo>
                      <a:pt x="103" y="19"/>
                      <a:pt x="104" y="19"/>
                      <a:pt x="104" y="19"/>
                    </a:cubicBezTo>
                    <a:cubicBezTo>
                      <a:pt x="104" y="14"/>
                      <a:pt x="103" y="10"/>
                      <a:pt x="101" y="7"/>
                    </a:cubicBezTo>
                    <a:cubicBezTo>
                      <a:pt x="93" y="3"/>
                      <a:pt x="84" y="0"/>
                      <a:pt x="75" y="0"/>
                    </a:cubicBezTo>
                    <a:cubicBezTo>
                      <a:pt x="65" y="0"/>
                      <a:pt x="56" y="3"/>
                      <a:pt x="48" y="8"/>
                    </a:cubicBezTo>
                    <a:cubicBezTo>
                      <a:pt x="47" y="8"/>
                      <a:pt x="47" y="9"/>
                      <a:pt x="46" y="10"/>
                    </a:cubicBezTo>
                    <a:cubicBezTo>
                      <a:pt x="43" y="15"/>
                      <a:pt x="41" y="21"/>
                      <a:pt x="43" y="26"/>
                    </a:cubicBezTo>
                    <a:cubicBezTo>
                      <a:pt x="44" y="25"/>
                      <a:pt x="44" y="25"/>
                      <a:pt x="45" y="25"/>
                    </a:cubicBezTo>
                    <a:cubicBezTo>
                      <a:pt x="50" y="25"/>
                      <a:pt x="54" y="30"/>
                      <a:pt x="54" y="35"/>
                    </a:cubicBezTo>
                    <a:cubicBezTo>
                      <a:pt x="54" y="40"/>
                      <a:pt x="50" y="44"/>
                      <a:pt x="45" y="44"/>
                    </a:cubicBezTo>
                    <a:cubicBezTo>
                      <a:pt x="40" y="44"/>
                      <a:pt x="35" y="40"/>
                      <a:pt x="35" y="35"/>
                    </a:cubicBezTo>
                    <a:cubicBezTo>
                      <a:pt x="35" y="31"/>
                      <a:pt x="37" y="28"/>
                      <a:pt x="40" y="27"/>
                    </a:cubicBezTo>
                    <a:cubicBezTo>
                      <a:pt x="38" y="22"/>
                      <a:pt x="39" y="17"/>
                      <a:pt x="42" y="11"/>
                    </a:cubicBezTo>
                    <a:cubicBezTo>
                      <a:pt x="23" y="25"/>
                      <a:pt x="8" y="49"/>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41" y="48"/>
                      <a:pt x="126" y="23"/>
                      <a:pt x="10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104" name="Freeform 78">
                <a:extLst>
                  <a:ext uri="{FF2B5EF4-FFF2-40B4-BE49-F238E27FC236}"/>
                </a:extLst>
              </p:cNvPr>
              <p:cNvSpPr>
                <a:spLocks/>
              </p:cNvSpPr>
              <p:nvPr/>
            </p:nvSpPr>
            <p:spPr bwMode="auto">
              <a:xfrm>
                <a:off x="261" y="1544"/>
                <a:ext cx="137" cy="55"/>
              </a:xfrm>
              <a:custGeom>
                <a:avLst/>
                <a:gdLst>
                  <a:gd name="T0" fmla="*/ 69 w 58"/>
                  <a:gd name="T1" fmla="*/ 31 h 23"/>
                  <a:gd name="T2" fmla="*/ 99 w 58"/>
                  <a:gd name="T3" fmla="*/ 55 h 23"/>
                  <a:gd name="T4" fmla="*/ 137 w 58"/>
                  <a:gd name="T5" fmla="*/ 55 h 23"/>
                  <a:gd name="T6" fmla="*/ 69 w 58"/>
                  <a:gd name="T7" fmla="*/ 0 h 23"/>
                  <a:gd name="T8" fmla="*/ 0 w 58"/>
                  <a:gd name="T9" fmla="*/ 55 h 23"/>
                  <a:gd name="T10" fmla="*/ 38 w 58"/>
                  <a:gd name="T11" fmla="*/ 55 h 23"/>
                  <a:gd name="T12" fmla="*/ 69 w 58"/>
                  <a:gd name="T13" fmla="*/ 31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8" h="23">
                    <a:moveTo>
                      <a:pt x="29" y="13"/>
                    </a:moveTo>
                    <a:cubicBezTo>
                      <a:pt x="35" y="13"/>
                      <a:pt x="40" y="18"/>
                      <a:pt x="42" y="23"/>
                    </a:cubicBezTo>
                    <a:cubicBezTo>
                      <a:pt x="58" y="23"/>
                      <a:pt x="58" y="23"/>
                      <a:pt x="58" y="23"/>
                    </a:cubicBezTo>
                    <a:cubicBezTo>
                      <a:pt x="53" y="10"/>
                      <a:pt x="42" y="0"/>
                      <a:pt x="29" y="0"/>
                    </a:cubicBezTo>
                    <a:cubicBezTo>
                      <a:pt x="16" y="0"/>
                      <a:pt x="5" y="10"/>
                      <a:pt x="0" y="23"/>
                    </a:cubicBezTo>
                    <a:cubicBezTo>
                      <a:pt x="16" y="23"/>
                      <a:pt x="16" y="23"/>
                      <a:pt x="16" y="23"/>
                    </a:cubicBezTo>
                    <a:cubicBezTo>
                      <a:pt x="18" y="18"/>
                      <a:pt x="23" y="13"/>
                      <a:pt x="2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105" name="Freeform 79">
                <a:extLst>
                  <a:ext uri="{FF2B5EF4-FFF2-40B4-BE49-F238E27FC236}"/>
                </a:extLst>
              </p:cNvPr>
              <p:cNvSpPr>
                <a:spLocks noEditPoints="1"/>
              </p:cNvSpPr>
              <p:nvPr/>
            </p:nvSpPr>
            <p:spPr bwMode="auto">
              <a:xfrm>
                <a:off x="306" y="1584"/>
                <a:ext cx="47" cy="48"/>
              </a:xfrm>
              <a:custGeom>
                <a:avLst/>
                <a:gdLst>
                  <a:gd name="T0" fmla="*/ 24 w 20"/>
                  <a:gd name="T1" fmla="*/ 0 h 20"/>
                  <a:gd name="T2" fmla="*/ 0 w 20"/>
                  <a:gd name="T3" fmla="*/ 24 h 20"/>
                  <a:gd name="T4" fmla="*/ 24 w 20"/>
                  <a:gd name="T5" fmla="*/ 48 h 20"/>
                  <a:gd name="T6" fmla="*/ 47 w 20"/>
                  <a:gd name="T7" fmla="*/ 24 h 20"/>
                  <a:gd name="T8" fmla="*/ 24 w 20"/>
                  <a:gd name="T9" fmla="*/ 0 h 20"/>
                  <a:gd name="T10" fmla="*/ 24 w 20"/>
                  <a:gd name="T11" fmla="*/ 43 h 20"/>
                  <a:gd name="T12" fmla="*/ 7 w 20"/>
                  <a:gd name="T13" fmla="*/ 24 h 20"/>
                  <a:gd name="T14" fmla="*/ 24 w 20"/>
                  <a:gd name="T15" fmla="*/ 5 h 20"/>
                  <a:gd name="T16" fmla="*/ 42 w 20"/>
                  <a:gd name="T17" fmla="*/ 24 h 20"/>
                  <a:gd name="T18" fmla="*/ 24 w 20"/>
                  <a:gd name="T19" fmla="*/ 43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18"/>
                    </a:moveTo>
                    <a:cubicBezTo>
                      <a:pt x="6" y="18"/>
                      <a:pt x="3" y="14"/>
                      <a:pt x="3" y="10"/>
                    </a:cubicBezTo>
                    <a:cubicBezTo>
                      <a:pt x="3" y="6"/>
                      <a:pt x="6" y="2"/>
                      <a:pt x="10" y="2"/>
                    </a:cubicBezTo>
                    <a:cubicBezTo>
                      <a:pt x="14" y="2"/>
                      <a:pt x="18" y="6"/>
                      <a:pt x="18" y="10"/>
                    </a:cubicBezTo>
                    <a:cubicBezTo>
                      <a:pt x="18" y="14"/>
                      <a:pt x="14" y="18"/>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sp>
            <p:nvSpPr>
              <p:cNvPr id="106" name="Freeform 80">
                <a:extLst>
                  <a:ext uri="{FF2B5EF4-FFF2-40B4-BE49-F238E27FC236}"/>
                </a:extLst>
              </p:cNvPr>
              <p:cNvSpPr>
                <a:spLocks/>
              </p:cNvSpPr>
              <p:nvPr/>
            </p:nvSpPr>
            <p:spPr bwMode="auto">
              <a:xfrm>
                <a:off x="252" y="1613"/>
                <a:ext cx="156" cy="125"/>
              </a:xfrm>
              <a:custGeom>
                <a:avLst/>
                <a:gdLst>
                  <a:gd name="T0" fmla="*/ 78 w 66"/>
                  <a:gd name="T1" fmla="*/ 125 h 53"/>
                  <a:gd name="T2" fmla="*/ 156 w 66"/>
                  <a:gd name="T3" fmla="*/ 28 h 53"/>
                  <a:gd name="T4" fmla="*/ 151 w 66"/>
                  <a:gd name="T5" fmla="*/ 0 h 53"/>
                  <a:gd name="T6" fmla="*/ 109 w 66"/>
                  <a:gd name="T7" fmla="*/ 0 h 53"/>
                  <a:gd name="T8" fmla="*/ 78 w 66"/>
                  <a:gd name="T9" fmla="*/ 26 h 53"/>
                  <a:gd name="T10" fmla="*/ 47 w 66"/>
                  <a:gd name="T11" fmla="*/ 0 h 53"/>
                  <a:gd name="T12" fmla="*/ 5 w 66"/>
                  <a:gd name="T13" fmla="*/ 0 h 53"/>
                  <a:gd name="T14" fmla="*/ 0 w 66"/>
                  <a:gd name="T15" fmla="*/ 28 h 53"/>
                  <a:gd name="T16" fmla="*/ 78 w 66"/>
                  <a:gd name="T17" fmla="*/ 125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53">
                    <a:moveTo>
                      <a:pt x="33" y="53"/>
                    </a:moveTo>
                    <a:cubicBezTo>
                      <a:pt x="51" y="53"/>
                      <a:pt x="66" y="35"/>
                      <a:pt x="66" y="12"/>
                    </a:cubicBezTo>
                    <a:cubicBezTo>
                      <a:pt x="66" y="8"/>
                      <a:pt x="65" y="4"/>
                      <a:pt x="64" y="0"/>
                    </a:cubicBezTo>
                    <a:cubicBezTo>
                      <a:pt x="46" y="0"/>
                      <a:pt x="46" y="0"/>
                      <a:pt x="46" y="0"/>
                    </a:cubicBezTo>
                    <a:cubicBezTo>
                      <a:pt x="45" y="6"/>
                      <a:pt x="40" y="11"/>
                      <a:pt x="33" y="11"/>
                    </a:cubicBezTo>
                    <a:cubicBezTo>
                      <a:pt x="27" y="11"/>
                      <a:pt x="21" y="6"/>
                      <a:pt x="20" y="0"/>
                    </a:cubicBezTo>
                    <a:cubicBezTo>
                      <a:pt x="2" y="0"/>
                      <a:pt x="2" y="0"/>
                      <a:pt x="2" y="0"/>
                    </a:cubicBezTo>
                    <a:cubicBezTo>
                      <a:pt x="1" y="4"/>
                      <a:pt x="0" y="8"/>
                      <a:pt x="0" y="12"/>
                    </a:cubicBezTo>
                    <a:cubicBezTo>
                      <a:pt x="0" y="35"/>
                      <a:pt x="15" y="53"/>
                      <a:pt x="33"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ar-SA" sz="1000" dirty="0">
                  <a:solidFill>
                    <a:srgbClr val="000000"/>
                  </a:solidFill>
                  <a:latin typeface="Traditional Arabic" panose="02020603050405020304" pitchFamily="18" charset="-78"/>
                  <a:cs typeface="Traditional Arabic" panose="02020603050405020304" pitchFamily="18" charset="-78"/>
                </a:endParaRPr>
              </a:p>
            </p:txBody>
          </p:sp>
        </p:grpSp>
      </p:grpSp>
      <p:grpSp>
        <p:nvGrpSpPr>
          <p:cNvPr id="75820" name="Group 106"/>
          <p:cNvGrpSpPr>
            <a:grpSpLocks/>
          </p:cNvGrpSpPr>
          <p:nvPr/>
        </p:nvGrpSpPr>
        <p:grpSpPr bwMode="auto">
          <a:xfrm flipH="1">
            <a:off x="4787900" y="4986338"/>
            <a:ext cx="300038" cy="307975"/>
            <a:chOff x="7478177" y="5779874"/>
            <a:chExt cx="365760" cy="365760"/>
          </a:xfrm>
        </p:grpSpPr>
        <p:sp>
          <p:nvSpPr>
            <p:cNvPr id="108" name="Oval 107">
              <a:extLst>
                <a:ext uri="{FF2B5EF4-FFF2-40B4-BE49-F238E27FC236}"/>
              </a:extLst>
            </p:cNvPr>
            <p:cNvSpPr/>
            <p:nvPr/>
          </p:nvSpPr>
          <p:spPr bwMode="ltGray">
            <a:xfrm>
              <a:off x="7478177" y="5779874"/>
              <a:ext cx="365760" cy="365760"/>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71196" rtl="1" eaLnBrk="1" fontAlgn="auto" hangingPunct="1">
                <a:spcBef>
                  <a:spcPts val="0"/>
                </a:spcBef>
                <a:spcAft>
                  <a:spcPts val="0"/>
                </a:spcAft>
                <a:defRPr/>
              </a:pPr>
              <a:endParaRPr lang="ar-SA" sz="1000" dirty="0">
                <a:solidFill>
                  <a:srgbClr val="FFFFFF"/>
                </a:solidFill>
                <a:latin typeface="Traditional Arabic" panose="02020603050405020304" pitchFamily="18" charset="-78"/>
                <a:cs typeface="Traditional Arabic" panose="02020603050405020304" pitchFamily="18" charset="-78"/>
              </a:endParaRPr>
            </a:p>
          </p:txBody>
        </p:sp>
        <p:sp>
          <p:nvSpPr>
            <p:cNvPr id="75836" name="Freeform 6"/>
            <p:cNvSpPr>
              <a:spLocks noEditPoints="1"/>
            </p:cNvSpPr>
            <p:nvPr/>
          </p:nvSpPr>
          <p:spPr bwMode="auto">
            <a:xfrm>
              <a:off x="7542526" y="5797630"/>
              <a:ext cx="252000" cy="288000"/>
            </a:xfrm>
            <a:custGeom>
              <a:avLst/>
              <a:gdLst>
                <a:gd name="T0" fmla="*/ 2147483646 w 697"/>
                <a:gd name="T1" fmla="*/ 2147483646 h 694"/>
                <a:gd name="T2" fmla="*/ 472545555 w 697"/>
                <a:gd name="T3" fmla="*/ 2147483646 h 694"/>
                <a:gd name="T4" fmla="*/ 0 w 697"/>
                <a:gd name="T5" fmla="*/ 2147483646 h 694"/>
                <a:gd name="T6" fmla="*/ 472545555 w 697"/>
                <a:gd name="T7" fmla="*/ 2147483646 h 694"/>
                <a:gd name="T8" fmla="*/ 2147483646 w 697"/>
                <a:gd name="T9" fmla="*/ 2147483646 h 694"/>
                <a:gd name="T10" fmla="*/ 2147483646 w 697"/>
                <a:gd name="T11" fmla="*/ 2147483646 h 694"/>
                <a:gd name="T12" fmla="*/ 2147483646 w 697"/>
                <a:gd name="T13" fmla="*/ 2147483646 h 694"/>
                <a:gd name="T14" fmla="*/ 2147483646 w 697"/>
                <a:gd name="T15" fmla="*/ 2147483646 h 694"/>
                <a:gd name="T16" fmla="*/ 2147483646 w 697"/>
                <a:gd name="T17" fmla="*/ 2147483646 h 694"/>
                <a:gd name="T18" fmla="*/ 2147483646 w 697"/>
                <a:gd name="T19" fmla="*/ 2147483646 h 694"/>
                <a:gd name="T20" fmla="*/ 2147483646 w 697"/>
                <a:gd name="T21" fmla="*/ 2147483646 h 694"/>
                <a:gd name="T22" fmla="*/ 2147483646 w 697"/>
                <a:gd name="T23" fmla="*/ 2147483646 h 694"/>
                <a:gd name="T24" fmla="*/ 2147483646 w 697"/>
                <a:gd name="T25" fmla="*/ 2147483646 h 694"/>
                <a:gd name="T26" fmla="*/ 2147483646 w 697"/>
                <a:gd name="T27" fmla="*/ 2147483646 h 694"/>
                <a:gd name="T28" fmla="*/ 2147483646 w 697"/>
                <a:gd name="T29" fmla="*/ 2147483646 h 694"/>
                <a:gd name="T30" fmla="*/ 2147483646 w 697"/>
                <a:gd name="T31" fmla="*/ 2147483646 h 694"/>
                <a:gd name="T32" fmla="*/ 2147483646 w 697"/>
                <a:gd name="T33" fmla="*/ 2147483646 h 694"/>
                <a:gd name="T34" fmla="*/ 2147483646 w 697"/>
                <a:gd name="T35" fmla="*/ 2147483646 h 694"/>
                <a:gd name="T36" fmla="*/ 2147483646 w 697"/>
                <a:gd name="T37" fmla="*/ 2147483646 h 694"/>
                <a:gd name="T38" fmla="*/ 2147483646 w 697"/>
                <a:gd name="T39" fmla="*/ 2147483646 h 694"/>
                <a:gd name="T40" fmla="*/ 2147483646 w 697"/>
                <a:gd name="T41" fmla="*/ 2147483646 h 694"/>
                <a:gd name="T42" fmla="*/ 2147483646 w 697"/>
                <a:gd name="T43" fmla="*/ 2147483646 h 694"/>
                <a:gd name="T44" fmla="*/ 2147483646 w 697"/>
                <a:gd name="T45" fmla="*/ 2147483646 h 694"/>
                <a:gd name="T46" fmla="*/ 2147483646 w 697"/>
                <a:gd name="T47" fmla="*/ 2147483646 h 694"/>
                <a:gd name="T48" fmla="*/ 2147483646 w 697"/>
                <a:gd name="T49" fmla="*/ 2147483646 h 694"/>
                <a:gd name="T50" fmla="*/ 2147483646 w 697"/>
                <a:gd name="T51" fmla="*/ 2147483646 h 694"/>
                <a:gd name="T52" fmla="*/ 2147483646 w 697"/>
                <a:gd name="T53" fmla="*/ 2147483646 h 694"/>
                <a:gd name="T54" fmla="*/ 2147483646 w 697"/>
                <a:gd name="T55" fmla="*/ 2147483646 h 694"/>
                <a:gd name="T56" fmla="*/ 2147483646 w 697"/>
                <a:gd name="T57" fmla="*/ 2147483646 h 694"/>
                <a:gd name="T58" fmla="*/ 2147483646 w 697"/>
                <a:gd name="T59" fmla="*/ 2147483646 h 694"/>
                <a:gd name="T60" fmla="*/ 2147483646 w 697"/>
                <a:gd name="T61" fmla="*/ 2147483646 h 694"/>
                <a:gd name="T62" fmla="*/ 2147483646 w 697"/>
                <a:gd name="T63" fmla="*/ 2147483646 h 694"/>
                <a:gd name="T64" fmla="*/ 2147483646 w 697"/>
                <a:gd name="T65" fmla="*/ 2147483646 h 694"/>
                <a:gd name="T66" fmla="*/ 2147483646 w 697"/>
                <a:gd name="T67" fmla="*/ 2147483646 h 694"/>
                <a:gd name="T68" fmla="*/ 2147483646 w 697"/>
                <a:gd name="T69" fmla="*/ 2147483646 h 694"/>
                <a:gd name="T70" fmla="*/ 2147483646 w 697"/>
                <a:gd name="T71" fmla="*/ 2147483646 h 694"/>
                <a:gd name="T72" fmla="*/ 2147483646 w 697"/>
                <a:gd name="T73" fmla="*/ 2147483646 h 694"/>
                <a:gd name="T74" fmla="*/ 2147483646 w 697"/>
                <a:gd name="T75" fmla="*/ 2147483646 h 694"/>
                <a:gd name="T76" fmla="*/ 2147483646 w 697"/>
                <a:gd name="T77" fmla="*/ 2147483646 h 694"/>
                <a:gd name="T78" fmla="*/ 2147483646 w 697"/>
                <a:gd name="T79" fmla="*/ 2144052519 h 694"/>
                <a:gd name="T80" fmla="*/ 2147483646 w 697"/>
                <a:gd name="T81" fmla="*/ 857620841 h 694"/>
                <a:gd name="T82" fmla="*/ 2147483646 w 697"/>
                <a:gd name="T83" fmla="*/ 142936807 h 694"/>
                <a:gd name="T84" fmla="*/ 2147483646 w 697"/>
                <a:gd name="T85" fmla="*/ 142936807 h 694"/>
                <a:gd name="T86" fmla="*/ 2147483646 w 697"/>
                <a:gd name="T87" fmla="*/ 2147483646 h 694"/>
                <a:gd name="T88" fmla="*/ 2147483646 w 697"/>
                <a:gd name="T89" fmla="*/ 2147483646 h 694"/>
                <a:gd name="T90" fmla="*/ 2147483646 w 697"/>
                <a:gd name="T91" fmla="*/ 214405210 h 694"/>
                <a:gd name="T92" fmla="*/ 2147483646 w 697"/>
                <a:gd name="T93" fmla="*/ 0 h 694"/>
                <a:gd name="T94" fmla="*/ 2147483646 w 697"/>
                <a:gd name="T95" fmla="*/ 500278824 h 694"/>
                <a:gd name="T96" fmla="*/ 2147483646 w 697"/>
                <a:gd name="T97" fmla="*/ 1786710501 h 694"/>
                <a:gd name="T98" fmla="*/ 2147483646 w 697"/>
                <a:gd name="T99" fmla="*/ 2147483646 h 6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97" h="694">
                  <a:moveTo>
                    <a:pt x="639" y="203"/>
                  </a:moveTo>
                  <a:lnTo>
                    <a:pt x="58" y="203"/>
                  </a:lnTo>
                  <a:lnTo>
                    <a:pt x="46" y="204"/>
                  </a:lnTo>
                  <a:lnTo>
                    <a:pt x="35" y="206"/>
                  </a:lnTo>
                  <a:lnTo>
                    <a:pt x="26" y="212"/>
                  </a:lnTo>
                  <a:lnTo>
                    <a:pt x="17" y="219"/>
                  </a:lnTo>
                  <a:lnTo>
                    <a:pt x="10" y="228"/>
                  </a:lnTo>
                  <a:lnTo>
                    <a:pt x="5" y="238"/>
                  </a:lnTo>
                  <a:lnTo>
                    <a:pt x="2" y="248"/>
                  </a:lnTo>
                  <a:lnTo>
                    <a:pt x="0" y="260"/>
                  </a:lnTo>
                  <a:lnTo>
                    <a:pt x="0" y="637"/>
                  </a:lnTo>
                  <a:lnTo>
                    <a:pt x="2" y="649"/>
                  </a:lnTo>
                  <a:lnTo>
                    <a:pt x="5" y="659"/>
                  </a:lnTo>
                  <a:lnTo>
                    <a:pt x="10" y="669"/>
                  </a:lnTo>
                  <a:lnTo>
                    <a:pt x="17" y="677"/>
                  </a:lnTo>
                  <a:lnTo>
                    <a:pt x="26" y="685"/>
                  </a:lnTo>
                  <a:lnTo>
                    <a:pt x="35" y="689"/>
                  </a:lnTo>
                  <a:lnTo>
                    <a:pt x="46" y="693"/>
                  </a:lnTo>
                  <a:lnTo>
                    <a:pt x="58" y="694"/>
                  </a:lnTo>
                  <a:lnTo>
                    <a:pt x="639" y="694"/>
                  </a:lnTo>
                  <a:lnTo>
                    <a:pt x="651" y="693"/>
                  </a:lnTo>
                  <a:lnTo>
                    <a:pt x="662" y="689"/>
                  </a:lnTo>
                  <a:lnTo>
                    <a:pt x="672" y="685"/>
                  </a:lnTo>
                  <a:lnTo>
                    <a:pt x="680" y="677"/>
                  </a:lnTo>
                  <a:lnTo>
                    <a:pt x="687" y="669"/>
                  </a:lnTo>
                  <a:lnTo>
                    <a:pt x="692" y="659"/>
                  </a:lnTo>
                  <a:lnTo>
                    <a:pt x="696" y="649"/>
                  </a:lnTo>
                  <a:lnTo>
                    <a:pt x="697" y="637"/>
                  </a:lnTo>
                  <a:lnTo>
                    <a:pt x="697" y="260"/>
                  </a:lnTo>
                  <a:lnTo>
                    <a:pt x="696" y="248"/>
                  </a:lnTo>
                  <a:lnTo>
                    <a:pt x="692" y="238"/>
                  </a:lnTo>
                  <a:lnTo>
                    <a:pt x="687" y="228"/>
                  </a:lnTo>
                  <a:lnTo>
                    <a:pt x="680" y="219"/>
                  </a:lnTo>
                  <a:lnTo>
                    <a:pt x="672" y="212"/>
                  </a:lnTo>
                  <a:lnTo>
                    <a:pt x="662" y="206"/>
                  </a:lnTo>
                  <a:lnTo>
                    <a:pt x="651" y="204"/>
                  </a:lnTo>
                  <a:lnTo>
                    <a:pt x="639" y="203"/>
                  </a:lnTo>
                  <a:close/>
                  <a:moveTo>
                    <a:pt x="523" y="622"/>
                  </a:moveTo>
                  <a:lnTo>
                    <a:pt x="523" y="622"/>
                  </a:lnTo>
                  <a:lnTo>
                    <a:pt x="522" y="627"/>
                  </a:lnTo>
                  <a:lnTo>
                    <a:pt x="519" y="632"/>
                  </a:lnTo>
                  <a:lnTo>
                    <a:pt x="514" y="635"/>
                  </a:lnTo>
                  <a:lnTo>
                    <a:pt x="508" y="637"/>
                  </a:lnTo>
                  <a:lnTo>
                    <a:pt x="73" y="637"/>
                  </a:lnTo>
                  <a:lnTo>
                    <a:pt x="68" y="635"/>
                  </a:lnTo>
                  <a:lnTo>
                    <a:pt x="63" y="632"/>
                  </a:lnTo>
                  <a:lnTo>
                    <a:pt x="59" y="627"/>
                  </a:lnTo>
                  <a:lnTo>
                    <a:pt x="58" y="622"/>
                  </a:lnTo>
                  <a:lnTo>
                    <a:pt x="58" y="275"/>
                  </a:lnTo>
                  <a:lnTo>
                    <a:pt x="59" y="269"/>
                  </a:lnTo>
                  <a:lnTo>
                    <a:pt x="63" y="264"/>
                  </a:lnTo>
                  <a:lnTo>
                    <a:pt x="68" y="262"/>
                  </a:lnTo>
                  <a:lnTo>
                    <a:pt x="73" y="260"/>
                  </a:lnTo>
                  <a:lnTo>
                    <a:pt x="508" y="260"/>
                  </a:lnTo>
                  <a:lnTo>
                    <a:pt x="514" y="262"/>
                  </a:lnTo>
                  <a:lnTo>
                    <a:pt x="519" y="264"/>
                  </a:lnTo>
                  <a:lnTo>
                    <a:pt x="522" y="269"/>
                  </a:lnTo>
                  <a:lnTo>
                    <a:pt x="523" y="275"/>
                  </a:lnTo>
                  <a:lnTo>
                    <a:pt x="523" y="622"/>
                  </a:lnTo>
                  <a:close/>
                  <a:moveTo>
                    <a:pt x="610" y="525"/>
                  </a:moveTo>
                  <a:lnTo>
                    <a:pt x="610" y="525"/>
                  </a:lnTo>
                  <a:lnTo>
                    <a:pt x="600" y="524"/>
                  </a:lnTo>
                  <a:lnTo>
                    <a:pt x="592" y="520"/>
                  </a:lnTo>
                  <a:lnTo>
                    <a:pt x="584" y="516"/>
                  </a:lnTo>
                  <a:lnTo>
                    <a:pt x="576" y="510"/>
                  </a:lnTo>
                  <a:lnTo>
                    <a:pt x="570" y="503"/>
                  </a:lnTo>
                  <a:lnTo>
                    <a:pt x="567" y="496"/>
                  </a:lnTo>
                  <a:lnTo>
                    <a:pt x="563" y="486"/>
                  </a:lnTo>
                  <a:lnTo>
                    <a:pt x="563" y="477"/>
                  </a:lnTo>
                  <a:lnTo>
                    <a:pt x="563" y="467"/>
                  </a:lnTo>
                  <a:lnTo>
                    <a:pt x="567" y="459"/>
                  </a:lnTo>
                  <a:lnTo>
                    <a:pt x="570" y="450"/>
                  </a:lnTo>
                  <a:lnTo>
                    <a:pt x="576" y="444"/>
                  </a:lnTo>
                  <a:lnTo>
                    <a:pt x="584" y="438"/>
                  </a:lnTo>
                  <a:lnTo>
                    <a:pt x="592" y="433"/>
                  </a:lnTo>
                  <a:lnTo>
                    <a:pt x="600" y="431"/>
                  </a:lnTo>
                  <a:lnTo>
                    <a:pt x="610" y="430"/>
                  </a:lnTo>
                  <a:lnTo>
                    <a:pt x="620" y="431"/>
                  </a:lnTo>
                  <a:lnTo>
                    <a:pt x="628" y="433"/>
                  </a:lnTo>
                  <a:lnTo>
                    <a:pt x="637" y="438"/>
                  </a:lnTo>
                  <a:lnTo>
                    <a:pt x="643" y="444"/>
                  </a:lnTo>
                  <a:lnTo>
                    <a:pt x="649" y="450"/>
                  </a:lnTo>
                  <a:lnTo>
                    <a:pt x="653" y="459"/>
                  </a:lnTo>
                  <a:lnTo>
                    <a:pt x="656" y="467"/>
                  </a:lnTo>
                  <a:lnTo>
                    <a:pt x="657" y="477"/>
                  </a:lnTo>
                  <a:lnTo>
                    <a:pt x="656" y="486"/>
                  </a:lnTo>
                  <a:lnTo>
                    <a:pt x="653" y="496"/>
                  </a:lnTo>
                  <a:lnTo>
                    <a:pt x="649" y="503"/>
                  </a:lnTo>
                  <a:lnTo>
                    <a:pt x="643" y="510"/>
                  </a:lnTo>
                  <a:lnTo>
                    <a:pt x="637" y="516"/>
                  </a:lnTo>
                  <a:lnTo>
                    <a:pt x="628" y="520"/>
                  </a:lnTo>
                  <a:lnTo>
                    <a:pt x="620" y="524"/>
                  </a:lnTo>
                  <a:lnTo>
                    <a:pt x="610" y="525"/>
                  </a:lnTo>
                  <a:close/>
                  <a:moveTo>
                    <a:pt x="610" y="379"/>
                  </a:moveTo>
                  <a:lnTo>
                    <a:pt x="610" y="379"/>
                  </a:lnTo>
                  <a:lnTo>
                    <a:pt x="600" y="378"/>
                  </a:lnTo>
                  <a:lnTo>
                    <a:pt x="592" y="376"/>
                  </a:lnTo>
                  <a:lnTo>
                    <a:pt x="584" y="371"/>
                  </a:lnTo>
                  <a:lnTo>
                    <a:pt x="576" y="366"/>
                  </a:lnTo>
                  <a:lnTo>
                    <a:pt x="570" y="359"/>
                  </a:lnTo>
                  <a:lnTo>
                    <a:pt x="567" y="350"/>
                  </a:lnTo>
                  <a:lnTo>
                    <a:pt x="563" y="342"/>
                  </a:lnTo>
                  <a:lnTo>
                    <a:pt x="563" y="332"/>
                  </a:lnTo>
                  <a:lnTo>
                    <a:pt x="563" y="323"/>
                  </a:lnTo>
                  <a:lnTo>
                    <a:pt x="567" y="314"/>
                  </a:lnTo>
                  <a:lnTo>
                    <a:pt x="570" y="306"/>
                  </a:lnTo>
                  <a:lnTo>
                    <a:pt x="576" y="299"/>
                  </a:lnTo>
                  <a:lnTo>
                    <a:pt x="584" y="294"/>
                  </a:lnTo>
                  <a:lnTo>
                    <a:pt x="592" y="289"/>
                  </a:lnTo>
                  <a:lnTo>
                    <a:pt x="600" y="287"/>
                  </a:lnTo>
                  <a:lnTo>
                    <a:pt x="610" y="286"/>
                  </a:lnTo>
                  <a:lnTo>
                    <a:pt x="620" y="287"/>
                  </a:lnTo>
                  <a:lnTo>
                    <a:pt x="628" y="289"/>
                  </a:lnTo>
                  <a:lnTo>
                    <a:pt x="637" y="294"/>
                  </a:lnTo>
                  <a:lnTo>
                    <a:pt x="643" y="299"/>
                  </a:lnTo>
                  <a:lnTo>
                    <a:pt x="649" y="306"/>
                  </a:lnTo>
                  <a:lnTo>
                    <a:pt x="653" y="314"/>
                  </a:lnTo>
                  <a:lnTo>
                    <a:pt x="656" y="323"/>
                  </a:lnTo>
                  <a:lnTo>
                    <a:pt x="657" y="332"/>
                  </a:lnTo>
                  <a:lnTo>
                    <a:pt x="656" y="342"/>
                  </a:lnTo>
                  <a:lnTo>
                    <a:pt x="653" y="350"/>
                  </a:lnTo>
                  <a:lnTo>
                    <a:pt x="649" y="359"/>
                  </a:lnTo>
                  <a:lnTo>
                    <a:pt x="643" y="366"/>
                  </a:lnTo>
                  <a:lnTo>
                    <a:pt x="637" y="371"/>
                  </a:lnTo>
                  <a:lnTo>
                    <a:pt x="628" y="376"/>
                  </a:lnTo>
                  <a:lnTo>
                    <a:pt x="620" y="378"/>
                  </a:lnTo>
                  <a:lnTo>
                    <a:pt x="610" y="379"/>
                  </a:lnTo>
                  <a:close/>
                  <a:moveTo>
                    <a:pt x="279" y="139"/>
                  </a:moveTo>
                  <a:lnTo>
                    <a:pt x="279" y="139"/>
                  </a:lnTo>
                  <a:lnTo>
                    <a:pt x="270" y="146"/>
                  </a:lnTo>
                  <a:lnTo>
                    <a:pt x="262" y="155"/>
                  </a:lnTo>
                  <a:lnTo>
                    <a:pt x="255" y="164"/>
                  </a:lnTo>
                  <a:lnTo>
                    <a:pt x="249" y="174"/>
                  </a:lnTo>
                  <a:lnTo>
                    <a:pt x="449" y="174"/>
                  </a:lnTo>
                  <a:lnTo>
                    <a:pt x="443" y="164"/>
                  </a:lnTo>
                  <a:lnTo>
                    <a:pt x="435" y="155"/>
                  </a:lnTo>
                  <a:lnTo>
                    <a:pt x="427" y="146"/>
                  </a:lnTo>
                  <a:lnTo>
                    <a:pt x="418" y="139"/>
                  </a:lnTo>
                  <a:lnTo>
                    <a:pt x="515" y="43"/>
                  </a:lnTo>
                  <a:lnTo>
                    <a:pt x="519" y="39"/>
                  </a:lnTo>
                  <a:lnTo>
                    <a:pt x="521" y="34"/>
                  </a:lnTo>
                  <a:lnTo>
                    <a:pt x="522" y="30"/>
                  </a:lnTo>
                  <a:lnTo>
                    <a:pt x="522" y="25"/>
                  </a:lnTo>
                  <a:lnTo>
                    <a:pt x="522" y="20"/>
                  </a:lnTo>
                  <a:lnTo>
                    <a:pt x="521" y="15"/>
                  </a:lnTo>
                  <a:lnTo>
                    <a:pt x="519" y="12"/>
                  </a:lnTo>
                  <a:lnTo>
                    <a:pt x="515" y="7"/>
                  </a:lnTo>
                  <a:lnTo>
                    <a:pt x="511" y="3"/>
                  </a:lnTo>
                  <a:lnTo>
                    <a:pt x="506" y="2"/>
                  </a:lnTo>
                  <a:lnTo>
                    <a:pt x="502" y="0"/>
                  </a:lnTo>
                  <a:lnTo>
                    <a:pt x="497" y="0"/>
                  </a:lnTo>
                  <a:lnTo>
                    <a:pt x="492" y="0"/>
                  </a:lnTo>
                  <a:lnTo>
                    <a:pt x="487" y="2"/>
                  </a:lnTo>
                  <a:lnTo>
                    <a:pt x="484" y="3"/>
                  </a:lnTo>
                  <a:lnTo>
                    <a:pt x="479" y="7"/>
                  </a:lnTo>
                  <a:lnTo>
                    <a:pt x="369" y="117"/>
                  </a:lnTo>
                  <a:lnTo>
                    <a:pt x="358" y="116"/>
                  </a:lnTo>
                  <a:lnTo>
                    <a:pt x="349" y="115"/>
                  </a:lnTo>
                  <a:lnTo>
                    <a:pt x="339" y="116"/>
                  </a:lnTo>
                  <a:lnTo>
                    <a:pt x="328" y="117"/>
                  </a:lnTo>
                  <a:lnTo>
                    <a:pt x="217" y="7"/>
                  </a:lnTo>
                  <a:lnTo>
                    <a:pt x="214" y="3"/>
                  </a:lnTo>
                  <a:lnTo>
                    <a:pt x="210" y="2"/>
                  </a:lnTo>
                  <a:lnTo>
                    <a:pt x="205" y="0"/>
                  </a:lnTo>
                  <a:lnTo>
                    <a:pt x="200" y="0"/>
                  </a:lnTo>
                  <a:lnTo>
                    <a:pt x="196" y="0"/>
                  </a:lnTo>
                  <a:lnTo>
                    <a:pt x="191" y="2"/>
                  </a:lnTo>
                  <a:lnTo>
                    <a:pt x="186" y="3"/>
                  </a:lnTo>
                  <a:lnTo>
                    <a:pt x="182" y="7"/>
                  </a:lnTo>
                  <a:lnTo>
                    <a:pt x="179" y="10"/>
                  </a:lnTo>
                  <a:lnTo>
                    <a:pt x="176" y="15"/>
                  </a:lnTo>
                  <a:lnTo>
                    <a:pt x="175" y="20"/>
                  </a:lnTo>
                  <a:lnTo>
                    <a:pt x="174" y="25"/>
                  </a:lnTo>
                  <a:lnTo>
                    <a:pt x="175" y="30"/>
                  </a:lnTo>
                  <a:lnTo>
                    <a:pt x="176" y="34"/>
                  </a:lnTo>
                  <a:lnTo>
                    <a:pt x="179" y="39"/>
                  </a:lnTo>
                  <a:lnTo>
                    <a:pt x="182" y="43"/>
                  </a:lnTo>
                  <a:lnTo>
                    <a:pt x="279"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endParaRPr lang="ar-SA"/>
            </a:p>
          </p:txBody>
        </p:sp>
      </p:grpSp>
      <p:sp>
        <p:nvSpPr>
          <p:cNvPr id="75821" name="TextBox 109"/>
          <p:cNvSpPr txBox="1">
            <a:spLocks noChangeArrowheads="1"/>
          </p:cNvSpPr>
          <p:nvPr/>
        </p:nvSpPr>
        <p:spPr bwMode="auto">
          <a:xfrm>
            <a:off x="5133975" y="3687763"/>
            <a:ext cx="96202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000">
                <a:solidFill>
                  <a:srgbClr val="000000"/>
                </a:solidFill>
                <a:latin typeface="Arial" panose="020B0604020202020204" pitchFamily="34" charset="0"/>
              </a:rPr>
              <a:t>National Guidelines</a:t>
            </a:r>
          </a:p>
        </p:txBody>
      </p:sp>
      <p:sp>
        <p:nvSpPr>
          <p:cNvPr id="75822" name="TextBox 110"/>
          <p:cNvSpPr txBox="1">
            <a:spLocks noChangeArrowheads="1"/>
          </p:cNvSpPr>
          <p:nvPr/>
        </p:nvSpPr>
        <p:spPr bwMode="auto">
          <a:xfrm>
            <a:off x="5133975" y="4113213"/>
            <a:ext cx="962025"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000">
                <a:solidFill>
                  <a:srgbClr val="000000"/>
                </a:solidFill>
                <a:latin typeface="Arial" panose="020B0604020202020204" pitchFamily="34" charset="0"/>
              </a:rPr>
              <a:t>Virtual Education and Navigation Tools</a:t>
            </a:r>
          </a:p>
        </p:txBody>
      </p:sp>
      <p:sp>
        <p:nvSpPr>
          <p:cNvPr id="75823" name="TextBox 113"/>
          <p:cNvSpPr txBox="1">
            <a:spLocks noChangeArrowheads="1"/>
          </p:cNvSpPr>
          <p:nvPr/>
        </p:nvSpPr>
        <p:spPr bwMode="auto">
          <a:xfrm>
            <a:off x="5133975" y="4567238"/>
            <a:ext cx="9620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000">
                <a:solidFill>
                  <a:srgbClr val="000000"/>
                </a:solidFill>
                <a:latin typeface="Arial" panose="020B0604020202020204" pitchFamily="34" charset="0"/>
              </a:rPr>
              <a:t>Enhanced Primary Care Services</a:t>
            </a:r>
          </a:p>
        </p:txBody>
      </p:sp>
      <p:sp>
        <p:nvSpPr>
          <p:cNvPr id="75824" name="TextBox 114"/>
          <p:cNvSpPr txBox="1">
            <a:spLocks noChangeArrowheads="1"/>
          </p:cNvSpPr>
          <p:nvPr/>
        </p:nvSpPr>
        <p:spPr bwMode="auto">
          <a:xfrm>
            <a:off x="5133975" y="5024438"/>
            <a:ext cx="962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000">
                <a:solidFill>
                  <a:srgbClr val="000000"/>
                </a:solidFill>
                <a:latin typeface="Arial" panose="020B0604020202020204" pitchFamily="34" charset="0"/>
              </a:rPr>
              <a:t>Healthy Living Campaigns</a:t>
            </a:r>
          </a:p>
        </p:txBody>
      </p:sp>
      <p:grpSp>
        <p:nvGrpSpPr>
          <p:cNvPr id="75825" name="Group 168"/>
          <p:cNvGrpSpPr>
            <a:grpSpLocks/>
          </p:cNvGrpSpPr>
          <p:nvPr/>
        </p:nvGrpSpPr>
        <p:grpSpPr bwMode="auto">
          <a:xfrm>
            <a:off x="7208838" y="3579813"/>
            <a:ext cx="300037" cy="307975"/>
            <a:chOff x="390306" y="3299919"/>
            <a:chExt cx="365760" cy="365760"/>
          </a:xfrm>
        </p:grpSpPr>
        <p:sp>
          <p:nvSpPr>
            <p:cNvPr id="117" name="Oval 116">
              <a:extLst>
                <a:ext uri="{FF2B5EF4-FFF2-40B4-BE49-F238E27FC236}"/>
              </a:extLst>
            </p:cNvPr>
            <p:cNvSpPr/>
            <p:nvPr/>
          </p:nvSpPr>
          <p:spPr bwMode="ltGray">
            <a:xfrm>
              <a:off x="390306" y="3299919"/>
              <a:ext cx="365760" cy="365760"/>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18" name="Freeform 1334">
              <a:extLst>
                <a:ext uri="{FF2B5EF4-FFF2-40B4-BE49-F238E27FC236}"/>
              </a:extLst>
            </p:cNvPr>
            <p:cNvSpPr>
              <a:spLocks noEditPoints="1"/>
            </p:cNvSpPr>
            <p:nvPr/>
          </p:nvSpPr>
          <p:spPr bwMode="auto">
            <a:xfrm>
              <a:off x="413529" y="3331970"/>
              <a:ext cx="323185" cy="286575"/>
            </a:xfrm>
            <a:custGeom>
              <a:avLst/>
              <a:gdLst>
                <a:gd name="T0" fmla="*/ 816 w 828"/>
                <a:gd name="T1" fmla="*/ 259 h 673"/>
                <a:gd name="T2" fmla="*/ 427 w 828"/>
                <a:gd name="T3" fmla="*/ 4 h 673"/>
                <a:gd name="T4" fmla="*/ 403 w 828"/>
                <a:gd name="T5" fmla="*/ 4 h 673"/>
                <a:gd name="T6" fmla="*/ 257 w 828"/>
                <a:gd name="T7" fmla="*/ 99 h 673"/>
                <a:gd name="T8" fmla="*/ 257 w 828"/>
                <a:gd name="T9" fmla="*/ 22 h 673"/>
                <a:gd name="T10" fmla="*/ 236 w 828"/>
                <a:gd name="T11" fmla="*/ 1 h 673"/>
                <a:gd name="T12" fmla="*/ 148 w 828"/>
                <a:gd name="T13" fmla="*/ 1 h 673"/>
                <a:gd name="T14" fmla="*/ 127 w 828"/>
                <a:gd name="T15" fmla="*/ 22 h 673"/>
                <a:gd name="T16" fmla="*/ 127 w 828"/>
                <a:gd name="T17" fmla="*/ 185 h 673"/>
                <a:gd name="T18" fmla="*/ 11 w 828"/>
                <a:gd name="T19" fmla="*/ 260 h 673"/>
                <a:gd name="T20" fmla="*/ 3 w 828"/>
                <a:gd name="T21" fmla="*/ 285 h 673"/>
                <a:gd name="T22" fmla="*/ 23 w 828"/>
                <a:gd name="T23" fmla="*/ 300 h 673"/>
                <a:gd name="T24" fmla="*/ 126 w 828"/>
                <a:gd name="T25" fmla="*/ 300 h 673"/>
                <a:gd name="T26" fmla="*/ 126 w 828"/>
                <a:gd name="T27" fmla="*/ 638 h 673"/>
                <a:gd name="T28" fmla="*/ 161 w 828"/>
                <a:gd name="T29" fmla="*/ 673 h 673"/>
                <a:gd name="T30" fmla="*/ 275 w 828"/>
                <a:gd name="T31" fmla="*/ 673 h 673"/>
                <a:gd name="T32" fmla="*/ 260 w 828"/>
                <a:gd name="T33" fmla="*/ 646 h 673"/>
                <a:gd name="T34" fmla="*/ 260 w 828"/>
                <a:gd name="T35" fmla="*/ 547 h 673"/>
                <a:gd name="T36" fmla="*/ 226 w 828"/>
                <a:gd name="T37" fmla="*/ 547 h 673"/>
                <a:gd name="T38" fmla="*/ 204 w 828"/>
                <a:gd name="T39" fmla="*/ 525 h 673"/>
                <a:gd name="T40" fmla="*/ 204 w 828"/>
                <a:gd name="T41" fmla="*/ 396 h 673"/>
                <a:gd name="T42" fmla="*/ 226 w 828"/>
                <a:gd name="T43" fmla="*/ 375 h 673"/>
                <a:gd name="T44" fmla="*/ 354 w 828"/>
                <a:gd name="T45" fmla="*/ 375 h 673"/>
                <a:gd name="T46" fmla="*/ 376 w 828"/>
                <a:gd name="T47" fmla="*/ 396 h 673"/>
                <a:gd name="T48" fmla="*/ 376 w 828"/>
                <a:gd name="T49" fmla="*/ 525 h 673"/>
                <a:gd name="T50" fmla="*/ 354 w 828"/>
                <a:gd name="T51" fmla="*/ 547 h 673"/>
                <a:gd name="T52" fmla="*/ 320 w 828"/>
                <a:gd name="T53" fmla="*/ 547 h 673"/>
                <a:gd name="T54" fmla="*/ 320 w 828"/>
                <a:gd name="T55" fmla="*/ 646 h 673"/>
                <a:gd name="T56" fmla="*/ 305 w 828"/>
                <a:gd name="T57" fmla="*/ 673 h 673"/>
                <a:gd name="T58" fmla="*/ 507 w 828"/>
                <a:gd name="T59" fmla="*/ 673 h 673"/>
                <a:gd name="T60" fmla="*/ 492 w 828"/>
                <a:gd name="T61" fmla="*/ 646 h 673"/>
                <a:gd name="T62" fmla="*/ 492 w 828"/>
                <a:gd name="T63" fmla="*/ 547 h 673"/>
                <a:gd name="T64" fmla="*/ 440 w 828"/>
                <a:gd name="T65" fmla="*/ 547 h 673"/>
                <a:gd name="T66" fmla="*/ 423 w 828"/>
                <a:gd name="T67" fmla="*/ 537 h 673"/>
                <a:gd name="T68" fmla="*/ 420 w 828"/>
                <a:gd name="T69" fmla="*/ 518 h 673"/>
                <a:gd name="T70" fmla="*/ 464 w 828"/>
                <a:gd name="T71" fmla="*/ 389 h 673"/>
                <a:gd name="T72" fmla="*/ 485 w 828"/>
                <a:gd name="T73" fmla="*/ 375 h 673"/>
                <a:gd name="T74" fmla="*/ 559 w 828"/>
                <a:gd name="T75" fmla="*/ 375 h 673"/>
                <a:gd name="T76" fmla="*/ 580 w 828"/>
                <a:gd name="T77" fmla="*/ 389 h 673"/>
                <a:gd name="T78" fmla="*/ 623 w 828"/>
                <a:gd name="T79" fmla="*/ 514 h 673"/>
                <a:gd name="T80" fmla="*/ 626 w 828"/>
                <a:gd name="T81" fmla="*/ 525 h 673"/>
                <a:gd name="T82" fmla="*/ 604 w 828"/>
                <a:gd name="T83" fmla="*/ 547 h 673"/>
                <a:gd name="T84" fmla="*/ 604 w 828"/>
                <a:gd name="T85" fmla="*/ 547 h 673"/>
                <a:gd name="T86" fmla="*/ 552 w 828"/>
                <a:gd name="T87" fmla="*/ 547 h 673"/>
                <a:gd name="T88" fmla="*/ 552 w 828"/>
                <a:gd name="T89" fmla="*/ 646 h 673"/>
                <a:gd name="T90" fmla="*/ 537 w 828"/>
                <a:gd name="T91" fmla="*/ 673 h 673"/>
                <a:gd name="T92" fmla="*/ 669 w 828"/>
                <a:gd name="T93" fmla="*/ 673 h 673"/>
                <a:gd name="T94" fmla="*/ 703 w 828"/>
                <a:gd name="T95" fmla="*/ 638 h 673"/>
                <a:gd name="T96" fmla="*/ 703 w 828"/>
                <a:gd name="T97" fmla="*/ 300 h 673"/>
                <a:gd name="T98" fmla="*/ 806 w 828"/>
                <a:gd name="T99" fmla="*/ 300 h 673"/>
                <a:gd name="T100" fmla="*/ 807 w 828"/>
                <a:gd name="T101" fmla="*/ 300 h 673"/>
                <a:gd name="T102" fmla="*/ 828 w 828"/>
                <a:gd name="T103" fmla="*/ 279 h 673"/>
                <a:gd name="T104" fmla="*/ 816 w 828"/>
                <a:gd name="T105" fmla="*/ 259 h 673"/>
                <a:gd name="T106" fmla="*/ 290 w 828"/>
                <a:gd name="T107" fmla="*/ 350 h 673"/>
                <a:gd name="T108" fmla="*/ 239 w 828"/>
                <a:gd name="T109" fmla="*/ 299 h 673"/>
                <a:gd name="T110" fmla="*/ 290 w 828"/>
                <a:gd name="T111" fmla="*/ 247 h 673"/>
                <a:gd name="T112" fmla="*/ 342 w 828"/>
                <a:gd name="T113" fmla="*/ 299 h 673"/>
                <a:gd name="T114" fmla="*/ 290 w 828"/>
                <a:gd name="T115" fmla="*/ 350 h 673"/>
                <a:gd name="T116" fmla="*/ 522 w 828"/>
                <a:gd name="T117" fmla="*/ 350 h 673"/>
                <a:gd name="T118" fmla="*/ 471 w 828"/>
                <a:gd name="T119" fmla="*/ 299 h 673"/>
                <a:gd name="T120" fmla="*/ 522 w 828"/>
                <a:gd name="T121" fmla="*/ 247 h 673"/>
                <a:gd name="T122" fmla="*/ 573 w 828"/>
                <a:gd name="T123" fmla="*/ 299 h 673"/>
                <a:gd name="T124" fmla="*/ 522 w 828"/>
                <a:gd name="T125" fmla="*/ 350 h 67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28" h="673">
                  <a:moveTo>
                    <a:pt x="816" y="259"/>
                  </a:moveTo>
                  <a:cubicBezTo>
                    <a:pt x="427" y="4"/>
                    <a:pt x="427" y="4"/>
                    <a:pt x="427" y="4"/>
                  </a:cubicBezTo>
                  <a:cubicBezTo>
                    <a:pt x="419" y="0"/>
                    <a:pt x="410" y="0"/>
                    <a:pt x="403" y="4"/>
                  </a:cubicBezTo>
                  <a:cubicBezTo>
                    <a:pt x="257" y="99"/>
                    <a:pt x="257" y="99"/>
                    <a:pt x="257" y="99"/>
                  </a:cubicBezTo>
                  <a:cubicBezTo>
                    <a:pt x="257" y="22"/>
                    <a:pt x="257" y="22"/>
                    <a:pt x="257" y="22"/>
                  </a:cubicBezTo>
                  <a:cubicBezTo>
                    <a:pt x="257" y="10"/>
                    <a:pt x="248" y="1"/>
                    <a:pt x="236" y="1"/>
                  </a:cubicBezTo>
                  <a:cubicBezTo>
                    <a:pt x="148" y="1"/>
                    <a:pt x="148" y="1"/>
                    <a:pt x="148" y="1"/>
                  </a:cubicBezTo>
                  <a:cubicBezTo>
                    <a:pt x="136" y="1"/>
                    <a:pt x="127" y="10"/>
                    <a:pt x="127" y="22"/>
                  </a:cubicBezTo>
                  <a:cubicBezTo>
                    <a:pt x="127" y="185"/>
                    <a:pt x="127" y="185"/>
                    <a:pt x="127" y="185"/>
                  </a:cubicBezTo>
                  <a:cubicBezTo>
                    <a:pt x="11" y="260"/>
                    <a:pt x="11" y="260"/>
                    <a:pt x="11" y="260"/>
                  </a:cubicBezTo>
                  <a:cubicBezTo>
                    <a:pt x="3" y="266"/>
                    <a:pt x="0" y="276"/>
                    <a:pt x="3" y="285"/>
                  </a:cubicBezTo>
                  <a:cubicBezTo>
                    <a:pt x="5" y="294"/>
                    <a:pt x="14" y="300"/>
                    <a:pt x="23" y="300"/>
                  </a:cubicBezTo>
                  <a:cubicBezTo>
                    <a:pt x="126" y="300"/>
                    <a:pt x="126" y="300"/>
                    <a:pt x="126" y="300"/>
                  </a:cubicBezTo>
                  <a:cubicBezTo>
                    <a:pt x="126" y="638"/>
                    <a:pt x="126" y="638"/>
                    <a:pt x="126" y="638"/>
                  </a:cubicBezTo>
                  <a:cubicBezTo>
                    <a:pt x="126" y="657"/>
                    <a:pt x="142" y="673"/>
                    <a:pt x="161" y="673"/>
                  </a:cubicBezTo>
                  <a:cubicBezTo>
                    <a:pt x="275" y="673"/>
                    <a:pt x="275" y="673"/>
                    <a:pt x="275" y="673"/>
                  </a:cubicBezTo>
                  <a:cubicBezTo>
                    <a:pt x="266" y="668"/>
                    <a:pt x="260" y="658"/>
                    <a:pt x="260" y="646"/>
                  </a:cubicBezTo>
                  <a:cubicBezTo>
                    <a:pt x="260" y="547"/>
                    <a:pt x="260" y="547"/>
                    <a:pt x="260" y="547"/>
                  </a:cubicBezTo>
                  <a:cubicBezTo>
                    <a:pt x="226" y="547"/>
                    <a:pt x="226" y="547"/>
                    <a:pt x="226" y="547"/>
                  </a:cubicBezTo>
                  <a:cubicBezTo>
                    <a:pt x="214" y="547"/>
                    <a:pt x="204" y="537"/>
                    <a:pt x="204" y="525"/>
                  </a:cubicBezTo>
                  <a:cubicBezTo>
                    <a:pt x="204" y="396"/>
                    <a:pt x="204" y="396"/>
                    <a:pt x="204" y="396"/>
                  </a:cubicBezTo>
                  <a:cubicBezTo>
                    <a:pt x="204" y="384"/>
                    <a:pt x="214" y="375"/>
                    <a:pt x="226" y="375"/>
                  </a:cubicBezTo>
                  <a:cubicBezTo>
                    <a:pt x="354" y="375"/>
                    <a:pt x="354" y="375"/>
                    <a:pt x="354" y="375"/>
                  </a:cubicBezTo>
                  <a:cubicBezTo>
                    <a:pt x="366" y="375"/>
                    <a:pt x="376" y="384"/>
                    <a:pt x="376" y="396"/>
                  </a:cubicBezTo>
                  <a:cubicBezTo>
                    <a:pt x="376" y="525"/>
                    <a:pt x="376" y="525"/>
                    <a:pt x="376" y="525"/>
                  </a:cubicBezTo>
                  <a:cubicBezTo>
                    <a:pt x="376" y="537"/>
                    <a:pt x="366" y="547"/>
                    <a:pt x="354" y="547"/>
                  </a:cubicBezTo>
                  <a:cubicBezTo>
                    <a:pt x="320" y="547"/>
                    <a:pt x="320" y="547"/>
                    <a:pt x="320" y="547"/>
                  </a:cubicBezTo>
                  <a:cubicBezTo>
                    <a:pt x="320" y="646"/>
                    <a:pt x="320" y="646"/>
                    <a:pt x="320" y="646"/>
                  </a:cubicBezTo>
                  <a:cubicBezTo>
                    <a:pt x="320" y="658"/>
                    <a:pt x="314" y="668"/>
                    <a:pt x="305" y="673"/>
                  </a:cubicBezTo>
                  <a:cubicBezTo>
                    <a:pt x="507" y="673"/>
                    <a:pt x="507" y="673"/>
                    <a:pt x="507" y="673"/>
                  </a:cubicBezTo>
                  <a:cubicBezTo>
                    <a:pt x="498" y="668"/>
                    <a:pt x="492" y="658"/>
                    <a:pt x="492" y="646"/>
                  </a:cubicBezTo>
                  <a:cubicBezTo>
                    <a:pt x="492" y="547"/>
                    <a:pt x="492" y="547"/>
                    <a:pt x="492" y="547"/>
                  </a:cubicBezTo>
                  <a:cubicBezTo>
                    <a:pt x="440" y="547"/>
                    <a:pt x="440" y="547"/>
                    <a:pt x="440" y="547"/>
                  </a:cubicBezTo>
                  <a:cubicBezTo>
                    <a:pt x="433" y="547"/>
                    <a:pt x="427" y="543"/>
                    <a:pt x="423" y="537"/>
                  </a:cubicBezTo>
                  <a:cubicBezTo>
                    <a:pt x="419" y="532"/>
                    <a:pt x="417" y="524"/>
                    <a:pt x="420" y="518"/>
                  </a:cubicBezTo>
                  <a:cubicBezTo>
                    <a:pt x="464" y="389"/>
                    <a:pt x="464" y="389"/>
                    <a:pt x="464" y="389"/>
                  </a:cubicBezTo>
                  <a:cubicBezTo>
                    <a:pt x="467" y="381"/>
                    <a:pt x="475" y="375"/>
                    <a:pt x="485" y="375"/>
                  </a:cubicBezTo>
                  <a:cubicBezTo>
                    <a:pt x="559" y="375"/>
                    <a:pt x="559" y="375"/>
                    <a:pt x="559" y="375"/>
                  </a:cubicBezTo>
                  <a:cubicBezTo>
                    <a:pt x="569" y="375"/>
                    <a:pt x="577" y="381"/>
                    <a:pt x="580" y="389"/>
                  </a:cubicBezTo>
                  <a:cubicBezTo>
                    <a:pt x="623" y="514"/>
                    <a:pt x="623" y="514"/>
                    <a:pt x="623" y="514"/>
                  </a:cubicBezTo>
                  <a:cubicBezTo>
                    <a:pt x="625" y="517"/>
                    <a:pt x="626" y="521"/>
                    <a:pt x="626" y="525"/>
                  </a:cubicBezTo>
                  <a:cubicBezTo>
                    <a:pt x="626" y="537"/>
                    <a:pt x="616" y="547"/>
                    <a:pt x="604" y="547"/>
                  </a:cubicBezTo>
                  <a:cubicBezTo>
                    <a:pt x="604" y="547"/>
                    <a:pt x="604" y="547"/>
                    <a:pt x="604" y="547"/>
                  </a:cubicBezTo>
                  <a:cubicBezTo>
                    <a:pt x="552" y="547"/>
                    <a:pt x="552" y="547"/>
                    <a:pt x="552" y="547"/>
                  </a:cubicBezTo>
                  <a:cubicBezTo>
                    <a:pt x="552" y="646"/>
                    <a:pt x="552" y="646"/>
                    <a:pt x="552" y="646"/>
                  </a:cubicBezTo>
                  <a:cubicBezTo>
                    <a:pt x="552" y="658"/>
                    <a:pt x="546" y="668"/>
                    <a:pt x="537" y="673"/>
                  </a:cubicBezTo>
                  <a:cubicBezTo>
                    <a:pt x="669" y="673"/>
                    <a:pt x="669" y="673"/>
                    <a:pt x="669" y="673"/>
                  </a:cubicBezTo>
                  <a:cubicBezTo>
                    <a:pt x="688" y="673"/>
                    <a:pt x="703" y="657"/>
                    <a:pt x="703" y="638"/>
                  </a:cubicBezTo>
                  <a:cubicBezTo>
                    <a:pt x="703" y="300"/>
                    <a:pt x="703" y="300"/>
                    <a:pt x="703" y="300"/>
                  </a:cubicBezTo>
                  <a:cubicBezTo>
                    <a:pt x="806" y="300"/>
                    <a:pt x="806" y="300"/>
                    <a:pt x="806" y="300"/>
                  </a:cubicBezTo>
                  <a:cubicBezTo>
                    <a:pt x="806" y="300"/>
                    <a:pt x="807" y="300"/>
                    <a:pt x="807" y="300"/>
                  </a:cubicBezTo>
                  <a:cubicBezTo>
                    <a:pt x="819" y="300"/>
                    <a:pt x="828" y="290"/>
                    <a:pt x="828" y="279"/>
                  </a:cubicBezTo>
                  <a:cubicBezTo>
                    <a:pt x="828" y="270"/>
                    <a:pt x="823" y="262"/>
                    <a:pt x="816" y="259"/>
                  </a:cubicBezTo>
                  <a:close/>
                  <a:moveTo>
                    <a:pt x="290" y="350"/>
                  </a:moveTo>
                  <a:cubicBezTo>
                    <a:pt x="262" y="350"/>
                    <a:pt x="239" y="327"/>
                    <a:pt x="239" y="299"/>
                  </a:cubicBezTo>
                  <a:cubicBezTo>
                    <a:pt x="239" y="270"/>
                    <a:pt x="262" y="247"/>
                    <a:pt x="290" y="247"/>
                  </a:cubicBezTo>
                  <a:cubicBezTo>
                    <a:pt x="319" y="247"/>
                    <a:pt x="342" y="270"/>
                    <a:pt x="342" y="299"/>
                  </a:cubicBezTo>
                  <a:cubicBezTo>
                    <a:pt x="342" y="327"/>
                    <a:pt x="319" y="350"/>
                    <a:pt x="290" y="350"/>
                  </a:cubicBezTo>
                  <a:close/>
                  <a:moveTo>
                    <a:pt x="522" y="350"/>
                  </a:moveTo>
                  <a:cubicBezTo>
                    <a:pt x="494" y="350"/>
                    <a:pt x="471" y="327"/>
                    <a:pt x="471" y="299"/>
                  </a:cubicBezTo>
                  <a:cubicBezTo>
                    <a:pt x="471" y="270"/>
                    <a:pt x="494" y="247"/>
                    <a:pt x="522" y="247"/>
                  </a:cubicBezTo>
                  <a:cubicBezTo>
                    <a:pt x="550" y="247"/>
                    <a:pt x="573" y="270"/>
                    <a:pt x="573" y="299"/>
                  </a:cubicBezTo>
                  <a:cubicBezTo>
                    <a:pt x="573" y="327"/>
                    <a:pt x="550" y="350"/>
                    <a:pt x="522"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0147" tIns="40074" rIns="80147" bIns="40074"/>
            <a:lstStyle/>
            <a:p>
              <a:pPr eaLnBrk="1" fontAlgn="auto" hangingPunct="1">
                <a:spcBef>
                  <a:spcPts val="0"/>
                </a:spcBef>
                <a:spcAft>
                  <a:spcPts val="0"/>
                </a:spcAft>
                <a:defRPr/>
              </a:pPr>
              <a:endParaRPr lang="en-US" sz="1000" kern="0">
                <a:solidFill>
                  <a:srgbClr val="000000"/>
                </a:solidFill>
                <a:latin typeface="Arial"/>
                <a:cs typeface="Arial"/>
                <a:sym typeface="Arial"/>
              </a:endParaRPr>
            </a:p>
          </p:txBody>
        </p:sp>
      </p:grpSp>
      <p:grpSp>
        <p:nvGrpSpPr>
          <p:cNvPr id="75826" name="Group 153"/>
          <p:cNvGrpSpPr>
            <a:grpSpLocks noChangeAspect="1"/>
          </p:cNvGrpSpPr>
          <p:nvPr/>
        </p:nvGrpSpPr>
        <p:grpSpPr bwMode="auto">
          <a:xfrm>
            <a:off x="7208838" y="4048125"/>
            <a:ext cx="303212" cy="307975"/>
            <a:chOff x="4962800" y="3032119"/>
            <a:chExt cx="612775" cy="612775"/>
          </a:xfrm>
        </p:grpSpPr>
        <p:sp>
          <p:nvSpPr>
            <p:cNvPr id="120" name="Oval 119">
              <a:extLst>
                <a:ext uri="{FF2B5EF4-FFF2-40B4-BE49-F238E27FC236}"/>
              </a:extLst>
            </p:cNvPr>
            <p:cNvSpPr/>
            <p:nvPr/>
          </p:nvSpPr>
          <p:spPr bwMode="ltGray">
            <a:xfrm>
              <a:off x="4962800" y="3032119"/>
              <a:ext cx="612775" cy="612775"/>
            </a:xfrm>
            <a:prstGeom prst="ellipse">
              <a:avLst/>
            </a:prstGeom>
            <a:solidFill>
              <a:srgbClr val="008755"/>
            </a:solidFill>
            <a:ln w="3175" cap="flat" cmpd="sng" algn="ctr">
              <a:noFill/>
              <a:prstDash val="solid"/>
            </a:ln>
            <a:effectLst/>
          </p:spPr>
          <p:txBody>
            <a:bodyPr anchor="ctr"/>
            <a:lstStyle>
              <a:lvl1pPr defTabSz="869950">
                <a:defRPr sz="1400">
                  <a:solidFill>
                    <a:srgbClr val="000000"/>
                  </a:solidFill>
                  <a:latin typeface="Arial" charset="0"/>
                  <a:ea typeface="Arial" charset="0"/>
                  <a:cs typeface="Arial" charset="0"/>
                  <a:sym typeface="Arial" charset="0"/>
                </a:defRPr>
              </a:lvl1pPr>
              <a:lvl2pPr marL="742950" indent="-285750" defTabSz="869950">
                <a:defRPr sz="1400">
                  <a:solidFill>
                    <a:srgbClr val="000000"/>
                  </a:solidFill>
                  <a:latin typeface="Arial" charset="0"/>
                  <a:ea typeface="Arial" charset="0"/>
                  <a:cs typeface="Arial" charset="0"/>
                  <a:sym typeface="Arial" charset="0"/>
                </a:defRPr>
              </a:lvl2pPr>
              <a:lvl3pPr marL="1143000" indent="-228600" defTabSz="869950">
                <a:defRPr sz="1400">
                  <a:solidFill>
                    <a:srgbClr val="000000"/>
                  </a:solidFill>
                  <a:latin typeface="Arial" charset="0"/>
                  <a:ea typeface="Arial" charset="0"/>
                  <a:cs typeface="Arial" charset="0"/>
                  <a:sym typeface="Arial" charset="0"/>
                </a:defRPr>
              </a:lvl3pPr>
              <a:lvl4pPr marL="1600200" indent="-228600" defTabSz="869950">
                <a:defRPr sz="1400">
                  <a:solidFill>
                    <a:srgbClr val="000000"/>
                  </a:solidFill>
                  <a:latin typeface="Arial" charset="0"/>
                  <a:ea typeface="Arial" charset="0"/>
                  <a:cs typeface="Arial" charset="0"/>
                  <a:sym typeface="Arial" charset="0"/>
                </a:defRPr>
              </a:lvl4pPr>
              <a:lvl5pPr marL="2057400" indent="-228600" defTabSz="869950">
                <a:defRPr sz="1400">
                  <a:solidFill>
                    <a:srgbClr val="000000"/>
                  </a:solidFill>
                  <a:latin typeface="Arial" charset="0"/>
                  <a:ea typeface="Arial" charset="0"/>
                  <a:cs typeface="Arial" charset="0"/>
                  <a:sym typeface="Arial" charset="0"/>
                </a:defRPr>
              </a:lvl5pPr>
              <a:lvl6pPr marL="25146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defTabSz="86995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fontAlgn="auto" hangingPunct="1">
                <a:spcBef>
                  <a:spcPts val="0"/>
                </a:spcBef>
                <a:spcAft>
                  <a:spcPts val="0"/>
                </a:spcAft>
                <a:defRPr/>
              </a:pPr>
              <a:endParaRPr lang="en-GB" altLang="en-US" sz="1000" kern="0">
                <a:solidFill>
                  <a:srgbClr val="FFFFFF"/>
                </a:solidFill>
              </a:endParaRPr>
            </a:p>
          </p:txBody>
        </p:sp>
        <p:sp>
          <p:nvSpPr>
            <p:cNvPr id="121" name="Freeform 41">
              <a:extLst>
                <a:ext uri="{FF2B5EF4-FFF2-40B4-BE49-F238E27FC236}"/>
              </a:extLst>
            </p:cNvPr>
            <p:cNvSpPr>
              <a:spLocks noEditPoints="1"/>
            </p:cNvSpPr>
            <p:nvPr/>
          </p:nvSpPr>
          <p:spPr bwMode="auto">
            <a:xfrm>
              <a:off x="5062255" y="3215320"/>
              <a:ext cx="426698" cy="233739"/>
            </a:xfrm>
            <a:custGeom>
              <a:avLst/>
              <a:gdLst>
                <a:gd name="T0" fmla="*/ 108870 w 929"/>
                <a:gd name="T1" fmla="*/ 1382 h 507"/>
                <a:gd name="T2" fmla="*/ 123171 w 929"/>
                <a:gd name="T3" fmla="*/ 18433 h 507"/>
                <a:gd name="T4" fmla="*/ 121787 w 929"/>
                <a:gd name="T5" fmla="*/ 218889 h 507"/>
                <a:gd name="T6" fmla="*/ 104257 w 929"/>
                <a:gd name="T7" fmla="*/ 233174 h 507"/>
                <a:gd name="T8" fmla="*/ 68275 w 929"/>
                <a:gd name="T9" fmla="*/ 231331 h 507"/>
                <a:gd name="T10" fmla="*/ 53974 w 929"/>
                <a:gd name="T11" fmla="*/ 214281 h 507"/>
                <a:gd name="T12" fmla="*/ 55819 w 929"/>
                <a:gd name="T13" fmla="*/ 14285 h 507"/>
                <a:gd name="T14" fmla="*/ 72888 w 929"/>
                <a:gd name="T15" fmla="*/ 461 h 507"/>
                <a:gd name="T16" fmla="*/ 296626 w 929"/>
                <a:gd name="T17" fmla="*/ 137324 h 507"/>
                <a:gd name="T18" fmla="*/ 395347 w 929"/>
                <a:gd name="T19" fmla="*/ 33640 h 507"/>
                <a:gd name="T20" fmla="*/ 383814 w 929"/>
                <a:gd name="T21" fmla="*/ 38709 h 507"/>
                <a:gd name="T22" fmla="*/ 378740 w 929"/>
                <a:gd name="T23" fmla="*/ 182484 h 507"/>
                <a:gd name="T24" fmla="*/ 383814 w 929"/>
                <a:gd name="T25" fmla="*/ 194005 h 507"/>
                <a:gd name="T26" fmla="*/ 411493 w 929"/>
                <a:gd name="T27" fmla="*/ 199074 h 507"/>
                <a:gd name="T28" fmla="*/ 423949 w 929"/>
                <a:gd name="T29" fmla="*/ 194005 h 507"/>
                <a:gd name="T30" fmla="*/ 428562 w 929"/>
                <a:gd name="T31" fmla="*/ 50690 h 507"/>
                <a:gd name="T32" fmla="*/ 423949 w 929"/>
                <a:gd name="T33" fmla="*/ 38709 h 507"/>
                <a:gd name="T34" fmla="*/ 411493 w 929"/>
                <a:gd name="T35" fmla="*/ 33640 h 507"/>
                <a:gd name="T36" fmla="*/ 410109 w 929"/>
                <a:gd name="T37" fmla="*/ 182023 h 507"/>
                <a:gd name="T38" fmla="*/ 408725 w 929"/>
                <a:gd name="T39" fmla="*/ 42856 h 507"/>
                <a:gd name="T40" fmla="*/ 417029 w 929"/>
                <a:gd name="T41" fmla="*/ 48386 h 507"/>
                <a:gd name="T42" fmla="*/ 419797 w 929"/>
                <a:gd name="T43" fmla="*/ 176033 h 507"/>
                <a:gd name="T44" fmla="*/ 415645 w 929"/>
                <a:gd name="T45" fmla="*/ 186632 h 507"/>
                <a:gd name="T46" fmla="*/ 403651 w 929"/>
                <a:gd name="T47" fmla="*/ 190779 h 507"/>
                <a:gd name="T48" fmla="*/ 323843 w 929"/>
                <a:gd name="T49" fmla="*/ 461 h 507"/>
                <a:gd name="T50" fmla="*/ 306775 w 929"/>
                <a:gd name="T51" fmla="*/ 14285 h 507"/>
                <a:gd name="T52" fmla="*/ 304929 w 929"/>
                <a:gd name="T53" fmla="*/ 214281 h 507"/>
                <a:gd name="T54" fmla="*/ 319692 w 929"/>
                <a:gd name="T55" fmla="*/ 231331 h 507"/>
                <a:gd name="T56" fmla="*/ 356135 w 929"/>
                <a:gd name="T57" fmla="*/ 233174 h 507"/>
                <a:gd name="T58" fmla="*/ 373204 w 929"/>
                <a:gd name="T59" fmla="*/ 218889 h 507"/>
                <a:gd name="T60" fmla="*/ 374588 w 929"/>
                <a:gd name="T61" fmla="*/ 18433 h 507"/>
                <a:gd name="T62" fmla="*/ 360749 w 929"/>
                <a:gd name="T63" fmla="*/ 1382 h 507"/>
                <a:gd name="T64" fmla="*/ 339989 w 929"/>
                <a:gd name="T65" fmla="*/ 221193 h 507"/>
                <a:gd name="T66" fmla="*/ 348754 w 929"/>
                <a:gd name="T67" fmla="*/ 20737 h 507"/>
                <a:gd name="T68" fmla="*/ 350600 w 929"/>
                <a:gd name="T69" fmla="*/ 14285 h 507"/>
                <a:gd name="T70" fmla="*/ 361671 w 929"/>
                <a:gd name="T71" fmla="*/ 26267 h 507"/>
                <a:gd name="T72" fmla="*/ 362594 w 929"/>
                <a:gd name="T73" fmla="*/ 204603 h 507"/>
                <a:gd name="T74" fmla="*/ 350138 w 929"/>
                <a:gd name="T75" fmla="*/ 219810 h 507"/>
                <a:gd name="T76" fmla="*/ 16607 w 929"/>
                <a:gd name="T77" fmla="*/ 33640 h 507"/>
                <a:gd name="T78" fmla="*/ 42441 w 929"/>
                <a:gd name="T79" fmla="*/ 36865 h 507"/>
                <a:gd name="T80" fmla="*/ 49361 w 929"/>
                <a:gd name="T81" fmla="*/ 50690 h 507"/>
                <a:gd name="T82" fmla="*/ 46593 w 929"/>
                <a:gd name="T83" fmla="*/ 192161 h 507"/>
                <a:gd name="T84" fmla="*/ 32753 w 929"/>
                <a:gd name="T85" fmla="*/ 199074 h 507"/>
                <a:gd name="T86" fmla="*/ 7381 w 929"/>
                <a:gd name="T87" fmla="*/ 196309 h 507"/>
                <a:gd name="T88" fmla="*/ 0 w 929"/>
                <a:gd name="T89" fmla="*/ 182484 h 507"/>
                <a:gd name="T90" fmla="*/ 2768 w 929"/>
                <a:gd name="T91" fmla="*/ 41474 h 507"/>
                <a:gd name="T92" fmla="*/ 16607 w 929"/>
                <a:gd name="T93" fmla="*/ 33640 h 507"/>
                <a:gd name="T94" fmla="*/ 20298 w 929"/>
                <a:gd name="T95" fmla="*/ 185249 h 507"/>
                <a:gd name="T96" fmla="*/ 18453 w 929"/>
                <a:gd name="T97" fmla="*/ 45621 h 507"/>
                <a:gd name="T98" fmla="*/ 12917 w 929"/>
                <a:gd name="T99" fmla="*/ 47003 h 507"/>
                <a:gd name="T100" fmla="*/ 8304 w 929"/>
                <a:gd name="T101" fmla="*/ 58063 h 507"/>
                <a:gd name="T102" fmla="*/ 11072 w 929"/>
                <a:gd name="T103" fmla="*/ 184327 h 507"/>
                <a:gd name="T104" fmla="*/ 23527 w 929"/>
                <a:gd name="T105" fmla="*/ 190779 h 507"/>
                <a:gd name="T106" fmla="*/ 84421 w 929"/>
                <a:gd name="T107" fmla="*/ 217967 h 507"/>
                <a:gd name="T108" fmla="*/ 79346 w 929"/>
                <a:gd name="T109" fmla="*/ 20737 h 507"/>
                <a:gd name="T110" fmla="*/ 75194 w 929"/>
                <a:gd name="T111" fmla="*/ 15668 h 507"/>
                <a:gd name="T112" fmla="*/ 65507 w 929"/>
                <a:gd name="T113" fmla="*/ 29492 h 507"/>
                <a:gd name="T114" fmla="*/ 67352 w 929"/>
                <a:gd name="T115" fmla="*/ 208751 h 507"/>
                <a:gd name="T116" fmla="*/ 82575 w 929"/>
                <a:gd name="T117" fmla="*/ 220732 h 50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29" h="507">
                  <a:moveTo>
                    <a:pt x="167" y="0"/>
                  </a:moveTo>
                  <a:lnTo>
                    <a:pt x="217" y="0"/>
                  </a:lnTo>
                  <a:lnTo>
                    <a:pt x="226" y="1"/>
                  </a:lnTo>
                  <a:lnTo>
                    <a:pt x="236" y="3"/>
                  </a:lnTo>
                  <a:lnTo>
                    <a:pt x="246" y="8"/>
                  </a:lnTo>
                  <a:lnTo>
                    <a:pt x="253" y="14"/>
                  </a:lnTo>
                  <a:lnTo>
                    <a:pt x="259" y="22"/>
                  </a:lnTo>
                  <a:lnTo>
                    <a:pt x="264" y="31"/>
                  </a:lnTo>
                  <a:lnTo>
                    <a:pt x="267" y="40"/>
                  </a:lnTo>
                  <a:lnTo>
                    <a:pt x="268" y="51"/>
                  </a:lnTo>
                  <a:lnTo>
                    <a:pt x="268" y="455"/>
                  </a:lnTo>
                  <a:lnTo>
                    <a:pt x="267" y="465"/>
                  </a:lnTo>
                  <a:lnTo>
                    <a:pt x="264" y="475"/>
                  </a:lnTo>
                  <a:lnTo>
                    <a:pt x="259" y="484"/>
                  </a:lnTo>
                  <a:lnTo>
                    <a:pt x="253" y="491"/>
                  </a:lnTo>
                  <a:lnTo>
                    <a:pt x="246" y="497"/>
                  </a:lnTo>
                  <a:lnTo>
                    <a:pt x="236" y="502"/>
                  </a:lnTo>
                  <a:lnTo>
                    <a:pt x="226" y="506"/>
                  </a:lnTo>
                  <a:lnTo>
                    <a:pt x="217" y="507"/>
                  </a:lnTo>
                  <a:lnTo>
                    <a:pt x="167" y="507"/>
                  </a:lnTo>
                  <a:lnTo>
                    <a:pt x="158" y="506"/>
                  </a:lnTo>
                  <a:lnTo>
                    <a:pt x="148" y="502"/>
                  </a:lnTo>
                  <a:lnTo>
                    <a:pt x="139" y="497"/>
                  </a:lnTo>
                  <a:lnTo>
                    <a:pt x="131" y="491"/>
                  </a:lnTo>
                  <a:lnTo>
                    <a:pt x="125" y="484"/>
                  </a:lnTo>
                  <a:lnTo>
                    <a:pt x="121" y="475"/>
                  </a:lnTo>
                  <a:lnTo>
                    <a:pt x="117" y="465"/>
                  </a:lnTo>
                  <a:lnTo>
                    <a:pt x="116" y="455"/>
                  </a:lnTo>
                  <a:lnTo>
                    <a:pt x="116" y="51"/>
                  </a:lnTo>
                  <a:lnTo>
                    <a:pt x="117" y="40"/>
                  </a:lnTo>
                  <a:lnTo>
                    <a:pt x="121" y="31"/>
                  </a:lnTo>
                  <a:lnTo>
                    <a:pt x="125" y="22"/>
                  </a:lnTo>
                  <a:lnTo>
                    <a:pt x="131" y="14"/>
                  </a:lnTo>
                  <a:lnTo>
                    <a:pt x="139" y="8"/>
                  </a:lnTo>
                  <a:lnTo>
                    <a:pt x="148" y="3"/>
                  </a:lnTo>
                  <a:lnTo>
                    <a:pt x="158" y="1"/>
                  </a:lnTo>
                  <a:lnTo>
                    <a:pt x="167" y="0"/>
                  </a:lnTo>
                  <a:close/>
                  <a:moveTo>
                    <a:pt x="289" y="204"/>
                  </a:moveTo>
                  <a:lnTo>
                    <a:pt x="643" y="204"/>
                  </a:lnTo>
                  <a:lnTo>
                    <a:pt x="643" y="298"/>
                  </a:lnTo>
                  <a:lnTo>
                    <a:pt x="289" y="298"/>
                  </a:lnTo>
                  <a:lnTo>
                    <a:pt x="289" y="204"/>
                  </a:lnTo>
                  <a:close/>
                  <a:moveTo>
                    <a:pt x="892" y="73"/>
                  </a:moveTo>
                  <a:lnTo>
                    <a:pt x="857" y="73"/>
                  </a:lnTo>
                  <a:lnTo>
                    <a:pt x="850" y="74"/>
                  </a:lnTo>
                  <a:lnTo>
                    <a:pt x="844" y="76"/>
                  </a:lnTo>
                  <a:lnTo>
                    <a:pt x="838" y="80"/>
                  </a:lnTo>
                  <a:lnTo>
                    <a:pt x="832" y="84"/>
                  </a:lnTo>
                  <a:lnTo>
                    <a:pt x="827" y="90"/>
                  </a:lnTo>
                  <a:lnTo>
                    <a:pt x="825" y="96"/>
                  </a:lnTo>
                  <a:lnTo>
                    <a:pt x="822" y="103"/>
                  </a:lnTo>
                  <a:lnTo>
                    <a:pt x="821" y="110"/>
                  </a:lnTo>
                  <a:lnTo>
                    <a:pt x="821" y="396"/>
                  </a:lnTo>
                  <a:lnTo>
                    <a:pt x="822" y="403"/>
                  </a:lnTo>
                  <a:lnTo>
                    <a:pt x="825" y="411"/>
                  </a:lnTo>
                  <a:lnTo>
                    <a:pt x="827" y="417"/>
                  </a:lnTo>
                  <a:lnTo>
                    <a:pt x="832" y="421"/>
                  </a:lnTo>
                  <a:lnTo>
                    <a:pt x="838" y="426"/>
                  </a:lnTo>
                  <a:lnTo>
                    <a:pt x="844" y="430"/>
                  </a:lnTo>
                  <a:lnTo>
                    <a:pt x="850" y="431"/>
                  </a:lnTo>
                  <a:lnTo>
                    <a:pt x="857" y="432"/>
                  </a:lnTo>
                  <a:lnTo>
                    <a:pt x="892" y="432"/>
                  </a:lnTo>
                  <a:lnTo>
                    <a:pt x="899" y="431"/>
                  </a:lnTo>
                  <a:lnTo>
                    <a:pt x="907" y="430"/>
                  </a:lnTo>
                  <a:lnTo>
                    <a:pt x="913" y="426"/>
                  </a:lnTo>
                  <a:lnTo>
                    <a:pt x="919" y="421"/>
                  </a:lnTo>
                  <a:lnTo>
                    <a:pt x="922" y="417"/>
                  </a:lnTo>
                  <a:lnTo>
                    <a:pt x="926" y="411"/>
                  </a:lnTo>
                  <a:lnTo>
                    <a:pt x="928" y="403"/>
                  </a:lnTo>
                  <a:lnTo>
                    <a:pt x="929" y="396"/>
                  </a:lnTo>
                  <a:lnTo>
                    <a:pt x="929" y="110"/>
                  </a:lnTo>
                  <a:lnTo>
                    <a:pt x="928" y="103"/>
                  </a:lnTo>
                  <a:lnTo>
                    <a:pt x="926" y="96"/>
                  </a:lnTo>
                  <a:lnTo>
                    <a:pt x="922" y="90"/>
                  </a:lnTo>
                  <a:lnTo>
                    <a:pt x="919" y="84"/>
                  </a:lnTo>
                  <a:lnTo>
                    <a:pt x="913" y="80"/>
                  </a:lnTo>
                  <a:lnTo>
                    <a:pt x="907" y="76"/>
                  </a:lnTo>
                  <a:lnTo>
                    <a:pt x="899" y="74"/>
                  </a:lnTo>
                  <a:lnTo>
                    <a:pt x="892" y="73"/>
                  </a:lnTo>
                  <a:close/>
                  <a:moveTo>
                    <a:pt x="875" y="414"/>
                  </a:moveTo>
                  <a:lnTo>
                    <a:pt x="875" y="414"/>
                  </a:lnTo>
                  <a:lnTo>
                    <a:pt x="881" y="409"/>
                  </a:lnTo>
                  <a:lnTo>
                    <a:pt x="885" y="402"/>
                  </a:lnTo>
                  <a:lnTo>
                    <a:pt x="889" y="395"/>
                  </a:lnTo>
                  <a:lnTo>
                    <a:pt x="889" y="388"/>
                  </a:lnTo>
                  <a:lnTo>
                    <a:pt x="889" y="106"/>
                  </a:lnTo>
                  <a:lnTo>
                    <a:pt x="889" y="99"/>
                  </a:lnTo>
                  <a:lnTo>
                    <a:pt x="886" y="93"/>
                  </a:lnTo>
                  <a:lnTo>
                    <a:pt x="892" y="96"/>
                  </a:lnTo>
                  <a:lnTo>
                    <a:pt x="896" y="98"/>
                  </a:lnTo>
                  <a:lnTo>
                    <a:pt x="901" y="102"/>
                  </a:lnTo>
                  <a:lnTo>
                    <a:pt x="904" y="105"/>
                  </a:lnTo>
                  <a:lnTo>
                    <a:pt x="907" y="110"/>
                  </a:lnTo>
                  <a:lnTo>
                    <a:pt x="909" y="115"/>
                  </a:lnTo>
                  <a:lnTo>
                    <a:pt x="910" y="120"/>
                  </a:lnTo>
                  <a:lnTo>
                    <a:pt x="910" y="126"/>
                  </a:lnTo>
                  <a:lnTo>
                    <a:pt x="910" y="382"/>
                  </a:lnTo>
                  <a:lnTo>
                    <a:pt x="910" y="388"/>
                  </a:lnTo>
                  <a:lnTo>
                    <a:pt x="908" y="394"/>
                  </a:lnTo>
                  <a:lnTo>
                    <a:pt x="905" y="400"/>
                  </a:lnTo>
                  <a:lnTo>
                    <a:pt x="901" y="405"/>
                  </a:lnTo>
                  <a:lnTo>
                    <a:pt x="896" y="408"/>
                  </a:lnTo>
                  <a:lnTo>
                    <a:pt x="891" y="412"/>
                  </a:lnTo>
                  <a:lnTo>
                    <a:pt x="885" y="413"/>
                  </a:lnTo>
                  <a:lnTo>
                    <a:pt x="878" y="414"/>
                  </a:lnTo>
                  <a:lnTo>
                    <a:pt x="875" y="414"/>
                  </a:lnTo>
                  <a:close/>
                  <a:moveTo>
                    <a:pt x="761" y="0"/>
                  </a:moveTo>
                  <a:lnTo>
                    <a:pt x="712" y="0"/>
                  </a:lnTo>
                  <a:lnTo>
                    <a:pt x="702" y="1"/>
                  </a:lnTo>
                  <a:lnTo>
                    <a:pt x="693" y="3"/>
                  </a:lnTo>
                  <a:lnTo>
                    <a:pt x="683" y="8"/>
                  </a:lnTo>
                  <a:lnTo>
                    <a:pt x="676" y="14"/>
                  </a:lnTo>
                  <a:lnTo>
                    <a:pt x="670" y="22"/>
                  </a:lnTo>
                  <a:lnTo>
                    <a:pt x="665" y="31"/>
                  </a:lnTo>
                  <a:lnTo>
                    <a:pt x="661" y="40"/>
                  </a:lnTo>
                  <a:lnTo>
                    <a:pt x="660" y="51"/>
                  </a:lnTo>
                  <a:lnTo>
                    <a:pt x="660" y="455"/>
                  </a:lnTo>
                  <a:lnTo>
                    <a:pt x="661" y="465"/>
                  </a:lnTo>
                  <a:lnTo>
                    <a:pt x="665" y="475"/>
                  </a:lnTo>
                  <a:lnTo>
                    <a:pt x="670" y="484"/>
                  </a:lnTo>
                  <a:lnTo>
                    <a:pt x="676" y="491"/>
                  </a:lnTo>
                  <a:lnTo>
                    <a:pt x="683" y="497"/>
                  </a:lnTo>
                  <a:lnTo>
                    <a:pt x="693" y="502"/>
                  </a:lnTo>
                  <a:lnTo>
                    <a:pt x="702" y="506"/>
                  </a:lnTo>
                  <a:lnTo>
                    <a:pt x="712" y="507"/>
                  </a:lnTo>
                  <a:lnTo>
                    <a:pt x="761" y="507"/>
                  </a:lnTo>
                  <a:lnTo>
                    <a:pt x="772" y="506"/>
                  </a:lnTo>
                  <a:lnTo>
                    <a:pt x="782" y="502"/>
                  </a:lnTo>
                  <a:lnTo>
                    <a:pt x="790" y="497"/>
                  </a:lnTo>
                  <a:lnTo>
                    <a:pt x="797" y="491"/>
                  </a:lnTo>
                  <a:lnTo>
                    <a:pt x="804" y="484"/>
                  </a:lnTo>
                  <a:lnTo>
                    <a:pt x="809" y="475"/>
                  </a:lnTo>
                  <a:lnTo>
                    <a:pt x="812" y="465"/>
                  </a:lnTo>
                  <a:lnTo>
                    <a:pt x="813" y="455"/>
                  </a:lnTo>
                  <a:lnTo>
                    <a:pt x="813" y="51"/>
                  </a:lnTo>
                  <a:lnTo>
                    <a:pt x="812" y="40"/>
                  </a:lnTo>
                  <a:lnTo>
                    <a:pt x="809" y="31"/>
                  </a:lnTo>
                  <a:lnTo>
                    <a:pt x="804" y="22"/>
                  </a:lnTo>
                  <a:lnTo>
                    <a:pt x="797" y="14"/>
                  </a:lnTo>
                  <a:lnTo>
                    <a:pt x="790" y="8"/>
                  </a:lnTo>
                  <a:lnTo>
                    <a:pt x="782" y="3"/>
                  </a:lnTo>
                  <a:lnTo>
                    <a:pt x="772" y="1"/>
                  </a:lnTo>
                  <a:lnTo>
                    <a:pt x="761" y="0"/>
                  </a:lnTo>
                  <a:close/>
                  <a:moveTo>
                    <a:pt x="737" y="480"/>
                  </a:moveTo>
                  <a:lnTo>
                    <a:pt x="737" y="480"/>
                  </a:lnTo>
                  <a:lnTo>
                    <a:pt x="746" y="473"/>
                  </a:lnTo>
                  <a:lnTo>
                    <a:pt x="752" y="465"/>
                  </a:lnTo>
                  <a:lnTo>
                    <a:pt x="755" y="454"/>
                  </a:lnTo>
                  <a:lnTo>
                    <a:pt x="756" y="443"/>
                  </a:lnTo>
                  <a:lnTo>
                    <a:pt x="756" y="45"/>
                  </a:lnTo>
                  <a:lnTo>
                    <a:pt x="755" y="37"/>
                  </a:lnTo>
                  <a:lnTo>
                    <a:pt x="753" y="28"/>
                  </a:lnTo>
                  <a:lnTo>
                    <a:pt x="760" y="31"/>
                  </a:lnTo>
                  <a:lnTo>
                    <a:pt x="767" y="34"/>
                  </a:lnTo>
                  <a:lnTo>
                    <a:pt x="772" y="39"/>
                  </a:lnTo>
                  <a:lnTo>
                    <a:pt x="777" y="44"/>
                  </a:lnTo>
                  <a:lnTo>
                    <a:pt x="782" y="51"/>
                  </a:lnTo>
                  <a:lnTo>
                    <a:pt x="784" y="57"/>
                  </a:lnTo>
                  <a:lnTo>
                    <a:pt x="786" y="64"/>
                  </a:lnTo>
                  <a:lnTo>
                    <a:pt x="786" y="73"/>
                  </a:lnTo>
                  <a:lnTo>
                    <a:pt x="786" y="435"/>
                  </a:lnTo>
                  <a:lnTo>
                    <a:pt x="786" y="444"/>
                  </a:lnTo>
                  <a:lnTo>
                    <a:pt x="783" y="453"/>
                  </a:lnTo>
                  <a:lnTo>
                    <a:pt x="779" y="460"/>
                  </a:lnTo>
                  <a:lnTo>
                    <a:pt x="773" y="467"/>
                  </a:lnTo>
                  <a:lnTo>
                    <a:pt x="766" y="473"/>
                  </a:lnTo>
                  <a:lnTo>
                    <a:pt x="759" y="477"/>
                  </a:lnTo>
                  <a:lnTo>
                    <a:pt x="750" y="479"/>
                  </a:lnTo>
                  <a:lnTo>
                    <a:pt x="741" y="480"/>
                  </a:lnTo>
                  <a:lnTo>
                    <a:pt x="737" y="480"/>
                  </a:lnTo>
                  <a:close/>
                  <a:moveTo>
                    <a:pt x="36" y="73"/>
                  </a:moveTo>
                  <a:lnTo>
                    <a:pt x="71" y="73"/>
                  </a:lnTo>
                  <a:lnTo>
                    <a:pt x="79" y="74"/>
                  </a:lnTo>
                  <a:lnTo>
                    <a:pt x="86" y="76"/>
                  </a:lnTo>
                  <a:lnTo>
                    <a:pt x="92" y="80"/>
                  </a:lnTo>
                  <a:lnTo>
                    <a:pt x="97" y="84"/>
                  </a:lnTo>
                  <a:lnTo>
                    <a:pt x="101" y="90"/>
                  </a:lnTo>
                  <a:lnTo>
                    <a:pt x="105" y="96"/>
                  </a:lnTo>
                  <a:lnTo>
                    <a:pt x="107" y="103"/>
                  </a:lnTo>
                  <a:lnTo>
                    <a:pt x="107" y="110"/>
                  </a:lnTo>
                  <a:lnTo>
                    <a:pt x="107" y="396"/>
                  </a:lnTo>
                  <a:lnTo>
                    <a:pt x="107" y="403"/>
                  </a:lnTo>
                  <a:lnTo>
                    <a:pt x="105" y="411"/>
                  </a:lnTo>
                  <a:lnTo>
                    <a:pt x="101" y="417"/>
                  </a:lnTo>
                  <a:lnTo>
                    <a:pt x="97" y="421"/>
                  </a:lnTo>
                  <a:lnTo>
                    <a:pt x="92" y="426"/>
                  </a:lnTo>
                  <a:lnTo>
                    <a:pt x="86" y="430"/>
                  </a:lnTo>
                  <a:lnTo>
                    <a:pt x="79" y="431"/>
                  </a:lnTo>
                  <a:lnTo>
                    <a:pt x="71" y="432"/>
                  </a:lnTo>
                  <a:lnTo>
                    <a:pt x="36" y="432"/>
                  </a:lnTo>
                  <a:lnTo>
                    <a:pt x="29" y="431"/>
                  </a:lnTo>
                  <a:lnTo>
                    <a:pt x="22" y="430"/>
                  </a:lnTo>
                  <a:lnTo>
                    <a:pt x="16" y="426"/>
                  </a:lnTo>
                  <a:lnTo>
                    <a:pt x="11" y="421"/>
                  </a:lnTo>
                  <a:lnTo>
                    <a:pt x="6" y="417"/>
                  </a:lnTo>
                  <a:lnTo>
                    <a:pt x="3" y="411"/>
                  </a:lnTo>
                  <a:lnTo>
                    <a:pt x="0" y="403"/>
                  </a:lnTo>
                  <a:lnTo>
                    <a:pt x="0" y="396"/>
                  </a:lnTo>
                  <a:lnTo>
                    <a:pt x="0" y="110"/>
                  </a:lnTo>
                  <a:lnTo>
                    <a:pt x="0" y="103"/>
                  </a:lnTo>
                  <a:lnTo>
                    <a:pt x="3" y="96"/>
                  </a:lnTo>
                  <a:lnTo>
                    <a:pt x="6" y="90"/>
                  </a:lnTo>
                  <a:lnTo>
                    <a:pt x="11" y="84"/>
                  </a:lnTo>
                  <a:lnTo>
                    <a:pt x="16" y="80"/>
                  </a:lnTo>
                  <a:lnTo>
                    <a:pt x="22" y="76"/>
                  </a:lnTo>
                  <a:lnTo>
                    <a:pt x="29" y="74"/>
                  </a:lnTo>
                  <a:lnTo>
                    <a:pt x="36" y="73"/>
                  </a:lnTo>
                  <a:close/>
                  <a:moveTo>
                    <a:pt x="53" y="414"/>
                  </a:moveTo>
                  <a:lnTo>
                    <a:pt x="53" y="414"/>
                  </a:lnTo>
                  <a:lnTo>
                    <a:pt x="47" y="409"/>
                  </a:lnTo>
                  <a:lnTo>
                    <a:pt x="44" y="402"/>
                  </a:lnTo>
                  <a:lnTo>
                    <a:pt x="41" y="395"/>
                  </a:lnTo>
                  <a:lnTo>
                    <a:pt x="40" y="388"/>
                  </a:lnTo>
                  <a:lnTo>
                    <a:pt x="40" y="106"/>
                  </a:lnTo>
                  <a:lnTo>
                    <a:pt x="40" y="99"/>
                  </a:lnTo>
                  <a:lnTo>
                    <a:pt x="42" y="93"/>
                  </a:lnTo>
                  <a:lnTo>
                    <a:pt x="38" y="96"/>
                  </a:lnTo>
                  <a:lnTo>
                    <a:pt x="33" y="98"/>
                  </a:lnTo>
                  <a:lnTo>
                    <a:pt x="28" y="102"/>
                  </a:lnTo>
                  <a:lnTo>
                    <a:pt x="26" y="105"/>
                  </a:lnTo>
                  <a:lnTo>
                    <a:pt x="22" y="110"/>
                  </a:lnTo>
                  <a:lnTo>
                    <a:pt x="20" y="115"/>
                  </a:lnTo>
                  <a:lnTo>
                    <a:pt x="18" y="120"/>
                  </a:lnTo>
                  <a:lnTo>
                    <a:pt x="18" y="126"/>
                  </a:lnTo>
                  <a:lnTo>
                    <a:pt x="18" y="382"/>
                  </a:lnTo>
                  <a:lnTo>
                    <a:pt x="18" y="388"/>
                  </a:lnTo>
                  <a:lnTo>
                    <a:pt x="21" y="394"/>
                  </a:lnTo>
                  <a:lnTo>
                    <a:pt x="24" y="400"/>
                  </a:lnTo>
                  <a:lnTo>
                    <a:pt x="28" y="405"/>
                  </a:lnTo>
                  <a:lnTo>
                    <a:pt x="33" y="408"/>
                  </a:lnTo>
                  <a:lnTo>
                    <a:pt x="39" y="412"/>
                  </a:lnTo>
                  <a:lnTo>
                    <a:pt x="45" y="413"/>
                  </a:lnTo>
                  <a:lnTo>
                    <a:pt x="51" y="414"/>
                  </a:lnTo>
                  <a:lnTo>
                    <a:pt x="53" y="414"/>
                  </a:lnTo>
                  <a:close/>
                  <a:moveTo>
                    <a:pt x="191" y="480"/>
                  </a:moveTo>
                  <a:lnTo>
                    <a:pt x="191" y="480"/>
                  </a:lnTo>
                  <a:lnTo>
                    <a:pt x="183" y="473"/>
                  </a:lnTo>
                  <a:lnTo>
                    <a:pt x="177" y="465"/>
                  </a:lnTo>
                  <a:lnTo>
                    <a:pt x="173" y="454"/>
                  </a:lnTo>
                  <a:lnTo>
                    <a:pt x="172" y="443"/>
                  </a:lnTo>
                  <a:lnTo>
                    <a:pt x="172" y="45"/>
                  </a:lnTo>
                  <a:lnTo>
                    <a:pt x="173" y="37"/>
                  </a:lnTo>
                  <a:lnTo>
                    <a:pt x="176" y="28"/>
                  </a:lnTo>
                  <a:lnTo>
                    <a:pt x="169" y="31"/>
                  </a:lnTo>
                  <a:lnTo>
                    <a:pt x="163" y="34"/>
                  </a:lnTo>
                  <a:lnTo>
                    <a:pt x="157" y="39"/>
                  </a:lnTo>
                  <a:lnTo>
                    <a:pt x="152" y="44"/>
                  </a:lnTo>
                  <a:lnTo>
                    <a:pt x="147" y="51"/>
                  </a:lnTo>
                  <a:lnTo>
                    <a:pt x="145" y="57"/>
                  </a:lnTo>
                  <a:lnTo>
                    <a:pt x="142" y="64"/>
                  </a:lnTo>
                  <a:lnTo>
                    <a:pt x="142" y="73"/>
                  </a:lnTo>
                  <a:lnTo>
                    <a:pt x="142" y="435"/>
                  </a:lnTo>
                  <a:lnTo>
                    <a:pt x="143" y="444"/>
                  </a:lnTo>
                  <a:lnTo>
                    <a:pt x="146" y="453"/>
                  </a:lnTo>
                  <a:lnTo>
                    <a:pt x="149" y="460"/>
                  </a:lnTo>
                  <a:lnTo>
                    <a:pt x="155" y="467"/>
                  </a:lnTo>
                  <a:lnTo>
                    <a:pt x="163" y="473"/>
                  </a:lnTo>
                  <a:lnTo>
                    <a:pt x="170" y="477"/>
                  </a:lnTo>
                  <a:lnTo>
                    <a:pt x="179" y="479"/>
                  </a:lnTo>
                  <a:lnTo>
                    <a:pt x="188" y="480"/>
                  </a:lnTo>
                  <a:lnTo>
                    <a:pt x="191" y="4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eaLnBrk="1" fontAlgn="auto" hangingPunct="1">
                <a:spcBef>
                  <a:spcPts val="0"/>
                </a:spcBef>
                <a:spcAft>
                  <a:spcPts val="0"/>
                </a:spcAft>
                <a:defRPr/>
              </a:pPr>
              <a:endParaRPr lang="en-US" sz="1000" kern="0">
                <a:solidFill>
                  <a:srgbClr val="000000"/>
                </a:solidFill>
                <a:latin typeface="Arial"/>
                <a:cs typeface="Arial"/>
                <a:sym typeface="Arial"/>
              </a:endParaRPr>
            </a:p>
          </p:txBody>
        </p:sp>
      </p:grpSp>
      <p:sp>
        <p:nvSpPr>
          <p:cNvPr id="75827" name="TextBox 121"/>
          <p:cNvSpPr txBox="1">
            <a:spLocks noChangeArrowheads="1"/>
          </p:cNvSpPr>
          <p:nvPr/>
        </p:nvSpPr>
        <p:spPr bwMode="auto">
          <a:xfrm>
            <a:off x="7556500" y="3687763"/>
            <a:ext cx="96202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000">
                <a:solidFill>
                  <a:srgbClr val="000000"/>
                </a:solidFill>
                <a:latin typeface="Arial" panose="020B0604020202020204" pitchFamily="34" charset="0"/>
              </a:rPr>
              <a:t>School Wellness</a:t>
            </a:r>
          </a:p>
        </p:txBody>
      </p:sp>
      <p:sp>
        <p:nvSpPr>
          <p:cNvPr id="75828" name="TextBox 122"/>
          <p:cNvSpPr txBox="1">
            <a:spLocks noChangeArrowheads="1"/>
          </p:cNvSpPr>
          <p:nvPr/>
        </p:nvSpPr>
        <p:spPr bwMode="auto">
          <a:xfrm>
            <a:off x="7570788" y="4113213"/>
            <a:ext cx="962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000">
                <a:solidFill>
                  <a:srgbClr val="000000"/>
                </a:solidFill>
                <a:latin typeface="Arial" panose="020B0604020202020204" pitchFamily="34" charset="0"/>
              </a:rPr>
              <a:t>Health Coach Program</a:t>
            </a:r>
          </a:p>
        </p:txBody>
      </p:sp>
      <p:sp>
        <p:nvSpPr>
          <p:cNvPr id="75829" name="TextBox 123"/>
          <p:cNvSpPr txBox="1">
            <a:spLocks noChangeArrowheads="1"/>
          </p:cNvSpPr>
          <p:nvPr/>
        </p:nvSpPr>
        <p:spPr bwMode="auto">
          <a:xfrm>
            <a:off x="333375" y="5984875"/>
            <a:ext cx="8523288"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300"/>
              </a:spcBef>
              <a:spcAft>
                <a:spcPct val="0"/>
              </a:spcAft>
              <a:buClr>
                <a:srgbClr val="048962"/>
              </a:buClr>
              <a:buSzTx/>
              <a:buFontTx/>
              <a:buNone/>
            </a:pPr>
            <a:r>
              <a:rPr lang="en-US" sz="1200" i="1">
                <a:solidFill>
                  <a:schemeClr val="tx1"/>
                </a:solidFill>
                <a:latin typeface="Garamond" panose="02020404030301010803" pitchFamily="18" charset="0"/>
              </a:rPr>
              <a:t>A top-down estimate of the economic impact of all the Systems of Care and all the cross-cutting interventions</a:t>
            </a:r>
            <a:endParaRPr lang="en-US" sz="1200" i="1">
              <a:solidFill>
                <a:schemeClr val="tx1"/>
              </a:solidFill>
              <a:latin typeface="Arial" panose="020B0604020202020204" pitchFamily="34" charset="0"/>
            </a:endParaRPr>
          </a:p>
        </p:txBody>
      </p:sp>
      <p:sp>
        <p:nvSpPr>
          <p:cNvPr id="75830" name="TextBox 6"/>
          <p:cNvSpPr txBox="1">
            <a:spLocks noChangeArrowheads="1"/>
          </p:cNvSpPr>
          <p:nvPr/>
        </p:nvSpPr>
        <p:spPr bwMode="auto">
          <a:xfrm>
            <a:off x="244475" y="6369050"/>
            <a:ext cx="63992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nchor="b"/>
          <a:lstStyle>
            <a:lvl1pPr marL="136525" indent="-136525"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Tx/>
              <a:buSzTx/>
              <a:buFontTx/>
              <a:buAutoNum type="arabicPeriod"/>
            </a:pPr>
            <a:r>
              <a:rPr lang="en-US" sz="800">
                <a:solidFill>
                  <a:schemeClr val="tx1"/>
                </a:solidFill>
                <a:latin typeface="Arial" panose="020B0604020202020204" pitchFamily="34" charset="0"/>
              </a:rPr>
              <a:t>Developing</a:t>
            </a:r>
            <a:r>
              <a:rPr lang="en-GB" sz="800">
                <a:solidFill>
                  <a:schemeClr val="tx1"/>
                </a:solidFill>
                <a:latin typeface="Garamond" panose="02020404030301010803" pitchFamily="18" charset="0"/>
              </a:rPr>
              <a:t> national Systems of Care designs into implementable regional pathways</a:t>
            </a:r>
            <a:endParaRPr lang="en-GB" sz="800" b="1">
              <a:solidFill>
                <a:schemeClr val="tx1"/>
              </a:solidFill>
              <a:latin typeface="Garamond" panose="02020404030301010803" pitchFamily="18"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826"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25" name="think-cell Slide" r:id="rId5" imgW="360" imgH="360" progId="TCLayout.ActiveDocument.1">
                  <p:embed/>
                </p:oleObj>
              </mc:Choice>
              <mc:Fallback>
                <p:oleObj name="think-cell Slide" r:id="rId5" imgW="360" imgH="360" progId="TCLayout.ActiveDocument.1">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 name="Rectangle 111">
            <a:extLst>
              <a:ext uri="{FF2B5EF4-FFF2-40B4-BE49-F238E27FC236}"/>
            </a:extLst>
          </p:cNvPr>
          <p:cNvSpPr/>
          <p:nvPr/>
        </p:nvSpPr>
        <p:spPr>
          <a:xfrm>
            <a:off x="244475" y="2457450"/>
            <a:ext cx="4229100" cy="3203575"/>
          </a:xfrm>
          <a:prstGeom prst="rect">
            <a:avLst/>
          </a:prstGeom>
          <a:gradFill>
            <a:gsLst>
              <a:gs pos="0">
                <a:schemeClr val="tx2">
                  <a:lumMod val="10000"/>
                  <a:lumOff val="90000"/>
                </a:schemeClr>
              </a:gs>
              <a:gs pos="100000">
                <a:schemeClr val="bg1">
                  <a:alpha val="66000"/>
                </a:schemeClr>
              </a:gs>
            </a:gsLst>
            <a:lin ang="5400000" scaled="1"/>
          </a:gra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a:lnSpc>
                <a:spcPct val="90000"/>
              </a:lnSpc>
              <a:spcBef>
                <a:spcPts val="900"/>
              </a:spcBef>
              <a:defRPr/>
            </a:pPr>
            <a:endParaRPr lang="en-US" sz="1400" b="1" dirty="0">
              <a:solidFill>
                <a:schemeClr val="bg1"/>
              </a:solidFill>
              <a:latin typeface="Arial" pitchFamily="34" charset="0"/>
              <a:cs typeface="Arial" pitchFamily="34" charset="0"/>
            </a:endParaRPr>
          </a:p>
        </p:txBody>
      </p:sp>
      <p:sp>
        <p:nvSpPr>
          <p:cNvPr id="113" name="Rectangle 112">
            <a:extLst>
              <a:ext uri="{FF2B5EF4-FFF2-40B4-BE49-F238E27FC236}"/>
            </a:extLst>
          </p:cNvPr>
          <p:cNvSpPr/>
          <p:nvPr/>
        </p:nvSpPr>
        <p:spPr>
          <a:xfrm>
            <a:off x="4664075" y="2457450"/>
            <a:ext cx="4229100" cy="3170238"/>
          </a:xfrm>
          <a:prstGeom prst="rect">
            <a:avLst/>
          </a:prstGeom>
          <a:gradFill>
            <a:gsLst>
              <a:gs pos="0">
                <a:schemeClr val="tx2">
                  <a:lumMod val="10000"/>
                  <a:lumOff val="90000"/>
                </a:schemeClr>
              </a:gs>
              <a:gs pos="100000">
                <a:schemeClr val="bg1">
                  <a:alpha val="66000"/>
                </a:schemeClr>
              </a:gs>
            </a:gsLst>
            <a:lin ang="5400000" scaled="1"/>
          </a:gra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a:lnSpc>
                <a:spcPct val="90000"/>
              </a:lnSpc>
              <a:spcBef>
                <a:spcPts val="900"/>
              </a:spcBef>
              <a:defRPr/>
            </a:pPr>
            <a:endParaRPr lang="en-US" sz="1400" b="1" dirty="0">
              <a:solidFill>
                <a:schemeClr val="bg1"/>
              </a:solidFill>
              <a:latin typeface="Arial" pitchFamily="34" charset="0"/>
              <a:cs typeface="Arial" pitchFamily="34" charset="0"/>
            </a:endParaRPr>
          </a:p>
        </p:txBody>
      </p:sp>
      <p:sp>
        <p:nvSpPr>
          <p:cNvPr id="9" name="Title 1">
            <a:extLst>
              <a:ext uri="{FF2B5EF4-FFF2-40B4-BE49-F238E27FC236}"/>
            </a:extLst>
          </p:cNvPr>
          <p:cNvSpPr>
            <a:spLocks noGrp="1"/>
          </p:cNvSpPr>
          <p:nvPr>
            <p:ph type="title"/>
          </p:nvPr>
        </p:nvSpPr>
        <p:spPr>
          <a:xfrm>
            <a:off x="244475" y="152400"/>
            <a:ext cx="7820025" cy="665163"/>
          </a:xfrm>
        </p:spPr>
        <p:txBody>
          <a:bodyPr>
            <a:normAutofit fontScale="90000"/>
          </a:bodyPr>
          <a:lstStyle/>
          <a:p>
            <a:pPr fontAlgn="auto">
              <a:spcAft>
                <a:spcPts val="0"/>
              </a:spcAft>
              <a:defRPr/>
            </a:pPr>
            <a:r>
              <a:rPr lang="en-US" sz="2400" dirty="0">
                <a:solidFill>
                  <a:srgbClr val="048962"/>
                </a:solidFill>
              </a:rPr>
              <a:t>In Phase III, </a:t>
            </a:r>
            <a:r>
              <a:rPr lang="en-US" sz="2400" dirty="0" smtClean="0">
                <a:solidFill>
                  <a:srgbClr val="048962"/>
                </a:solidFill>
              </a:rPr>
              <a:t>5 pathway development </a:t>
            </a:r>
            <a:r>
              <a:rPr lang="en-US" sz="2400" dirty="0">
                <a:solidFill>
                  <a:srgbClr val="048962"/>
                </a:solidFill>
              </a:rPr>
              <a:t>projects (pilots) launched </a:t>
            </a:r>
            <a:r>
              <a:rPr lang="en-US" sz="2400" dirty="0" smtClean="0">
                <a:solidFill>
                  <a:srgbClr val="048962"/>
                </a:solidFill>
              </a:rPr>
              <a:t>and </a:t>
            </a:r>
            <a:r>
              <a:rPr lang="en-US" sz="2400" dirty="0">
                <a:solidFill>
                  <a:srgbClr val="048962"/>
                </a:solidFill>
              </a:rPr>
              <a:t>continued detailing interventions</a:t>
            </a:r>
          </a:p>
        </p:txBody>
      </p:sp>
      <p:sp>
        <p:nvSpPr>
          <p:cNvPr id="12" name="Rectangle 11">
            <a:extLst>
              <a:ext uri="{FF2B5EF4-FFF2-40B4-BE49-F238E27FC236}"/>
            </a:extLst>
          </p:cNvPr>
          <p:cNvSpPr/>
          <p:nvPr/>
        </p:nvSpPr>
        <p:spPr>
          <a:xfrm>
            <a:off x="244475" y="2057400"/>
            <a:ext cx="4229100" cy="406400"/>
          </a:xfrm>
          <a:prstGeom prst="rect">
            <a:avLst/>
          </a:prstGeom>
          <a:solidFill>
            <a:schemeClr val="bg2"/>
          </a:solidFill>
          <a:ln w="6350" cap="flat" cmpd="sng" algn="ctr">
            <a:noFill/>
            <a:prstDash val="solid"/>
            <a:miter lim="800000"/>
          </a:ln>
          <a:effectLst/>
          <a:extLst>
            <a:ext uri="{91240B29-F687-4F45-9708-019B960494DF}">
              <a14:hiddenLine xmlns:a14="http://schemas.microsoft.com/office/drawing/2010/main" w="6350"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marL="341313">
              <a:lnSpc>
                <a:spcPct val="90000"/>
              </a:lnSpc>
              <a:spcBef>
                <a:spcPts val="900"/>
              </a:spcBef>
              <a:defRPr/>
            </a:pPr>
            <a:r>
              <a:rPr lang="en-US" sz="1400" b="1" dirty="0">
                <a:latin typeface="Arial" panose="020B0604020202020204" pitchFamily="34" charset="0"/>
                <a:cs typeface="Arial" panose="020B0604020202020204" pitchFamily="34" charset="0"/>
              </a:rPr>
              <a:t>Pathway pilot implementation </a:t>
            </a:r>
            <a:endParaRPr lang="en-US" sz="1400" b="1" dirty="0">
              <a:solidFill>
                <a:schemeClr val="bg1"/>
              </a:solidFill>
              <a:latin typeface="Arial" pitchFamily="34" charset="0"/>
              <a:cs typeface="Arial" pitchFamily="34" charset="0"/>
            </a:endParaRPr>
          </a:p>
        </p:txBody>
      </p:sp>
      <p:sp>
        <p:nvSpPr>
          <p:cNvPr id="13" name="Rectangle 12">
            <a:extLst>
              <a:ext uri="{FF2B5EF4-FFF2-40B4-BE49-F238E27FC236}"/>
            </a:extLst>
          </p:cNvPr>
          <p:cNvSpPr/>
          <p:nvPr/>
        </p:nvSpPr>
        <p:spPr>
          <a:xfrm>
            <a:off x="4664075" y="2057400"/>
            <a:ext cx="4229100" cy="406400"/>
          </a:xfrm>
          <a:prstGeom prst="rect">
            <a:avLst/>
          </a:prstGeom>
          <a:solidFill>
            <a:schemeClr val="bg2"/>
          </a:solidFill>
          <a:ln w="6350" cap="flat" cmpd="sng" algn="ctr">
            <a:noFill/>
            <a:prstDash val="solid"/>
            <a:miter lim="800000"/>
          </a:ln>
          <a:effectLst/>
          <a:extLst>
            <a:ext uri="{91240B29-F687-4F45-9708-019B960494DF}">
              <a14:hiddenLine xmlns:a14="http://schemas.microsoft.com/office/drawing/2010/main" w="6350"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marL="396875">
              <a:lnSpc>
                <a:spcPct val="90000"/>
              </a:lnSpc>
              <a:spcBef>
                <a:spcPts val="900"/>
              </a:spcBef>
              <a:defRPr/>
            </a:pPr>
            <a:r>
              <a:rPr lang="en-US" sz="1400" b="1" dirty="0">
                <a:latin typeface="Arial" panose="020B0604020202020204" pitchFamily="34" charset="0"/>
                <a:cs typeface="Arial" panose="020B0604020202020204" pitchFamily="34" charset="0"/>
              </a:rPr>
              <a:t>National interventions development</a:t>
            </a:r>
            <a:endParaRPr lang="en-US" sz="1400" b="1" dirty="0">
              <a:solidFill>
                <a:schemeClr val="bg1"/>
              </a:solidFill>
              <a:latin typeface="Arial" pitchFamily="34" charset="0"/>
              <a:cs typeface="Arial" pitchFamily="34" charset="0"/>
            </a:endParaRPr>
          </a:p>
        </p:txBody>
      </p:sp>
      <p:sp>
        <p:nvSpPr>
          <p:cNvPr id="77832" name="TextBox 13"/>
          <p:cNvSpPr txBox="1">
            <a:spLocks noChangeArrowheads="1"/>
          </p:cNvSpPr>
          <p:nvPr/>
        </p:nvSpPr>
        <p:spPr bwMode="auto">
          <a:xfrm>
            <a:off x="244475" y="1628775"/>
            <a:ext cx="6840538" cy="249238"/>
          </a:xfrm>
          <a:prstGeom prst="rect">
            <a:avLst/>
          </a:prstGeom>
          <a:noFill/>
          <a:ln>
            <a:noFill/>
          </a:ln>
          <a:extLst>
            <a:ext uri="{909E8E84-426E-40DD-AFC4-6F175D3DCCD1}">
              <a14:hiddenFill xmlns:a14="http://schemas.microsoft.com/office/drawing/2010/main">
                <a:solidFill>
                  <a:srgbClr val="A5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ct val="0"/>
              </a:spcBef>
              <a:spcAft>
                <a:spcPct val="0"/>
              </a:spcAft>
              <a:buClr>
                <a:schemeClr val="bg2"/>
              </a:buClr>
              <a:buSzTx/>
              <a:buFontTx/>
              <a:buNone/>
            </a:pPr>
            <a:r>
              <a:rPr lang="en-US" sz="1800" b="1">
                <a:solidFill>
                  <a:schemeClr val="tx1"/>
                </a:solidFill>
                <a:latin typeface="Arial" panose="020B0604020202020204" pitchFamily="34" charset="0"/>
              </a:rPr>
              <a:t>Phase III: Pilots implementation </a:t>
            </a:r>
          </a:p>
        </p:txBody>
      </p:sp>
      <p:sp>
        <p:nvSpPr>
          <p:cNvPr id="77833" name="TextBox 261"/>
          <p:cNvSpPr txBox="1">
            <a:spLocks noChangeArrowheads="1"/>
          </p:cNvSpPr>
          <p:nvPr/>
        </p:nvSpPr>
        <p:spPr bwMode="auto">
          <a:xfrm>
            <a:off x="4830763" y="2654300"/>
            <a:ext cx="2087562"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ts val="600"/>
              </a:spcBef>
              <a:spcAft>
                <a:spcPct val="0"/>
              </a:spcAft>
              <a:buClr>
                <a:schemeClr val="bg2"/>
              </a:buClr>
              <a:buSzTx/>
              <a:buFontTx/>
              <a:buNone/>
            </a:pPr>
            <a:r>
              <a:rPr lang="en-US" sz="1200" b="1">
                <a:solidFill>
                  <a:schemeClr val="tx1"/>
                </a:solidFill>
                <a:latin typeface="Arial" panose="020B0604020202020204" pitchFamily="34" charset="0"/>
              </a:rPr>
              <a:t>Specialized Care </a:t>
            </a:r>
          </a:p>
        </p:txBody>
      </p:sp>
      <p:sp>
        <p:nvSpPr>
          <p:cNvPr id="77834" name="TextBox 262"/>
          <p:cNvSpPr txBox="1">
            <a:spLocks noChangeArrowheads="1"/>
          </p:cNvSpPr>
          <p:nvPr/>
        </p:nvSpPr>
        <p:spPr bwMode="auto">
          <a:xfrm>
            <a:off x="6853238" y="2654300"/>
            <a:ext cx="2087562"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ts val="600"/>
              </a:spcBef>
              <a:spcAft>
                <a:spcPct val="0"/>
              </a:spcAft>
              <a:buClr>
                <a:schemeClr val="bg2"/>
              </a:buClr>
              <a:buSzTx/>
              <a:buFontTx/>
              <a:buNone/>
            </a:pPr>
            <a:r>
              <a:rPr lang="en-US" sz="1200" b="1">
                <a:solidFill>
                  <a:schemeClr val="tx1"/>
                </a:solidFill>
                <a:latin typeface="Arial" panose="020B0604020202020204" pitchFamily="34" charset="0"/>
              </a:rPr>
              <a:t>Urgent Care Pilots  </a:t>
            </a:r>
          </a:p>
        </p:txBody>
      </p:sp>
      <p:sp>
        <p:nvSpPr>
          <p:cNvPr id="77835" name="TextBox 263"/>
          <p:cNvSpPr txBox="1">
            <a:spLocks noChangeArrowheads="1"/>
          </p:cNvSpPr>
          <p:nvPr/>
        </p:nvSpPr>
        <p:spPr bwMode="auto">
          <a:xfrm>
            <a:off x="4830763" y="4041775"/>
            <a:ext cx="2087562"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ts val="600"/>
              </a:spcBef>
              <a:spcAft>
                <a:spcPct val="0"/>
              </a:spcAft>
              <a:buClr>
                <a:schemeClr val="bg2"/>
              </a:buClr>
              <a:buSzTx/>
              <a:buFontTx/>
              <a:buNone/>
            </a:pPr>
            <a:r>
              <a:rPr lang="en-US" sz="1200" b="1">
                <a:solidFill>
                  <a:schemeClr val="tx1"/>
                </a:solidFill>
                <a:latin typeface="Arial" panose="020B0604020202020204" pitchFamily="34" charset="0"/>
              </a:rPr>
              <a:t>Cross-Cutting</a:t>
            </a:r>
          </a:p>
        </p:txBody>
      </p:sp>
      <p:sp>
        <p:nvSpPr>
          <p:cNvPr id="266" name="Rectangle 265">
            <a:extLst>
              <a:ext uri="{FF2B5EF4-FFF2-40B4-BE49-F238E27FC236}"/>
            </a:extLst>
          </p:cNvPr>
          <p:cNvSpPr/>
          <p:nvPr/>
        </p:nvSpPr>
        <p:spPr>
          <a:xfrm>
            <a:off x="5046663" y="2838450"/>
            <a:ext cx="1673225" cy="1095375"/>
          </a:xfrm>
          <a:prstGeom prst="rect">
            <a:avLst/>
          </a:prstGeom>
          <a:no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lstStyle/>
          <a:p>
            <a:pPr marL="89111" indent="-89111">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Ophthalmology</a:t>
            </a:r>
          </a:p>
          <a:p>
            <a:pPr marL="89111" indent="-89111">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Oncology</a:t>
            </a:r>
          </a:p>
          <a:p>
            <a:pPr marL="89111" indent="-89111">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Mental Health Services</a:t>
            </a:r>
          </a:p>
        </p:txBody>
      </p:sp>
      <p:sp>
        <p:nvSpPr>
          <p:cNvPr id="267" name="Rectangle 266">
            <a:extLst>
              <a:ext uri="{FF2B5EF4-FFF2-40B4-BE49-F238E27FC236}"/>
            </a:extLst>
          </p:cNvPr>
          <p:cNvSpPr/>
          <p:nvPr/>
        </p:nvSpPr>
        <p:spPr>
          <a:xfrm>
            <a:off x="7050088" y="2852738"/>
            <a:ext cx="1900237" cy="1190625"/>
          </a:xfrm>
          <a:prstGeom prst="rect">
            <a:avLst/>
          </a:prstGeom>
          <a:no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lstStyle/>
          <a:p>
            <a:pPr marL="89111" indent="-89111">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Acute Coronary Syndrome</a:t>
            </a:r>
          </a:p>
          <a:p>
            <a:pPr marL="89111" indent="-89111">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Stroke</a:t>
            </a:r>
          </a:p>
          <a:p>
            <a:pPr marL="89111" indent="-89111">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Trauma</a:t>
            </a:r>
          </a:p>
        </p:txBody>
      </p:sp>
      <p:sp>
        <p:nvSpPr>
          <p:cNvPr id="269" name="Rectangle 268">
            <a:extLst>
              <a:ext uri="{FF2B5EF4-FFF2-40B4-BE49-F238E27FC236}"/>
            </a:extLst>
          </p:cNvPr>
          <p:cNvSpPr/>
          <p:nvPr/>
        </p:nvSpPr>
        <p:spPr>
          <a:xfrm>
            <a:off x="5064125" y="4292600"/>
            <a:ext cx="1962150" cy="1165225"/>
          </a:xfrm>
          <a:prstGeom prst="rect">
            <a:avLst/>
          </a:prstGeom>
          <a:no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lstStyle/>
          <a:p>
            <a:pPr marL="89111" indent="-89111">
              <a:lnSpc>
                <a:spcPct val="70000"/>
              </a:lnSpc>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Resource optimization</a:t>
            </a:r>
          </a:p>
          <a:p>
            <a:pPr marL="89111" indent="-89111">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Health Hotline</a:t>
            </a:r>
          </a:p>
          <a:p>
            <a:pPr marL="89111" indent="-89111">
              <a:lnSpc>
                <a:spcPct val="70000"/>
              </a:lnSpc>
              <a:spcAft>
                <a:spcPts val="1800"/>
              </a:spcAft>
              <a:buClr>
                <a:schemeClr val="bg2"/>
              </a:buClr>
              <a:buSzPct val="100000"/>
              <a:buFont typeface="Arial" panose="020B0604020202020204" pitchFamily="34" charset="0"/>
              <a:buChar char="•"/>
              <a:defRPr/>
            </a:pPr>
            <a:r>
              <a:rPr lang="en-US" sz="1100" dirty="0">
                <a:solidFill>
                  <a:schemeClr val="tx1"/>
                </a:solidFill>
                <a:latin typeface="Arial" panose="020B0604020202020204" pitchFamily="34" charset="0"/>
                <a:cs typeface="Arial" pitchFamily="34" charset="0"/>
              </a:rPr>
              <a:t>National Referral Networks</a:t>
            </a:r>
          </a:p>
        </p:txBody>
      </p:sp>
      <p:grpSp>
        <p:nvGrpSpPr>
          <p:cNvPr id="77839" name="Group 89"/>
          <p:cNvGrpSpPr>
            <a:grpSpLocks/>
          </p:cNvGrpSpPr>
          <p:nvPr/>
        </p:nvGrpSpPr>
        <p:grpSpPr bwMode="auto">
          <a:xfrm>
            <a:off x="1241425" y="3255963"/>
            <a:ext cx="2214563" cy="1828800"/>
            <a:chOff x="1698625" y="1851025"/>
            <a:chExt cx="5592763" cy="4619626"/>
          </a:xfrm>
        </p:grpSpPr>
        <p:sp>
          <p:nvSpPr>
            <p:cNvPr id="91" name="Freeform 5">
              <a:extLst>
                <a:ext uri="{FF2B5EF4-FFF2-40B4-BE49-F238E27FC236}"/>
              </a:extLst>
            </p:cNvPr>
            <p:cNvSpPr>
              <a:spLocks noEditPoints="1"/>
            </p:cNvSpPr>
            <p:nvPr/>
          </p:nvSpPr>
          <p:spPr bwMode="auto">
            <a:xfrm>
              <a:off x="2011339" y="3374860"/>
              <a:ext cx="1587623" cy="2947416"/>
            </a:xfrm>
            <a:custGeom>
              <a:avLst/>
              <a:gdLst>
                <a:gd name="T0" fmla="*/ 993 w 1000"/>
                <a:gd name="T1" fmla="*/ 1856 h 1856"/>
                <a:gd name="T2" fmla="*/ 992 w 1000"/>
                <a:gd name="T3" fmla="*/ 1856 h 1856"/>
                <a:gd name="T4" fmla="*/ 990 w 1000"/>
                <a:gd name="T5" fmla="*/ 1855 h 1856"/>
                <a:gd name="T6" fmla="*/ 989 w 1000"/>
                <a:gd name="T7" fmla="*/ 1853 h 1856"/>
                <a:gd name="T8" fmla="*/ 987 w 1000"/>
                <a:gd name="T9" fmla="*/ 1851 h 1856"/>
                <a:gd name="T10" fmla="*/ 989 w 1000"/>
                <a:gd name="T11" fmla="*/ 1850 h 1856"/>
                <a:gd name="T12" fmla="*/ 993 w 1000"/>
                <a:gd name="T13" fmla="*/ 1844 h 1856"/>
                <a:gd name="T14" fmla="*/ 995 w 1000"/>
                <a:gd name="T15" fmla="*/ 1845 h 1856"/>
                <a:gd name="T16" fmla="*/ 997 w 1000"/>
                <a:gd name="T17" fmla="*/ 1846 h 1856"/>
                <a:gd name="T18" fmla="*/ 999 w 1000"/>
                <a:gd name="T19" fmla="*/ 1850 h 1856"/>
                <a:gd name="T20" fmla="*/ 999 w 1000"/>
                <a:gd name="T21" fmla="*/ 1850 h 1856"/>
                <a:gd name="T22" fmla="*/ 1000 w 1000"/>
                <a:gd name="T23" fmla="*/ 1852 h 1856"/>
                <a:gd name="T24" fmla="*/ 999 w 1000"/>
                <a:gd name="T25" fmla="*/ 1854 h 1856"/>
                <a:gd name="T26" fmla="*/ 996 w 1000"/>
                <a:gd name="T27" fmla="*/ 1856 h 1856"/>
                <a:gd name="T28" fmla="*/ 993 w 1000"/>
                <a:gd name="T29" fmla="*/ 1856 h 1856"/>
                <a:gd name="T30" fmla="*/ 993 w 1000"/>
                <a:gd name="T31" fmla="*/ 1856 h 1856"/>
                <a:gd name="T32" fmla="*/ 229 w 1000"/>
                <a:gd name="T33" fmla="*/ 408 h 1856"/>
                <a:gd name="T34" fmla="*/ 228 w 1000"/>
                <a:gd name="T35" fmla="*/ 410 h 1856"/>
                <a:gd name="T36" fmla="*/ 226 w 1000"/>
                <a:gd name="T37" fmla="*/ 409 h 1856"/>
                <a:gd name="T38" fmla="*/ 224 w 1000"/>
                <a:gd name="T39" fmla="*/ 408 h 1856"/>
                <a:gd name="T40" fmla="*/ 222 w 1000"/>
                <a:gd name="T41" fmla="*/ 408 h 1856"/>
                <a:gd name="T42" fmla="*/ 221 w 1000"/>
                <a:gd name="T43" fmla="*/ 409 h 1856"/>
                <a:gd name="T44" fmla="*/ 221 w 1000"/>
                <a:gd name="T45" fmla="*/ 405 h 1856"/>
                <a:gd name="T46" fmla="*/ 222 w 1000"/>
                <a:gd name="T47" fmla="*/ 403 h 1856"/>
                <a:gd name="T48" fmla="*/ 224 w 1000"/>
                <a:gd name="T49" fmla="*/ 403 h 1856"/>
                <a:gd name="T50" fmla="*/ 225 w 1000"/>
                <a:gd name="T51" fmla="*/ 404 h 1856"/>
                <a:gd name="T52" fmla="*/ 229 w 1000"/>
                <a:gd name="T53" fmla="*/ 408 h 1856"/>
                <a:gd name="T54" fmla="*/ 229 w 1000"/>
                <a:gd name="T55" fmla="*/ 408 h 1856"/>
                <a:gd name="T56" fmla="*/ 6 w 1000"/>
                <a:gd name="T57" fmla="*/ 10 h 1856"/>
                <a:gd name="T58" fmla="*/ 7 w 1000"/>
                <a:gd name="T59" fmla="*/ 12 h 1856"/>
                <a:gd name="T60" fmla="*/ 3 w 1000"/>
                <a:gd name="T61" fmla="*/ 7 h 1856"/>
                <a:gd name="T62" fmla="*/ 0 w 1000"/>
                <a:gd name="T63" fmla="*/ 6 h 1856"/>
                <a:gd name="T64" fmla="*/ 0 w 1000"/>
                <a:gd name="T65" fmla="*/ 3 h 1856"/>
                <a:gd name="T66" fmla="*/ 0 w 1000"/>
                <a:gd name="T67" fmla="*/ 1 h 1856"/>
                <a:gd name="T68" fmla="*/ 1 w 1000"/>
                <a:gd name="T69" fmla="*/ 0 h 1856"/>
                <a:gd name="T70" fmla="*/ 5 w 1000"/>
                <a:gd name="T71" fmla="*/ 6 h 1856"/>
                <a:gd name="T72" fmla="*/ 6 w 1000"/>
                <a:gd name="T73" fmla="*/ 8 h 1856"/>
                <a:gd name="T74" fmla="*/ 6 w 1000"/>
                <a:gd name="T75" fmla="*/ 10 h 1856"/>
                <a:gd name="T76" fmla="*/ 6 w 1000"/>
                <a:gd name="T77" fmla="*/ 10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0" h="1856">
                  <a:moveTo>
                    <a:pt x="993" y="1856"/>
                  </a:moveTo>
                  <a:lnTo>
                    <a:pt x="992" y="1856"/>
                  </a:lnTo>
                  <a:lnTo>
                    <a:pt x="990" y="1855"/>
                  </a:lnTo>
                  <a:lnTo>
                    <a:pt x="989" y="1853"/>
                  </a:lnTo>
                  <a:lnTo>
                    <a:pt x="987" y="1851"/>
                  </a:lnTo>
                  <a:lnTo>
                    <a:pt x="989" y="1850"/>
                  </a:lnTo>
                  <a:lnTo>
                    <a:pt x="993" y="1844"/>
                  </a:lnTo>
                  <a:lnTo>
                    <a:pt x="995" y="1845"/>
                  </a:lnTo>
                  <a:lnTo>
                    <a:pt x="997" y="1846"/>
                  </a:lnTo>
                  <a:lnTo>
                    <a:pt x="999" y="1850"/>
                  </a:lnTo>
                  <a:lnTo>
                    <a:pt x="999" y="1850"/>
                  </a:lnTo>
                  <a:lnTo>
                    <a:pt x="1000" y="1852"/>
                  </a:lnTo>
                  <a:lnTo>
                    <a:pt x="999" y="1854"/>
                  </a:lnTo>
                  <a:lnTo>
                    <a:pt x="996" y="1856"/>
                  </a:lnTo>
                  <a:lnTo>
                    <a:pt x="993" y="1856"/>
                  </a:lnTo>
                  <a:lnTo>
                    <a:pt x="993" y="1856"/>
                  </a:lnTo>
                  <a:close/>
                  <a:moveTo>
                    <a:pt x="229" y="408"/>
                  </a:moveTo>
                  <a:lnTo>
                    <a:pt x="228" y="410"/>
                  </a:lnTo>
                  <a:lnTo>
                    <a:pt x="226" y="409"/>
                  </a:lnTo>
                  <a:lnTo>
                    <a:pt x="224" y="408"/>
                  </a:lnTo>
                  <a:lnTo>
                    <a:pt x="222" y="408"/>
                  </a:lnTo>
                  <a:lnTo>
                    <a:pt x="221" y="409"/>
                  </a:lnTo>
                  <a:lnTo>
                    <a:pt x="221" y="405"/>
                  </a:lnTo>
                  <a:lnTo>
                    <a:pt x="222" y="403"/>
                  </a:lnTo>
                  <a:lnTo>
                    <a:pt x="224" y="403"/>
                  </a:lnTo>
                  <a:lnTo>
                    <a:pt x="225" y="404"/>
                  </a:lnTo>
                  <a:lnTo>
                    <a:pt x="229" y="408"/>
                  </a:lnTo>
                  <a:lnTo>
                    <a:pt x="229" y="408"/>
                  </a:lnTo>
                  <a:close/>
                  <a:moveTo>
                    <a:pt x="6" y="10"/>
                  </a:moveTo>
                  <a:lnTo>
                    <a:pt x="7" y="12"/>
                  </a:lnTo>
                  <a:lnTo>
                    <a:pt x="3" y="7"/>
                  </a:lnTo>
                  <a:lnTo>
                    <a:pt x="0" y="6"/>
                  </a:lnTo>
                  <a:lnTo>
                    <a:pt x="0" y="3"/>
                  </a:lnTo>
                  <a:lnTo>
                    <a:pt x="0" y="1"/>
                  </a:lnTo>
                  <a:lnTo>
                    <a:pt x="1" y="0"/>
                  </a:lnTo>
                  <a:lnTo>
                    <a:pt x="5" y="6"/>
                  </a:lnTo>
                  <a:lnTo>
                    <a:pt x="6" y="8"/>
                  </a:lnTo>
                  <a:lnTo>
                    <a:pt x="6" y="10"/>
                  </a:lnTo>
                  <a:lnTo>
                    <a:pt x="6" y="10"/>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92" name="Freeform 6">
              <a:extLst>
                <a:ext uri="{FF2B5EF4-FFF2-40B4-BE49-F238E27FC236}"/>
              </a:extLst>
            </p:cNvPr>
            <p:cNvSpPr>
              <a:spLocks/>
            </p:cNvSpPr>
            <p:nvPr/>
          </p:nvSpPr>
          <p:spPr bwMode="auto">
            <a:xfrm>
              <a:off x="4104114" y="5584419"/>
              <a:ext cx="1090488" cy="725828"/>
            </a:xfrm>
            <a:custGeom>
              <a:avLst/>
              <a:gdLst>
                <a:gd name="T0" fmla="*/ 634 w 687"/>
                <a:gd name="T1" fmla="*/ 430 h 457"/>
                <a:gd name="T2" fmla="*/ 594 w 687"/>
                <a:gd name="T3" fmla="*/ 454 h 457"/>
                <a:gd name="T4" fmla="*/ 584 w 687"/>
                <a:gd name="T5" fmla="*/ 457 h 457"/>
                <a:gd name="T6" fmla="*/ 558 w 687"/>
                <a:gd name="T7" fmla="*/ 454 h 457"/>
                <a:gd name="T8" fmla="*/ 520 w 687"/>
                <a:gd name="T9" fmla="*/ 402 h 457"/>
                <a:gd name="T10" fmla="*/ 449 w 687"/>
                <a:gd name="T11" fmla="*/ 407 h 457"/>
                <a:gd name="T12" fmla="*/ 335 w 687"/>
                <a:gd name="T13" fmla="*/ 396 h 457"/>
                <a:gd name="T14" fmla="*/ 292 w 687"/>
                <a:gd name="T15" fmla="*/ 389 h 457"/>
                <a:gd name="T16" fmla="*/ 256 w 687"/>
                <a:gd name="T17" fmla="*/ 371 h 457"/>
                <a:gd name="T18" fmla="*/ 169 w 687"/>
                <a:gd name="T19" fmla="*/ 371 h 457"/>
                <a:gd name="T20" fmla="*/ 155 w 687"/>
                <a:gd name="T21" fmla="*/ 375 h 457"/>
                <a:gd name="T22" fmla="*/ 139 w 687"/>
                <a:gd name="T23" fmla="*/ 374 h 457"/>
                <a:gd name="T24" fmla="*/ 112 w 687"/>
                <a:gd name="T25" fmla="*/ 374 h 457"/>
                <a:gd name="T26" fmla="*/ 96 w 687"/>
                <a:gd name="T27" fmla="*/ 378 h 457"/>
                <a:gd name="T28" fmla="*/ 86 w 687"/>
                <a:gd name="T29" fmla="*/ 375 h 457"/>
                <a:gd name="T30" fmla="*/ 80 w 687"/>
                <a:gd name="T31" fmla="*/ 382 h 457"/>
                <a:gd name="T32" fmla="*/ 75 w 687"/>
                <a:gd name="T33" fmla="*/ 386 h 457"/>
                <a:gd name="T34" fmla="*/ 64 w 687"/>
                <a:gd name="T35" fmla="*/ 382 h 457"/>
                <a:gd name="T36" fmla="*/ 57 w 687"/>
                <a:gd name="T37" fmla="*/ 383 h 457"/>
                <a:gd name="T38" fmla="*/ 53 w 687"/>
                <a:gd name="T39" fmla="*/ 390 h 457"/>
                <a:gd name="T40" fmla="*/ 46 w 687"/>
                <a:gd name="T41" fmla="*/ 394 h 457"/>
                <a:gd name="T42" fmla="*/ 43 w 687"/>
                <a:gd name="T43" fmla="*/ 392 h 457"/>
                <a:gd name="T44" fmla="*/ 42 w 687"/>
                <a:gd name="T45" fmla="*/ 387 h 457"/>
                <a:gd name="T46" fmla="*/ 42 w 687"/>
                <a:gd name="T47" fmla="*/ 384 h 457"/>
                <a:gd name="T48" fmla="*/ 34 w 687"/>
                <a:gd name="T49" fmla="*/ 386 h 457"/>
                <a:gd name="T50" fmla="*/ 22 w 687"/>
                <a:gd name="T51" fmla="*/ 386 h 457"/>
                <a:gd name="T52" fmla="*/ 16 w 687"/>
                <a:gd name="T53" fmla="*/ 385 h 457"/>
                <a:gd name="T54" fmla="*/ 0 w 687"/>
                <a:gd name="T55" fmla="*/ 369 h 457"/>
                <a:gd name="T56" fmla="*/ 4 w 687"/>
                <a:gd name="T57" fmla="*/ 346 h 457"/>
                <a:gd name="T58" fmla="*/ 1 w 687"/>
                <a:gd name="T59" fmla="*/ 326 h 457"/>
                <a:gd name="T60" fmla="*/ 1 w 687"/>
                <a:gd name="T61" fmla="*/ 317 h 457"/>
                <a:gd name="T62" fmla="*/ 6 w 687"/>
                <a:gd name="T63" fmla="*/ 271 h 457"/>
                <a:gd name="T64" fmla="*/ 4 w 687"/>
                <a:gd name="T65" fmla="*/ 256 h 457"/>
                <a:gd name="T66" fmla="*/ 0 w 687"/>
                <a:gd name="T67" fmla="*/ 241 h 457"/>
                <a:gd name="T68" fmla="*/ 2 w 687"/>
                <a:gd name="T69" fmla="*/ 231 h 457"/>
                <a:gd name="T70" fmla="*/ 9 w 687"/>
                <a:gd name="T71" fmla="*/ 219 h 457"/>
                <a:gd name="T72" fmla="*/ 55 w 687"/>
                <a:gd name="T73" fmla="*/ 175 h 457"/>
                <a:gd name="T74" fmla="*/ 63 w 687"/>
                <a:gd name="T75" fmla="*/ 166 h 457"/>
                <a:gd name="T76" fmla="*/ 69 w 687"/>
                <a:gd name="T77" fmla="*/ 153 h 457"/>
                <a:gd name="T78" fmla="*/ 74 w 687"/>
                <a:gd name="T79" fmla="*/ 145 h 457"/>
                <a:gd name="T80" fmla="*/ 82 w 687"/>
                <a:gd name="T81" fmla="*/ 140 h 457"/>
                <a:gd name="T82" fmla="*/ 101 w 687"/>
                <a:gd name="T83" fmla="*/ 135 h 457"/>
                <a:gd name="T84" fmla="*/ 117 w 687"/>
                <a:gd name="T85" fmla="*/ 126 h 457"/>
                <a:gd name="T86" fmla="*/ 122 w 687"/>
                <a:gd name="T87" fmla="*/ 120 h 457"/>
                <a:gd name="T88" fmla="*/ 125 w 687"/>
                <a:gd name="T89" fmla="*/ 112 h 457"/>
                <a:gd name="T90" fmla="*/ 127 w 687"/>
                <a:gd name="T91" fmla="*/ 100 h 457"/>
                <a:gd name="T92" fmla="*/ 126 w 687"/>
                <a:gd name="T93" fmla="*/ 86 h 457"/>
                <a:gd name="T94" fmla="*/ 121 w 687"/>
                <a:gd name="T95" fmla="*/ 60 h 457"/>
                <a:gd name="T96" fmla="*/ 125 w 687"/>
                <a:gd name="T97" fmla="*/ 48 h 457"/>
                <a:gd name="T98" fmla="*/ 141 w 687"/>
                <a:gd name="T99" fmla="*/ 39 h 457"/>
                <a:gd name="T100" fmla="*/ 145 w 687"/>
                <a:gd name="T101" fmla="*/ 35 h 457"/>
                <a:gd name="T102" fmla="*/ 147 w 687"/>
                <a:gd name="T103" fmla="*/ 25 h 457"/>
                <a:gd name="T104" fmla="*/ 193 w 687"/>
                <a:gd name="T105" fmla="*/ 31 h 457"/>
                <a:gd name="T106" fmla="*/ 215 w 687"/>
                <a:gd name="T107" fmla="*/ 41 h 457"/>
                <a:gd name="T108" fmla="*/ 274 w 687"/>
                <a:gd name="T109" fmla="*/ 48 h 457"/>
                <a:gd name="T110" fmla="*/ 687 w 687"/>
                <a:gd name="T111" fmla="*/ 0 h 457"/>
                <a:gd name="T112" fmla="*/ 634 w 687"/>
                <a:gd name="T113" fmla="*/ 43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7" h="457">
                  <a:moveTo>
                    <a:pt x="634" y="430"/>
                  </a:moveTo>
                  <a:lnTo>
                    <a:pt x="634" y="430"/>
                  </a:lnTo>
                  <a:lnTo>
                    <a:pt x="614" y="442"/>
                  </a:lnTo>
                  <a:lnTo>
                    <a:pt x="594" y="454"/>
                  </a:lnTo>
                  <a:lnTo>
                    <a:pt x="590" y="456"/>
                  </a:lnTo>
                  <a:lnTo>
                    <a:pt x="584" y="457"/>
                  </a:lnTo>
                  <a:lnTo>
                    <a:pt x="560" y="456"/>
                  </a:lnTo>
                  <a:lnTo>
                    <a:pt x="558" y="454"/>
                  </a:lnTo>
                  <a:lnTo>
                    <a:pt x="544" y="435"/>
                  </a:lnTo>
                  <a:lnTo>
                    <a:pt x="520" y="402"/>
                  </a:lnTo>
                  <a:lnTo>
                    <a:pt x="514" y="398"/>
                  </a:lnTo>
                  <a:lnTo>
                    <a:pt x="449" y="407"/>
                  </a:lnTo>
                  <a:lnTo>
                    <a:pt x="377" y="399"/>
                  </a:lnTo>
                  <a:lnTo>
                    <a:pt x="335" y="396"/>
                  </a:lnTo>
                  <a:lnTo>
                    <a:pt x="300" y="392"/>
                  </a:lnTo>
                  <a:lnTo>
                    <a:pt x="292" y="389"/>
                  </a:lnTo>
                  <a:lnTo>
                    <a:pt x="265" y="373"/>
                  </a:lnTo>
                  <a:lnTo>
                    <a:pt x="256" y="371"/>
                  </a:lnTo>
                  <a:lnTo>
                    <a:pt x="203" y="371"/>
                  </a:lnTo>
                  <a:lnTo>
                    <a:pt x="169" y="371"/>
                  </a:lnTo>
                  <a:lnTo>
                    <a:pt x="165" y="371"/>
                  </a:lnTo>
                  <a:lnTo>
                    <a:pt x="155" y="375"/>
                  </a:lnTo>
                  <a:lnTo>
                    <a:pt x="150" y="375"/>
                  </a:lnTo>
                  <a:lnTo>
                    <a:pt x="139" y="374"/>
                  </a:lnTo>
                  <a:lnTo>
                    <a:pt x="128" y="373"/>
                  </a:lnTo>
                  <a:lnTo>
                    <a:pt x="112" y="374"/>
                  </a:lnTo>
                  <a:lnTo>
                    <a:pt x="99" y="378"/>
                  </a:lnTo>
                  <a:lnTo>
                    <a:pt x="96" y="378"/>
                  </a:lnTo>
                  <a:lnTo>
                    <a:pt x="89" y="376"/>
                  </a:lnTo>
                  <a:lnTo>
                    <a:pt x="86" y="375"/>
                  </a:lnTo>
                  <a:lnTo>
                    <a:pt x="83" y="377"/>
                  </a:lnTo>
                  <a:lnTo>
                    <a:pt x="80" y="382"/>
                  </a:lnTo>
                  <a:lnTo>
                    <a:pt x="78" y="385"/>
                  </a:lnTo>
                  <a:lnTo>
                    <a:pt x="75" y="386"/>
                  </a:lnTo>
                  <a:lnTo>
                    <a:pt x="71" y="385"/>
                  </a:lnTo>
                  <a:lnTo>
                    <a:pt x="64" y="382"/>
                  </a:lnTo>
                  <a:lnTo>
                    <a:pt x="61" y="382"/>
                  </a:lnTo>
                  <a:lnTo>
                    <a:pt x="57" y="383"/>
                  </a:lnTo>
                  <a:lnTo>
                    <a:pt x="55" y="387"/>
                  </a:lnTo>
                  <a:lnTo>
                    <a:pt x="53" y="390"/>
                  </a:lnTo>
                  <a:lnTo>
                    <a:pt x="50" y="393"/>
                  </a:lnTo>
                  <a:lnTo>
                    <a:pt x="46" y="394"/>
                  </a:lnTo>
                  <a:lnTo>
                    <a:pt x="44" y="393"/>
                  </a:lnTo>
                  <a:lnTo>
                    <a:pt x="43" y="392"/>
                  </a:lnTo>
                  <a:lnTo>
                    <a:pt x="42" y="390"/>
                  </a:lnTo>
                  <a:lnTo>
                    <a:pt x="42" y="387"/>
                  </a:lnTo>
                  <a:lnTo>
                    <a:pt x="42" y="385"/>
                  </a:lnTo>
                  <a:lnTo>
                    <a:pt x="42" y="384"/>
                  </a:lnTo>
                  <a:lnTo>
                    <a:pt x="38" y="385"/>
                  </a:lnTo>
                  <a:lnTo>
                    <a:pt x="34" y="386"/>
                  </a:lnTo>
                  <a:lnTo>
                    <a:pt x="28" y="385"/>
                  </a:lnTo>
                  <a:lnTo>
                    <a:pt x="22" y="386"/>
                  </a:lnTo>
                  <a:lnTo>
                    <a:pt x="19" y="386"/>
                  </a:lnTo>
                  <a:lnTo>
                    <a:pt x="16" y="385"/>
                  </a:lnTo>
                  <a:lnTo>
                    <a:pt x="9" y="379"/>
                  </a:lnTo>
                  <a:lnTo>
                    <a:pt x="0" y="369"/>
                  </a:lnTo>
                  <a:lnTo>
                    <a:pt x="0" y="364"/>
                  </a:lnTo>
                  <a:lnTo>
                    <a:pt x="4" y="346"/>
                  </a:lnTo>
                  <a:lnTo>
                    <a:pt x="4" y="337"/>
                  </a:lnTo>
                  <a:lnTo>
                    <a:pt x="1" y="326"/>
                  </a:lnTo>
                  <a:lnTo>
                    <a:pt x="0" y="321"/>
                  </a:lnTo>
                  <a:lnTo>
                    <a:pt x="1" y="317"/>
                  </a:lnTo>
                  <a:lnTo>
                    <a:pt x="2" y="310"/>
                  </a:lnTo>
                  <a:lnTo>
                    <a:pt x="6" y="271"/>
                  </a:lnTo>
                  <a:lnTo>
                    <a:pt x="6" y="263"/>
                  </a:lnTo>
                  <a:lnTo>
                    <a:pt x="4" y="256"/>
                  </a:lnTo>
                  <a:lnTo>
                    <a:pt x="2" y="249"/>
                  </a:lnTo>
                  <a:lnTo>
                    <a:pt x="0" y="241"/>
                  </a:lnTo>
                  <a:lnTo>
                    <a:pt x="0" y="237"/>
                  </a:lnTo>
                  <a:lnTo>
                    <a:pt x="2" y="231"/>
                  </a:lnTo>
                  <a:lnTo>
                    <a:pt x="5" y="225"/>
                  </a:lnTo>
                  <a:lnTo>
                    <a:pt x="9" y="219"/>
                  </a:lnTo>
                  <a:lnTo>
                    <a:pt x="36" y="191"/>
                  </a:lnTo>
                  <a:lnTo>
                    <a:pt x="55" y="175"/>
                  </a:lnTo>
                  <a:lnTo>
                    <a:pt x="60" y="168"/>
                  </a:lnTo>
                  <a:lnTo>
                    <a:pt x="63" y="166"/>
                  </a:lnTo>
                  <a:lnTo>
                    <a:pt x="64" y="162"/>
                  </a:lnTo>
                  <a:lnTo>
                    <a:pt x="69" y="153"/>
                  </a:lnTo>
                  <a:lnTo>
                    <a:pt x="71" y="148"/>
                  </a:lnTo>
                  <a:lnTo>
                    <a:pt x="74" y="145"/>
                  </a:lnTo>
                  <a:lnTo>
                    <a:pt x="79" y="142"/>
                  </a:lnTo>
                  <a:lnTo>
                    <a:pt x="82" y="140"/>
                  </a:lnTo>
                  <a:lnTo>
                    <a:pt x="94" y="138"/>
                  </a:lnTo>
                  <a:lnTo>
                    <a:pt x="101" y="135"/>
                  </a:lnTo>
                  <a:lnTo>
                    <a:pt x="109" y="131"/>
                  </a:lnTo>
                  <a:lnTo>
                    <a:pt x="117" y="126"/>
                  </a:lnTo>
                  <a:lnTo>
                    <a:pt x="119" y="123"/>
                  </a:lnTo>
                  <a:lnTo>
                    <a:pt x="122" y="120"/>
                  </a:lnTo>
                  <a:lnTo>
                    <a:pt x="124" y="116"/>
                  </a:lnTo>
                  <a:lnTo>
                    <a:pt x="125" y="112"/>
                  </a:lnTo>
                  <a:lnTo>
                    <a:pt x="127" y="107"/>
                  </a:lnTo>
                  <a:lnTo>
                    <a:pt x="127" y="100"/>
                  </a:lnTo>
                  <a:lnTo>
                    <a:pt x="127" y="94"/>
                  </a:lnTo>
                  <a:lnTo>
                    <a:pt x="126" y="86"/>
                  </a:lnTo>
                  <a:lnTo>
                    <a:pt x="121" y="63"/>
                  </a:lnTo>
                  <a:lnTo>
                    <a:pt x="121" y="60"/>
                  </a:lnTo>
                  <a:lnTo>
                    <a:pt x="122" y="54"/>
                  </a:lnTo>
                  <a:lnTo>
                    <a:pt x="125" y="48"/>
                  </a:lnTo>
                  <a:lnTo>
                    <a:pt x="130" y="45"/>
                  </a:lnTo>
                  <a:lnTo>
                    <a:pt x="141" y="39"/>
                  </a:lnTo>
                  <a:lnTo>
                    <a:pt x="143" y="37"/>
                  </a:lnTo>
                  <a:lnTo>
                    <a:pt x="145" y="35"/>
                  </a:lnTo>
                  <a:lnTo>
                    <a:pt x="147" y="31"/>
                  </a:lnTo>
                  <a:lnTo>
                    <a:pt x="147" y="25"/>
                  </a:lnTo>
                  <a:lnTo>
                    <a:pt x="147" y="2"/>
                  </a:lnTo>
                  <a:lnTo>
                    <a:pt x="193" y="31"/>
                  </a:lnTo>
                  <a:lnTo>
                    <a:pt x="206" y="38"/>
                  </a:lnTo>
                  <a:lnTo>
                    <a:pt x="215" y="41"/>
                  </a:lnTo>
                  <a:lnTo>
                    <a:pt x="230" y="46"/>
                  </a:lnTo>
                  <a:lnTo>
                    <a:pt x="274" y="48"/>
                  </a:lnTo>
                  <a:lnTo>
                    <a:pt x="666" y="6"/>
                  </a:lnTo>
                  <a:lnTo>
                    <a:pt x="687" y="0"/>
                  </a:lnTo>
                  <a:lnTo>
                    <a:pt x="634" y="430"/>
                  </a:lnTo>
                  <a:lnTo>
                    <a:pt x="634" y="430"/>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srgbClr val="000000"/>
                </a:solidFill>
                <a:latin typeface="Arial"/>
                <a:cs typeface="+mn-cs"/>
              </a:endParaRPr>
            </a:p>
          </p:txBody>
        </p:sp>
        <p:sp>
          <p:nvSpPr>
            <p:cNvPr id="93" name="Freeform 7">
              <a:extLst>
                <a:ext uri="{FF2B5EF4-FFF2-40B4-BE49-F238E27FC236}"/>
              </a:extLst>
            </p:cNvPr>
            <p:cNvSpPr>
              <a:spLocks/>
            </p:cNvSpPr>
            <p:nvPr/>
          </p:nvSpPr>
          <p:spPr bwMode="auto">
            <a:xfrm>
              <a:off x="3663108" y="3258566"/>
              <a:ext cx="1679834" cy="2402046"/>
            </a:xfrm>
            <a:custGeom>
              <a:avLst/>
              <a:gdLst>
                <a:gd name="T0" fmla="*/ 493 w 1058"/>
                <a:gd name="T1" fmla="*/ 1507 h 1514"/>
                <a:gd name="T2" fmla="*/ 357 w 1058"/>
                <a:gd name="T3" fmla="*/ 1406 h 1514"/>
                <a:gd name="T4" fmla="*/ 327 w 1058"/>
                <a:gd name="T5" fmla="*/ 1353 h 1514"/>
                <a:gd name="T6" fmla="*/ 349 w 1058"/>
                <a:gd name="T7" fmla="*/ 1292 h 1514"/>
                <a:gd name="T8" fmla="*/ 332 w 1058"/>
                <a:gd name="T9" fmla="*/ 1262 h 1514"/>
                <a:gd name="T10" fmla="*/ 239 w 1058"/>
                <a:gd name="T11" fmla="*/ 1141 h 1514"/>
                <a:gd name="T12" fmla="*/ 243 w 1058"/>
                <a:gd name="T13" fmla="*/ 1101 h 1514"/>
                <a:gd name="T14" fmla="*/ 246 w 1058"/>
                <a:gd name="T15" fmla="*/ 1052 h 1514"/>
                <a:gd name="T16" fmla="*/ 256 w 1058"/>
                <a:gd name="T17" fmla="*/ 1031 h 1514"/>
                <a:gd name="T18" fmla="*/ 252 w 1058"/>
                <a:gd name="T19" fmla="*/ 932 h 1514"/>
                <a:gd name="T20" fmla="*/ 220 w 1058"/>
                <a:gd name="T21" fmla="*/ 922 h 1514"/>
                <a:gd name="T22" fmla="*/ 181 w 1058"/>
                <a:gd name="T23" fmla="*/ 926 h 1514"/>
                <a:gd name="T24" fmla="*/ 169 w 1058"/>
                <a:gd name="T25" fmla="*/ 903 h 1514"/>
                <a:gd name="T26" fmla="*/ 170 w 1058"/>
                <a:gd name="T27" fmla="*/ 866 h 1514"/>
                <a:gd name="T28" fmla="*/ 113 w 1058"/>
                <a:gd name="T29" fmla="*/ 855 h 1514"/>
                <a:gd name="T30" fmla="*/ 71 w 1058"/>
                <a:gd name="T31" fmla="*/ 849 h 1514"/>
                <a:gd name="T32" fmla="*/ 36 w 1058"/>
                <a:gd name="T33" fmla="*/ 763 h 1514"/>
                <a:gd name="T34" fmla="*/ 15 w 1058"/>
                <a:gd name="T35" fmla="*/ 711 h 1514"/>
                <a:gd name="T36" fmla="*/ 1 w 1058"/>
                <a:gd name="T37" fmla="*/ 697 h 1514"/>
                <a:gd name="T38" fmla="*/ 6 w 1058"/>
                <a:gd name="T39" fmla="*/ 605 h 1514"/>
                <a:gd name="T40" fmla="*/ 4 w 1058"/>
                <a:gd name="T41" fmla="*/ 583 h 1514"/>
                <a:gd name="T42" fmla="*/ 19 w 1058"/>
                <a:gd name="T43" fmla="*/ 560 h 1514"/>
                <a:gd name="T44" fmla="*/ 36 w 1058"/>
                <a:gd name="T45" fmla="*/ 520 h 1514"/>
                <a:gd name="T46" fmla="*/ 71 w 1058"/>
                <a:gd name="T47" fmla="*/ 523 h 1514"/>
                <a:gd name="T48" fmla="*/ 152 w 1058"/>
                <a:gd name="T49" fmla="*/ 529 h 1514"/>
                <a:gd name="T50" fmla="*/ 184 w 1058"/>
                <a:gd name="T51" fmla="*/ 530 h 1514"/>
                <a:gd name="T52" fmla="*/ 192 w 1058"/>
                <a:gd name="T53" fmla="*/ 506 h 1514"/>
                <a:gd name="T54" fmla="*/ 189 w 1058"/>
                <a:gd name="T55" fmla="*/ 481 h 1514"/>
                <a:gd name="T56" fmla="*/ 285 w 1058"/>
                <a:gd name="T57" fmla="*/ 425 h 1514"/>
                <a:gd name="T58" fmla="*/ 320 w 1058"/>
                <a:gd name="T59" fmla="*/ 399 h 1514"/>
                <a:gd name="T60" fmla="*/ 339 w 1058"/>
                <a:gd name="T61" fmla="*/ 370 h 1514"/>
                <a:gd name="T62" fmla="*/ 360 w 1058"/>
                <a:gd name="T63" fmla="*/ 365 h 1514"/>
                <a:gd name="T64" fmla="*/ 458 w 1058"/>
                <a:gd name="T65" fmla="*/ 366 h 1514"/>
                <a:gd name="T66" fmla="*/ 462 w 1058"/>
                <a:gd name="T67" fmla="*/ 345 h 1514"/>
                <a:gd name="T68" fmla="*/ 450 w 1058"/>
                <a:gd name="T69" fmla="*/ 309 h 1514"/>
                <a:gd name="T70" fmla="*/ 439 w 1058"/>
                <a:gd name="T71" fmla="*/ 271 h 1514"/>
                <a:gd name="T72" fmla="*/ 403 w 1058"/>
                <a:gd name="T73" fmla="*/ 219 h 1514"/>
                <a:gd name="T74" fmla="*/ 403 w 1058"/>
                <a:gd name="T75" fmla="*/ 171 h 1514"/>
                <a:gd name="T76" fmla="*/ 421 w 1058"/>
                <a:gd name="T77" fmla="*/ 157 h 1514"/>
                <a:gd name="T78" fmla="*/ 452 w 1058"/>
                <a:gd name="T79" fmla="*/ 122 h 1514"/>
                <a:gd name="T80" fmla="*/ 476 w 1058"/>
                <a:gd name="T81" fmla="*/ 110 h 1514"/>
                <a:gd name="T82" fmla="*/ 479 w 1058"/>
                <a:gd name="T83" fmla="*/ 94 h 1514"/>
                <a:gd name="T84" fmla="*/ 469 w 1058"/>
                <a:gd name="T85" fmla="*/ 74 h 1514"/>
                <a:gd name="T86" fmla="*/ 440 w 1058"/>
                <a:gd name="T87" fmla="*/ 50 h 1514"/>
                <a:gd name="T88" fmla="*/ 446 w 1058"/>
                <a:gd name="T89" fmla="*/ 27 h 1514"/>
                <a:gd name="T90" fmla="*/ 472 w 1058"/>
                <a:gd name="T91" fmla="*/ 3 h 1514"/>
                <a:gd name="T92" fmla="*/ 490 w 1058"/>
                <a:gd name="T93" fmla="*/ 14 h 1514"/>
                <a:gd name="T94" fmla="*/ 520 w 1058"/>
                <a:gd name="T95" fmla="*/ 12 h 1514"/>
                <a:gd name="T96" fmla="*/ 539 w 1058"/>
                <a:gd name="T97" fmla="*/ 48 h 1514"/>
                <a:gd name="T98" fmla="*/ 614 w 1058"/>
                <a:gd name="T99" fmla="*/ 88 h 1514"/>
                <a:gd name="T100" fmla="*/ 651 w 1058"/>
                <a:gd name="T101" fmla="*/ 122 h 1514"/>
                <a:gd name="T102" fmla="*/ 704 w 1058"/>
                <a:gd name="T103" fmla="*/ 132 h 1514"/>
                <a:gd name="T104" fmla="*/ 771 w 1058"/>
                <a:gd name="T105" fmla="*/ 173 h 1514"/>
                <a:gd name="T106" fmla="*/ 812 w 1058"/>
                <a:gd name="T107" fmla="*/ 172 h 1514"/>
                <a:gd name="T108" fmla="*/ 854 w 1058"/>
                <a:gd name="T109" fmla="*/ 214 h 1514"/>
                <a:gd name="T110" fmla="*/ 916 w 1058"/>
                <a:gd name="T111" fmla="*/ 246 h 1514"/>
                <a:gd name="T112" fmla="*/ 924 w 1058"/>
                <a:gd name="T113" fmla="*/ 515 h 1514"/>
                <a:gd name="T114" fmla="*/ 1038 w 1058"/>
                <a:gd name="T115" fmla="*/ 617 h 1514"/>
                <a:gd name="T116" fmla="*/ 1058 w 1058"/>
                <a:gd name="T117" fmla="*/ 721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8" h="1514">
                  <a:moveTo>
                    <a:pt x="965" y="1466"/>
                  </a:moveTo>
                  <a:lnTo>
                    <a:pt x="944" y="1472"/>
                  </a:lnTo>
                  <a:lnTo>
                    <a:pt x="552" y="1514"/>
                  </a:lnTo>
                  <a:lnTo>
                    <a:pt x="508" y="1512"/>
                  </a:lnTo>
                  <a:lnTo>
                    <a:pt x="493" y="1507"/>
                  </a:lnTo>
                  <a:lnTo>
                    <a:pt x="484" y="1504"/>
                  </a:lnTo>
                  <a:lnTo>
                    <a:pt x="471" y="1497"/>
                  </a:lnTo>
                  <a:lnTo>
                    <a:pt x="425" y="1468"/>
                  </a:lnTo>
                  <a:lnTo>
                    <a:pt x="422" y="1467"/>
                  </a:lnTo>
                  <a:lnTo>
                    <a:pt x="357" y="1406"/>
                  </a:lnTo>
                  <a:lnTo>
                    <a:pt x="340" y="1378"/>
                  </a:lnTo>
                  <a:lnTo>
                    <a:pt x="331" y="1367"/>
                  </a:lnTo>
                  <a:lnTo>
                    <a:pt x="327" y="1363"/>
                  </a:lnTo>
                  <a:lnTo>
                    <a:pt x="327" y="1357"/>
                  </a:lnTo>
                  <a:lnTo>
                    <a:pt x="327" y="1353"/>
                  </a:lnTo>
                  <a:lnTo>
                    <a:pt x="334" y="1322"/>
                  </a:lnTo>
                  <a:lnTo>
                    <a:pt x="336" y="1315"/>
                  </a:lnTo>
                  <a:lnTo>
                    <a:pt x="347" y="1299"/>
                  </a:lnTo>
                  <a:lnTo>
                    <a:pt x="348" y="1297"/>
                  </a:lnTo>
                  <a:lnTo>
                    <a:pt x="349" y="1292"/>
                  </a:lnTo>
                  <a:lnTo>
                    <a:pt x="350" y="1289"/>
                  </a:lnTo>
                  <a:lnTo>
                    <a:pt x="349" y="1285"/>
                  </a:lnTo>
                  <a:lnTo>
                    <a:pt x="348" y="1282"/>
                  </a:lnTo>
                  <a:lnTo>
                    <a:pt x="346" y="1277"/>
                  </a:lnTo>
                  <a:lnTo>
                    <a:pt x="332" y="1262"/>
                  </a:lnTo>
                  <a:lnTo>
                    <a:pt x="322" y="1248"/>
                  </a:lnTo>
                  <a:lnTo>
                    <a:pt x="317" y="1239"/>
                  </a:lnTo>
                  <a:lnTo>
                    <a:pt x="307" y="1229"/>
                  </a:lnTo>
                  <a:lnTo>
                    <a:pt x="283" y="1207"/>
                  </a:lnTo>
                  <a:lnTo>
                    <a:pt x="239" y="1141"/>
                  </a:lnTo>
                  <a:lnTo>
                    <a:pt x="237" y="1138"/>
                  </a:lnTo>
                  <a:lnTo>
                    <a:pt x="237" y="1134"/>
                  </a:lnTo>
                  <a:lnTo>
                    <a:pt x="236" y="1130"/>
                  </a:lnTo>
                  <a:lnTo>
                    <a:pt x="237" y="1126"/>
                  </a:lnTo>
                  <a:lnTo>
                    <a:pt x="243" y="1101"/>
                  </a:lnTo>
                  <a:lnTo>
                    <a:pt x="245" y="1093"/>
                  </a:lnTo>
                  <a:lnTo>
                    <a:pt x="242" y="1063"/>
                  </a:lnTo>
                  <a:lnTo>
                    <a:pt x="243" y="1059"/>
                  </a:lnTo>
                  <a:lnTo>
                    <a:pt x="244" y="1055"/>
                  </a:lnTo>
                  <a:lnTo>
                    <a:pt x="246" y="1052"/>
                  </a:lnTo>
                  <a:lnTo>
                    <a:pt x="251" y="1045"/>
                  </a:lnTo>
                  <a:lnTo>
                    <a:pt x="253" y="1041"/>
                  </a:lnTo>
                  <a:lnTo>
                    <a:pt x="255" y="1038"/>
                  </a:lnTo>
                  <a:lnTo>
                    <a:pt x="256" y="1034"/>
                  </a:lnTo>
                  <a:lnTo>
                    <a:pt x="256" y="1031"/>
                  </a:lnTo>
                  <a:lnTo>
                    <a:pt x="256" y="1027"/>
                  </a:lnTo>
                  <a:lnTo>
                    <a:pt x="248" y="966"/>
                  </a:lnTo>
                  <a:lnTo>
                    <a:pt x="248" y="959"/>
                  </a:lnTo>
                  <a:lnTo>
                    <a:pt x="252" y="933"/>
                  </a:lnTo>
                  <a:lnTo>
                    <a:pt x="252" y="932"/>
                  </a:lnTo>
                  <a:lnTo>
                    <a:pt x="250" y="928"/>
                  </a:lnTo>
                  <a:lnTo>
                    <a:pt x="246" y="927"/>
                  </a:lnTo>
                  <a:lnTo>
                    <a:pt x="243" y="926"/>
                  </a:lnTo>
                  <a:lnTo>
                    <a:pt x="223" y="922"/>
                  </a:lnTo>
                  <a:lnTo>
                    <a:pt x="220" y="922"/>
                  </a:lnTo>
                  <a:lnTo>
                    <a:pt x="216" y="923"/>
                  </a:lnTo>
                  <a:lnTo>
                    <a:pt x="196" y="928"/>
                  </a:lnTo>
                  <a:lnTo>
                    <a:pt x="192" y="928"/>
                  </a:lnTo>
                  <a:lnTo>
                    <a:pt x="188" y="928"/>
                  </a:lnTo>
                  <a:lnTo>
                    <a:pt x="181" y="926"/>
                  </a:lnTo>
                  <a:lnTo>
                    <a:pt x="177" y="923"/>
                  </a:lnTo>
                  <a:lnTo>
                    <a:pt x="174" y="919"/>
                  </a:lnTo>
                  <a:lnTo>
                    <a:pt x="170" y="913"/>
                  </a:lnTo>
                  <a:lnTo>
                    <a:pt x="169" y="909"/>
                  </a:lnTo>
                  <a:lnTo>
                    <a:pt x="169" y="903"/>
                  </a:lnTo>
                  <a:lnTo>
                    <a:pt x="170" y="886"/>
                  </a:lnTo>
                  <a:lnTo>
                    <a:pt x="172" y="877"/>
                  </a:lnTo>
                  <a:lnTo>
                    <a:pt x="173" y="874"/>
                  </a:lnTo>
                  <a:lnTo>
                    <a:pt x="172" y="871"/>
                  </a:lnTo>
                  <a:lnTo>
                    <a:pt x="170" y="866"/>
                  </a:lnTo>
                  <a:lnTo>
                    <a:pt x="165" y="863"/>
                  </a:lnTo>
                  <a:lnTo>
                    <a:pt x="162" y="861"/>
                  </a:lnTo>
                  <a:lnTo>
                    <a:pt x="157" y="859"/>
                  </a:lnTo>
                  <a:lnTo>
                    <a:pt x="149" y="857"/>
                  </a:lnTo>
                  <a:lnTo>
                    <a:pt x="113" y="855"/>
                  </a:lnTo>
                  <a:lnTo>
                    <a:pt x="87" y="855"/>
                  </a:lnTo>
                  <a:lnTo>
                    <a:pt x="81" y="854"/>
                  </a:lnTo>
                  <a:lnTo>
                    <a:pt x="78" y="853"/>
                  </a:lnTo>
                  <a:lnTo>
                    <a:pt x="74" y="851"/>
                  </a:lnTo>
                  <a:lnTo>
                    <a:pt x="71" y="849"/>
                  </a:lnTo>
                  <a:lnTo>
                    <a:pt x="67" y="846"/>
                  </a:lnTo>
                  <a:lnTo>
                    <a:pt x="64" y="843"/>
                  </a:lnTo>
                  <a:lnTo>
                    <a:pt x="63" y="841"/>
                  </a:lnTo>
                  <a:lnTo>
                    <a:pt x="41" y="789"/>
                  </a:lnTo>
                  <a:lnTo>
                    <a:pt x="36" y="763"/>
                  </a:lnTo>
                  <a:lnTo>
                    <a:pt x="35" y="758"/>
                  </a:lnTo>
                  <a:lnTo>
                    <a:pt x="31" y="749"/>
                  </a:lnTo>
                  <a:lnTo>
                    <a:pt x="22" y="720"/>
                  </a:lnTo>
                  <a:lnTo>
                    <a:pt x="19" y="714"/>
                  </a:lnTo>
                  <a:lnTo>
                    <a:pt x="15" y="711"/>
                  </a:lnTo>
                  <a:lnTo>
                    <a:pt x="11" y="708"/>
                  </a:lnTo>
                  <a:lnTo>
                    <a:pt x="5" y="705"/>
                  </a:lnTo>
                  <a:lnTo>
                    <a:pt x="4" y="703"/>
                  </a:lnTo>
                  <a:lnTo>
                    <a:pt x="2" y="700"/>
                  </a:lnTo>
                  <a:lnTo>
                    <a:pt x="1" y="697"/>
                  </a:lnTo>
                  <a:lnTo>
                    <a:pt x="0" y="684"/>
                  </a:lnTo>
                  <a:lnTo>
                    <a:pt x="2" y="667"/>
                  </a:lnTo>
                  <a:lnTo>
                    <a:pt x="1" y="651"/>
                  </a:lnTo>
                  <a:lnTo>
                    <a:pt x="4" y="619"/>
                  </a:lnTo>
                  <a:lnTo>
                    <a:pt x="6" y="605"/>
                  </a:lnTo>
                  <a:lnTo>
                    <a:pt x="7" y="598"/>
                  </a:lnTo>
                  <a:lnTo>
                    <a:pt x="6" y="594"/>
                  </a:lnTo>
                  <a:lnTo>
                    <a:pt x="4" y="588"/>
                  </a:lnTo>
                  <a:lnTo>
                    <a:pt x="4" y="586"/>
                  </a:lnTo>
                  <a:lnTo>
                    <a:pt x="4" y="583"/>
                  </a:lnTo>
                  <a:lnTo>
                    <a:pt x="5" y="581"/>
                  </a:lnTo>
                  <a:lnTo>
                    <a:pt x="8" y="576"/>
                  </a:lnTo>
                  <a:lnTo>
                    <a:pt x="15" y="566"/>
                  </a:lnTo>
                  <a:lnTo>
                    <a:pt x="16" y="566"/>
                  </a:lnTo>
                  <a:lnTo>
                    <a:pt x="19" y="560"/>
                  </a:lnTo>
                  <a:lnTo>
                    <a:pt x="20" y="552"/>
                  </a:lnTo>
                  <a:lnTo>
                    <a:pt x="20" y="545"/>
                  </a:lnTo>
                  <a:lnTo>
                    <a:pt x="23" y="538"/>
                  </a:lnTo>
                  <a:lnTo>
                    <a:pt x="34" y="522"/>
                  </a:lnTo>
                  <a:lnTo>
                    <a:pt x="36" y="520"/>
                  </a:lnTo>
                  <a:lnTo>
                    <a:pt x="41" y="516"/>
                  </a:lnTo>
                  <a:lnTo>
                    <a:pt x="45" y="514"/>
                  </a:lnTo>
                  <a:lnTo>
                    <a:pt x="49" y="514"/>
                  </a:lnTo>
                  <a:lnTo>
                    <a:pt x="52" y="515"/>
                  </a:lnTo>
                  <a:lnTo>
                    <a:pt x="71" y="523"/>
                  </a:lnTo>
                  <a:lnTo>
                    <a:pt x="78" y="526"/>
                  </a:lnTo>
                  <a:lnTo>
                    <a:pt x="89" y="529"/>
                  </a:lnTo>
                  <a:lnTo>
                    <a:pt x="120" y="532"/>
                  </a:lnTo>
                  <a:lnTo>
                    <a:pt x="128" y="532"/>
                  </a:lnTo>
                  <a:lnTo>
                    <a:pt x="152" y="529"/>
                  </a:lnTo>
                  <a:lnTo>
                    <a:pt x="160" y="529"/>
                  </a:lnTo>
                  <a:lnTo>
                    <a:pt x="173" y="532"/>
                  </a:lnTo>
                  <a:lnTo>
                    <a:pt x="177" y="532"/>
                  </a:lnTo>
                  <a:lnTo>
                    <a:pt x="179" y="531"/>
                  </a:lnTo>
                  <a:lnTo>
                    <a:pt x="184" y="530"/>
                  </a:lnTo>
                  <a:lnTo>
                    <a:pt x="188" y="526"/>
                  </a:lnTo>
                  <a:lnTo>
                    <a:pt x="192" y="522"/>
                  </a:lnTo>
                  <a:lnTo>
                    <a:pt x="193" y="515"/>
                  </a:lnTo>
                  <a:lnTo>
                    <a:pt x="194" y="510"/>
                  </a:lnTo>
                  <a:lnTo>
                    <a:pt x="192" y="506"/>
                  </a:lnTo>
                  <a:lnTo>
                    <a:pt x="188" y="498"/>
                  </a:lnTo>
                  <a:lnTo>
                    <a:pt x="186" y="494"/>
                  </a:lnTo>
                  <a:lnTo>
                    <a:pt x="186" y="491"/>
                  </a:lnTo>
                  <a:lnTo>
                    <a:pt x="186" y="486"/>
                  </a:lnTo>
                  <a:lnTo>
                    <a:pt x="189" y="481"/>
                  </a:lnTo>
                  <a:lnTo>
                    <a:pt x="206" y="459"/>
                  </a:lnTo>
                  <a:lnTo>
                    <a:pt x="222" y="443"/>
                  </a:lnTo>
                  <a:lnTo>
                    <a:pt x="225" y="440"/>
                  </a:lnTo>
                  <a:lnTo>
                    <a:pt x="229" y="439"/>
                  </a:lnTo>
                  <a:lnTo>
                    <a:pt x="285" y="425"/>
                  </a:lnTo>
                  <a:lnTo>
                    <a:pt x="292" y="422"/>
                  </a:lnTo>
                  <a:lnTo>
                    <a:pt x="296" y="419"/>
                  </a:lnTo>
                  <a:lnTo>
                    <a:pt x="305" y="410"/>
                  </a:lnTo>
                  <a:lnTo>
                    <a:pt x="317" y="402"/>
                  </a:lnTo>
                  <a:lnTo>
                    <a:pt x="320" y="399"/>
                  </a:lnTo>
                  <a:lnTo>
                    <a:pt x="324" y="393"/>
                  </a:lnTo>
                  <a:lnTo>
                    <a:pt x="329" y="381"/>
                  </a:lnTo>
                  <a:lnTo>
                    <a:pt x="335" y="375"/>
                  </a:lnTo>
                  <a:lnTo>
                    <a:pt x="337" y="372"/>
                  </a:lnTo>
                  <a:lnTo>
                    <a:pt x="339" y="370"/>
                  </a:lnTo>
                  <a:lnTo>
                    <a:pt x="342" y="369"/>
                  </a:lnTo>
                  <a:lnTo>
                    <a:pt x="345" y="367"/>
                  </a:lnTo>
                  <a:lnTo>
                    <a:pt x="349" y="366"/>
                  </a:lnTo>
                  <a:lnTo>
                    <a:pt x="352" y="365"/>
                  </a:lnTo>
                  <a:lnTo>
                    <a:pt x="360" y="365"/>
                  </a:lnTo>
                  <a:lnTo>
                    <a:pt x="396" y="370"/>
                  </a:lnTo>
                  <a:lnTo>
                    <a:pt x="436" y="367"/>
                  </a:lnTo>
                  <a:lnTo>
                    <a:pt x="451" y="368"/>
                  </a:lnTo>
                  <a:lnTo>
                    <a:pt x="455" y="368"/>
                  </a:lnTo>
                  <a:lnTo>
                    <a:pt x="458" y="366"/>
                  </a:lnTo>
                  <a:lnTo>
                    <a:pt x="460" y="363"/>
                  </a:lnTo>
                  <a:lnTo>
                    <a:pt x="461" y="360"/>
                  </a:lnTo>
                  <a:lnTo>
                    <a:pt x="462" y="356"/>
                  </a:lnTo>
                  <a:lnTo>
                    <a:pt x="462" y="351"/>
                  </a:lnTo>
                  <a:lnTo>
                    <a:pt x="462" y="345"/>
                  </a:lnTo>
                  <a:lnTo>
                    <a:pt x="460" y="333"/>
                  </a:lnTo>
                  <a:lnTo>
                    <a:pt x="458" y="327"/>
                  </a:lnTo>
                  <a:lnTo>
                    <a:pt x="456" y="321"/>
                  </a:lnTo>
                  <a:lnTo>
                    <a:pt x="451" y="313"/>
                  </a:lnTo>
                  <a:lnTo>
                    <a:pt x="450" y="309"/>
                  </a:lnTo>
                  <a:lnTo>
                    <a:pt x="451" y="303"/>
                  </a:lnTo>
                  <a:lnTo>
                    <a:pt x="453" y="294"/>
                  </a:lnTo>
                  <a:lnTo>
                    <a:pt x="452" y="288"/>
                  </a:lnTo>
                  <a:lnTo>
                    <a:pt x="452" y="288"/>
                  </a:lnTo>
                  <a:lnTo>
                    <a:pt x="439" y="271"/>
                  </a:lnTo>
                  <a:lnTo>
                    <a:pt x="425" y="246"/>
                  </a:lnTo>
                  <a:lnTo>
                    <a:pt x="420" y="241"/>
                  </a:lnTo>
                  <a:lnTo>
                    <a:pt x="407" y="227"/>
                  </a:lnTo>
                  <a:lnTo>
                    <a:pt x="404" y="224"/>
                  </a:lnTo>
                  <a:lnTo>
                    <a:pt x="403" y="219"/>
                  </a:lnTo>
                  <a:lnTo>
                    <a:pt x="402" y="216"/>
                  </a:lnTo>
                  <a:lnTo>
                    <a:pt x="402" y="212"/>
                  </a:lnTo>
                  <a:lnTo>
                    <a:pt x="405" y="187"/>
                  </a:lnTo>
                  <a:lnTo>
                    <a:pt x="405" y="180"/>
                  </a:lnTo>
                  <a:lnTo>
                    <a:pt x="403" y="171"/>
                  </a:lnTo>
                  <a:lnTo>
                    <a:pt x="404" y="166"/>
                  </a:lnTo>
                  <a:lnTo>
                    <a:pt x="407" y="163"/>
                  </a:lnTo>
                  <a:lnTo>
                    <a:pt x="410" y="160"/>
                  </a:lnTo>
                  <a:lnTo>
                    <a:pt x="415" y="159"/>
                  </a:lnTo>
                  <a:lnTo>
                    <a:pt x="421" y="157"/>
                  </a:lnTo>
                  <a:lnTo>
                    <a:pt x="424" y="157"/>
                  </a:lnTo>
                  <a:lnTo>
                    <a:pt x="426" y="154"/>
                  </a:lnTo>
                  <a:lnTo>
                    <a:pt x="439" y="136"/>
                  </a:lnTo>
                  <a:lnTo>
                    <a:pt x="445" y="129"/>
                  </a:lnTo>
                  <a:lnTo>
                    <a:pt x="452" y="122"/>
                  </a:lnTo>
                  <a:lnTo>
                    <a:pt x="456" y="119"/>
                  </a:lnTo>
                  <a:lnTo>
                    <a:pt x="461" y="117"/>
                  </a:lnTo>
                  <a:lnTo>
                    <a:pt x="469" y="113"/>
                  </a:lnTo>
                  <a:lnTo>
                    <a:pt x="472" y="111"/>
                  </a:lnTo>
                  <a:lnTo>
                    <a:pt x="476" y="110"/>
                  </a:lnTo>
                  <a:lnTo>
                    <a:pt x="478" y="106"/>
                  </a:lnTo>
                  <a:lnTo>
                    <a:pt x="479" y="103"/>
                  </a:lnTo>
                  <a:lnTo>
                    <a:pt x="480" y="101"/>
                  </a:lnTo>
                  <a:lnTo>
                    <a:pt x="480" y="97"/>
                  </a:lnTo>
                  <a:lnTo>
                    <a:pt x="479" y="94"/>
                  </a:lnTo>
                  <a:lnTo>
                    <a:pt x="478" y="90"/>
                  </a:lnTo>
                  <a:lnTo>
                    <a:pt x="478" y="86"/>
                  </a:lnTo>
                  <a:lnTo>
                    <a:pt x="475" y="82"/>
                  </a:lnTo>
                  <a:lnTo>
                    <a:pt x="472" y="78"/>
                  </a:lnTo>
                  <a:lnTo>
                    <a:pt x="469" y="74"/>
                  </a:lnTo>
                  <a:lnTo>
                    <a:pt x="462" y="69"/>
                  </a:lnTo>
                  <a:lnTo>
                    <a:pt x="455" y="64"/>
                  </a:lnTo>
                  <a:lnTo>
                    <a:pt x="444" y="58"/>
                  </a:lnTo>
                  <a:lnTo>
                    <a:pt x="442" y="57"/>
                  </a:lnTo>
                  <a:lnTo>
                    <a:pt x="440" y="50"/>
                  </a:lnTo>
                  <a:lnTo>
                    <a:pt x="440" y="46"/>
                  </a:lnTo>
                  <a:lnTo>
                    <a:pt x="440" y="42"/>
                  </a:lnTo>
                  <a:lnTo>
                    <a:pt x="441" y="38"/>
                  </a:lnTo>
                  <a:lnTo>
                    <a:pt x="443" y="32"/>
                  </a:lnTo>
                  <a:lnTo>
                    <a:pt x="446" y="27"/>
                  </a:lnTo>
                  <a:lnTo>
                    <a:pt x="450" y="19"/>
                  </a:lnTo>
                  <a:lnTo>
                    <a:pt x="455" y="13"/>
                  </a:lnTo>
                  <a:lnTo>
                    <a:pt x="460" y="8"/>
                  </a:lnTo>
                  <a:lnTo>
                    <a:pt x="463" y="6"/>
                  </a:lnTo>
                  <a:lnTo>
                    <a:pt x="472" y="3"/>
                  </a:lnTo>
                  <a:lnTo>
                    <a:pt x="476" y="5"/>
                  </a:lnTo>
                  <a:lnTo>
                    <a:pt x="479" y="10"/>
                  </a:lnTo>
                  <a:lnTo>
                    <a:pt x="482" y="12"/>
                  </a:lnTo>
                  <a:lnTo>
                    <a:pt x="485" y="14"/>
                  </a:lnTo>
                  <a:lnTo>
                    <a:pt x="490" y="14"/>
                  </a:lnTo>
                  <a:lnTo>
                    <a:pt x="493" y="12"/>
                  </a:lnTo>
                  <a:lnTo>
                    <a:pt x="497" y="10"/>
                  </a:lnTo>
                  <a:lnTo>
                    <a:pt x="504" y="0"/>
                  </a:lnTo>
                  <a:lnTo>
                    <a:pt x="506" y="1"/>
                  </a:lnTo>
                  <a:lnTo>
                    <a:pt x="520" y="12"/>
                  </a:lnTo>
                  <a:lnTo>
                    <a:pt x="527" y="19"/>
                  </a:lnTo>
                  <a:lnTo>
                    <a:pt x="531" y="22"/>
                  </a:lnTo>
                  <a:lnTo>
                    <a:pt x="532" y="27"/>
                  </a:lnTo>
                  <a:lnTo>
                    <a:pt x="537" y="43"/>
                  </a:lnTo>
                  <a:lnTo>
                    <a:pt x="539" y="48"/>
                  </a:lnTo>
                  <a:lnTo>
                    <a:pt x="543" y="53"/>
                  </a:lnTo>
                  <a:lnTo>
                    <a:pt x="546" y="57"/>
                  </a:lnTo>
                  <a:lnTo>
                    <a:pt x="594" y="85"/>
                  </a:lnTo>
                  <a:lnTo>
                    <a:pt x="602" y="87"/>
                  </a:lnTo>
                  <a:lnTo>
                    <a:pt x="614" y="88"/>
                  </a:lnTo>
                  <a:lnTo>
                    <a:pt x="618" y="88"/>
                  </a:lnTo>
                  <a:lnTo>
                    <a:pt x="621" y="90"/>
                  </a:lnTo>
                  <a:lnTo>
                    <a:pt x="625" y="94"/>
                  </a:lnTo>
                  <a:lnTo>
                    <a:pt x="636" y="106"/>
                  </a:lnTo>
                  <a:lnTo>
                    <a:pt x="651" y="122"/>
                  </a:lnTo>
                  <a:lnTo>
                    <a:pt x="659" y="126"/>
                  </a:lnTo>
                  <a:lnTo>
                    <a:pt x="662" y="128"/>
                  </a:lnTo>
                  <a:lnTo>
                    <a:pt x="669" y="130"/>
                  </a:lnTo>
                  <a:lnTo>
                    <a:pt x="696" y="131"/>
                  </a:lnTo>
                  <a:lnTo>
                    <a:pt x="704" y="132"/>
                  </a:lnTo>
                  <a:lnTo>
                    <a:pt x="711" y="134"/>
                  </a:lnTo>
                  <a:lnTo>
                    <a:pt x="722" y="141"/>
                  </a:lnTo>
                  <a:lnTo>
                    <a:pt x="764" y="171"/>
                  </a:lnTo>
                  <a:lnTo>
                    <a:pt x="767" y="172"/>
                  </a:lnTo>
                  <a:lnTo>
                    <a:pt x="771" y="173"/>
                  </a:lnTo>
                  <a:lnTo>
                    <a:pt x="775" y="174"/>
                  </a:lnTo>
                  <a:lnTo>
                    <a:pt x="779" y="174"/>
                  </a:lnTo>
                  <a:lnTo>
                    <a:pt x="804" y="170"/>
                  </a:lnTo>
                  <a:lnTo>
                    <a:pt x="808" y="170"/>
                  </a:lnTo>
                  <a:lnTo>
                    <a:pt x="812" y="172"/>
                  </a:lnTo>
                  <a:lnTo>
                    <a:pt x="816" y="173"/>
                  </a:lnTo>
                  <a:lnTo>
                    <a:pt x="843" y="201"/>
                  </a:lnTo>
                  <a:lnTo>
                    <a:pt x="847" y="208"/>
                  </a:lnTo>
                  <a:lnTo>
                    <a:pt x="851" y="211"/>
                  </a:lnTo>
                  <a:lnTo>
                    <a:pt x="854" y="214"/>
                  </a:lnTo>
                  <a:lnTo>
                    <a:pt x="908" y="235"/>
                  </a:lnTo>
                  <a:lnTo>
                    <a:pt x="910" y="237"/>
                  </a:lnTo>
                  <a:lnTo>
                    <a:pt x="912" y="239"/>
                  </a:lnTo>
                  <a:lnTo>
                    <a:pt x="914" y="242"/>
                  </a:lnTo>
                  <a:lnTo>
                    <a:pt x="916" y="246"/>
                  </a:lnTo>
                  <a:lnTo>
                    <a:pt x="917" y="249"/>
                  </a:lnTo>
                  <a:lnTo>
                    <a:pt x="918" y="256"/>
                  </a:lnTo>
                  <a:lnTo>
                    <a:pt x="922" y="505"/>
                  </a:lnTo>
                  <a:lnTo>
                    <a:pt x="923" y="513"/>
                  </a:lnTo>
                  <a:lnTo>
                    <a:pt x="924" y="515"/>
                  </a:lnTo>
                  <a:lnTo>
                    <a:pt x="927" y="520"/>
                  </a:lnTo>
                  <a:lnTo>
                    <a:pt x="930" y="522"/>
                  </a:lnTo>
                  <a:lnTo>
                    <a:pt x="990" y="566"/>
                  </a:lnTo>
                  <a:lnTo>
                    <a:pt x="1031" y="608"/>
                  </a:lnTo>
                  <a:lnTo>
                    <a:pt x="1038" y="617"/>
                  </a:lnTo>
                  <a:lnTo>
                    <a:pt x="1045" y="629"/>
                  </a:lnTo>
                  <a:lnTo>
                    <a:pt x="1052" y="645"/>
                  </a:lnTo>
                  <a:lnTo>
                    <a:pt x="1057" y="658"/>
                  </a:lnTo>
                  <a:lnTo>
                    <a:pt x="1058" y="681"/>
                  </a:lnTo>
                  <a:lnTo>
                    <a:pt x="1058" y="721"/>
                  </a:lnTo>
                  <a:lnTo>
                    <a:pt x="1010" y="1113"/>
                  </a:lnTo>
                  <a:lnTo>
                    <a:pt x="965" y="1466"/>
                  </a:lnTo>
                  <a:lnTo>
                    <a:pt x="965" y="1466"/>
                  </a:lnTo>
                  <a:close/>
                </a:path>
              </a:pathLst>
            </a:custGeom>
            <a:solidFill>
              <a:srgbClr val="96CAB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94" name="Freeform 8">
              <a:extLst>
                <a:ext uri="{FF2B5EF4-FFF2-40B4-BE49-F238E27FC236}"/>
              </a:extLst>
            </p:cNvPr>
            <p:cNvSpPr>
              <a:spLocks noEditPoints="1"/>
            </p:cNvSpPr>
            <p:nvPr/>
          </p:nvSpPr>
          <p:spPr bwMode="auto">
            <a:xfrm>
              <a:off x="4448901" y="2785375"/>
              <a:ext cx="2842487" cy="3484771"/>
            </a:xfrm>
            <a:custGeom>
              <a:avLst/>
              <a:gdLst>
                <a:gd name="T0" fmla="*/ 774 w 1790"/>
                <a:gd name="T1" fmla="*/ 342 h 2194"/>
                <a:gd name="T2" fmla="*/ 764 w 1790"/>
                <a:gd name="T3" fmla="*/ 335 h 2194"/>
                <a:gd name="T4" fmla="*/ 774 w 1790"/>
                <a:gd name="T5" fmla="*/ 333 h 2194"/>
                <a:gd name="T6" fmla="*/ 536 w 1790"/>
                <a:gd name="T7" fmla="*/ 906 h 2194"/>
                <a:gd name="T8" fmla="*/ 417 w 1790"/>
                <a:gd name="T9" fmla="*/ 537 h 2194"/>
                <a:gd name="T10" fmla="*/ 284 w 1790"/>
                <a:gd name="T11" fmla="*/ 472 h 2194"/>
                <a:gd name="T12" fmla="*/ 164 w 1790"/>
                <a:gd name="T13" fmla="*/ 424 h 2194"/>
                <a:gd name="T14" fmla="*/ 44 w 1790"/>
                <a:gd name="T15" fmla="*/ 346 h 2194"/>
                <a:gd name="T16" fmla="*/ 0 w 1790"/>
                <a:gd name="T17" fmla="*/ 281 h 2194"/>
                <a:gd name="T18" fmla="*/ 145 w 1790"/>
                <a:gd name="T19" fmla="*/ 50 h 2194"/>
                <a:gd name="T20" fmla="*/ 438 w 1790"/>
                <a:gd name="T21" fmla="*/ 67 h 2194"/>
                <a:gd name="T22" fmla="*/ 589 w 1790"/>
                <a:gd name="T23" fmla="*/ 111 h 2194"/>
                <a:gd name="T24" fmla="*/ 597 w 1790"/>
                <a:gd name="T25" fmla="*/ 135 h 2194"/>
                <a:gd name="T26" fmla="*/ 617 w 1790"/>
                <a:gd name="T27" fmla="*/ 171 h 2194"/>
                <a:gd name="T28" fmla="*/ 632 w 1790"/>
                <a:gd name="T29" fmla="*/ 205 h 2194"/>
                <a:gd name="T30" fmla="*/ 637 w 1790"/>
                <a:gd name="T31" fmla="*/ 214 h 2194"/>
                <a:gd name="T32" fmla="*/ 659 w 1790"/>
                <a:gd name="T33" fmla="*/ 249 h 2194"/>
                <a:gd name="T34" fmla="*/ 655 w 1790"/>
                <a:gd name="T35" fmla="*/ 249 h 2194"/>
                <a:gd name="T36" fmla="*/ 644 w 1790"/>
                <a:gd name="T37" fmla="*/ 257 h 2194"/>
                <a:gd name="T38" fmla="*/ 653 w 1790"/>
                <a:gd name="T39" fmla="*/ 267 h 2194"/>
                <a:gd name="T40" fmla="*/ 659 w 1790"/>
                <a:gd name="T41" fmla="*/ 274 h 2194"/>
                <a:gd name="T42" fmla="*/ 660 w 1790"/>
                <a:gd name="T43" fmla="*/ 282 h 2194"/>
                <a:gd name="T44" fmla="*/ 664 w 1790"/>
                <a:gd name="T45" fmla="*/ 286 h 2194"/>
                <a:gd name="T46" fmla="*/ 692 w 1790"/>
                <a:gd name="T47" fmla="*/ 296 h 2194"/>
                <a:gd name="T48" fmla="*/ 717 w 1790"/>
                <a:gd name="T49" fmla="*/ 295 h 2194"/>
                <a:gd name="T50" fmla="*/ 729 w 1790"/>
                <a:gd name="T51" fmla="*/ 313 h 2194"/>
                <a:gd name="T52" fmla="*/ 701 w 1790"/>
                <a:gd name="T53" fmla="*/ 316 h 2194"/>
                <a:gd name="T54" fmla="*/ 724 w 1790"/>
                <a:gd name="T55" fmla="*/ 320 h 2194"/>
                <a:gd name="T56" fmla="*/ 725 w 1790"/>
                <a:gd name="T57" fmla="*/ 332 h 2194"/>
                <a:gd name="T58" fmla="*/ 736 w 1790"/>
                <a:gd name="T59" fmla="*/ 363 h 2194"/>
                <a:gd name="T60" fmla="*/ 748 w 1790"/>
                <a:gd name="T61" fmla="*/ 364 h 2194"/>
                <a:gd name="T62" fmla="*/ 752 w 1790"/>
                <a:gd name="T63" fmla="*/ 367 h 2194"/>
                <a:gd name="T64" fmla="*/ 765 w 1790"/>
                <a:gd name="T65" fmla="*/ 363 h 2194"/>
                <a:gd name="T66" fmla="*/ 776 w 1790"/>
                <a:gd name="T67" fmla="*/ 380 h 2194"/>
                <a:gd name="T68" fmla="*/ 826 w 1790"/>
                <a:gd name="T69" fmla="*/ 424 h 2194"/>
                <a:gd name="T70" fmla="*/ 867 w 1790"/>
                <a:gd name="T71" fmla="*/ 460 h 2194"/>
                <a:gd name="T72" fmla="*/ 846 w 1790"/>
                <a:gd name="T73" fmla="*/ 462 h 2194"/>
                <a:gd name="T74" fmla="*/ 882 w 1790"/>
                <a:gd name="T75" fmla="*/ 517 h 2194"/>
                <a:gd name="T76" fmla="*/ 874 w 1790"/>
                <a:gd name="T77" fmla="*/ 567 h 2194"/>
                <a:gd name="T78" fmla="*/ 860 w 1790"/>
                <a:gd name="T79" fmla="*/ 561 h 2194"/>
                <a:gd name="T80" fmla="*/ 846 w 1790"/>
                <a:gd name="T81" fmla="*/ 565 h 2194"/>
                <a:gd name="T82" fmla="*/ 849 w 1790"/>
                <a:gd name="T83" fmla="*/ 586 h 2194"/>
                <a:gd name="T84" fmla="*/ 864 w 1790"/>
                <a:gd name="T85" fmla="*/ 588 h 2194"/>
                <a:gd name="T86" fmla="*/ 890 w 1790"/>
                <a:gd name="T87" fmla="*/ 654 h 2194"/>
                <a:gd name="T88" fmla="*/ 872 w 1790"/>
                <a:gd name="T89" fmla="*/ 642 h 2194"/>
                <a:gd name="T90" fmla="*/ 909 w 1790"/>
                <a:gd name="T91" fmla="*/ 677 h 2194"/>
                <a:gd name="T92" fmla="*/ 931 w 1790"/>
                <a:gd name="T93" fmla="*/ 703 h 2194"/>
                <a:gd name="T94" fmla="*/ 939 w 1790"/>
                <a:gd name="T95" fmla="*/ 742 h 2194"/>
                <a:gd name="T96" fmla="*/ 966 w 1790"/>
                <a:gd name="T97" fmla="*/ 790 h 2194"/>
                <a:gd name="T98" fmla="*/ 1003 w 1790"/>
                <a:gd name="T99" fmla="*/ 848 h 2194"/>
                <a:gd name="T100" fmla="*/ 1066 w 1790"/>
                <a:gd name="T101" fmla="*/ 843 h 2194"/>
                <a:gd name="T102" fmla="*/ 1075 w 1790"/>
                <a:gd name="T103" fmla="*/ 850 h 2194"/>
                <a:gd name="T104" fmla="*/ 1096 w 1790"/>
                <a:gd name="T105" fmla="*/ 847 h 2194"/>
                <a:gd name="T106" fmla="*/ 1081 w 1790"/>
                <a:gd name="T107" fmla="*/ 866 h 2194"/>
                <a:gd name="T108" fmla="*/ 1061 w 1790"/>
                <a:gd name="T109" fmla="*/ 894 h 2194"/>
                <a:gd name="T110" fmla="*/ 1097 w 1790"/>
                <a:gd name="T111" fmla="*/ 901 h 2194"/>
                <a:gd name="T112" fmla="*/ 1219 w 1790"/>
                <a:gd name="T113" fmla="*/ 1079 h 2194"/>
                <a:gd name="T114" fmla="*/ 1655 w 1790"/>
                <a:gd name="T115" fmla="*/ 1201 h 2194"/>
                <a:gd name="T116" fmla="*/ 1760 w 1790"/>
                <a:gd name="T117" fmla="*/ 1421 h 2194"/>
                <a:gd name="T118" fmla="*/ 1398 w 1790"/>
                <a:gd name="T119" fmla="*/ 1781 h 2194"/>
                <a:gd name="T120" fmla="*/ 884 w 1790"/>
                <a:gd name="T121" fmla="*/ 1901 h 2194"/>
                <a:gd name="T122" fmla="*/ 486 w 1790"/>
                <a:gd name="T123" fmla="*/ 2077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0" h="2194">
                  <a:moveTo>
                    <a:pt x="774" y="333"/>
                  </a:moveTo>
                  <a:lnTo>
                    <a:pt x="778" y="333"/>
                  </a:lnTo>
                  <a:lnTo>
                    <a:pt x="796" y="339"/>
                  </a:lnTo>
                  <a:lnTo>
                    <a:pt x="792" y="340"/>
                  </a:lnTo>
                  <a:lnTo>
                    <a:pt x="789" y="339"/>
                  </a:lnTo>
                  <a:lnTo>
                    <a:pt x="788" y="338"/>
                  </a:lnTo>
                  <a:lnTo>
                    <a:pt x="784" y="337"/>
                  </a:lnTo>
                  <a:lnTo>
                    <a:pt x="781" y="338"/>
                  </a:lnTo>
                  <a:lnTo>
                    <a:pt x="779" y="339"/>
                  </a:lnTo>
                  <a:lnTo>
                    <a:pt x="777" y="341"/>
                  </a:lnTo>
                  <a:lnTo>
                    <a:pt x="774" y="342"/>
                  </a:lnTo>
                  <a:lnTo>
                    <a:pt x="773" y="341"/>
                  </a:lnTo>
                  <a:lnTo>
                    <a:pt x="773" y="341"/>
                  </a:lnTo>
                  <a:lnTo>
                    <a:pt x="770" y="340"/>
                  </a:lnTo>
                  <a:lnTo>
                    <a:pt x="770" y="339"/>
                  </a:lnTo>
                  <a:lnTo>
                    <a:pt x="773" y="338"/>
                  </a:lnTo>
                  <a:lnTo>
                    <a:pt x="773" y="337"/>
                  </a:lnTo>
                  <a:lnTo>
                    <a:pt x="772" y="335"/>
                  </a:lnTo>
                  <a:lnTo>
                    <a:pt x="771" y="334"/>
                  </a:lnTo>
                  <a:lnTo>
                    <a:pt x="769" y="333"/>
                  </a:lnTo>
                  <a:lnTo>
                    <a:pt x="767" y="333"/>
                  </a:lnTo>
                  <a:lnTo>
                    <a:pt x="764" y="335"/>
                  </a:lnTo>
                  <a:lnTo>
                    <a:pt x="761" y="335"/>
                  </a:lnTo>
                  <a:lnTo>
                    <a:pt x="759" y="338"/>
                  </a:lnTo>
                  <a:lnTo>
                    <a:pt x="758" y="341"/>
                  </a:lnTo>
                  <a:lnTo>
                    <a:pt x="756" y="344"/>
                  </a:lnTo>
                  <a:lnTo>
                    <a:pt x="756" y="339"/>
                  </a:lnTo>
                  <a:lnTo>
                    <a:pt x="759" y="334"/>
                  </a:lnTo>
                  <a:lnTo>
                    <a:pt x="764" y="331"/>
                  </a:lnTo>
                  <a:lnTo>
                    <a:pt x="769" y="330"/>
                  </a:lnTo>
                  <a:lnTo>
                    <a:pt x="771" y="330"/>
                  </a:lnTo>
                  <a:lnTo>
                    <a:pt x="772" y="331"/>
                  </a:lnTo>
                  <a:lnTo>
                    <a:pt x="774" y="333"/>
                  </a:lnTo>
                  <a:lnTo>
                    <a:pt x="774" y="333"/>
                  </a:lnTo>
                  <a:close/>
                  <a:moveTo>
                    <a:pt x="417" y="2194"/>
                  </a:moveTo>
                  <a:lnTo>
                    <a:pt x="470" y="1764"/>
                  </a:lnTo>
                  <a:lnTo>
                    <a:pt x="515" y="1411"/>
                  </a:lnTo>
                  <a:lnTo>
                    <a:pt x="563" y="1019"/>
                  </a:lnTo>
                  <a:lnTo>
                    <a:pt x="563" y="979"/>
                  </a:lnTo>
                  <a:lnTo>
                    <a:pt x="562" y="956"/>
                  </a:lnTo>
                  <a:lnTo>
                    <a:pt x="557" y="943"/>
                  </a:lnTo>
                  <a:lnTo>
                    <a:pt x="550" y="927"/>
                  </a:lnTo>
                  <a:lnTo>
                    <a:pt x="543" y="915"/>
                  </a:lnTo>
                  <a:lnTo>
                    <a:pt x="536" y="906"/>
                  </a:lnTo>
                  <a:lnTo>
                    <a:pt x="495" y="864"/>
                  </a:lnTo>
                  <a:lnTo>
                    <a:pt x="435" y="820"/>
                  </a:lnTo>
                  <a:lnTo>
                    <a:pt x="432" y="818"/>
                  </a:lnTo>
                  <a:lnTo>
                    <a:pt x="429" y="813"/>
                  </a:lnTo>
                  <a:lnTo>
                    <a:pt x="428" y="811"/>
                  </a:lnTo>
                  <a:lnTo>
                    <a:pt x="427" y="803"/>
                  </a:lnTo>
                  <a:lnTo>
                    <a:pt x="423" y="554"/>
                  </a:lnTo>
                  <a:lnTo>
                    <a:pt x="422" y="547"/>
                  </a:lnTo>
                  <a:lnTo>
                    <a:pt x="421" y="544"/>
                  </a:lnTo>
                  <a:lnTo>
                    <a:pt x="419" y="540"/>
                  </a:lnTo>
                  <a:lnTo>
                    <a:pt x="417" y="537"/>
                  </a:lnTo>
                  <a:lnTo>
                    <a:pt x="415" y="535"/>
                  </a:lnTo>
                  <a:lnTo>
                    <a:pt x="413" y="533"/>
                  </a:lnTo>
                  <a:lnTo>
                    <a:pt x="359" y="512"/>
                  </a:lnTo>
                  <a:lnTo>
                    <a:pt x="356" y="509"/>
                  </a:lnTo>
                  <a:lnTo>
                    <a:pt x="352" y="506"/>
                  </a:lnTo>
                  <a:lnTo>
                    <a:pt x="348" y="499"/>
                  </a:lnTo>
                  <a:lnTo>
                    <a:pt x="321" y="471"/>
                  </a:lnTo>
                  <a:lnTo>
                    <a:pt x="317" y="470"/>
                  </a:lnTo>
                  <a:lnTo>
                    <a:pt x="313" y="468"/>
                  </a:lnTo>
                  <a:lnTo>
                    <a:pt x="309" y="468"/>
                  </a:lnTo>
                  <a:lnTo>
                    <a:pt x="284" y="472"/>
                  </a:lnTo>
                  <a:lnTo>
                    <a:pt x="280" y="472"/>
                  </a:lnTo>
                  <a:lnTo>
                    <a:pt x="276" y="471"/>
                  </a:lnTo>
                  <a:lnTo>
                    <a:pt x="272" y="470"/>
                  </a:lnTo>
                  <a:lnTo>
                    <a:pt x="269" y="469"/>
                  </a:lnTo>
                  <a:lnTo>
                    <a:pt x="227" y="439"/>
                  </a:lnTo>
                  <a:lnTo>
                    <a:pt x="216" y="432"/>
                  </a:lnTo>
                  <a:lnTo>
                    <a:pt x="209" y="430"/>
                  </a:lnTo>
                  <a:lnTo>
                    <a:pt x="201" y="429"/>
                  </a:lnTo>
                  <a:lnTo>
                    <a:pt x="174" y="428"/>
                  </a:lnTo>
                  <a:lnTo>
                    <a:pt x="167" y="426"/>
                  </a:lnTo>
                  <a:lnTo>
                    <a:pt x="164" y="424"/>
                  </a:lnTo>
                  <a:lnTo>
                    <a:pt x="156" y="420"/>
                  </a:lnTo>
                  <a:lnTo>
                    <a:pt x="141" y="404"/>
                  </a:lnTo>
                  <a:lnTo>
                    <a:pt x="130" y="392"/>
                  </a:lnTo>
                  <a:lnTo>
                    <a:pt x="126" y="388"/>
                  </a:lnTo>
                  <a:lnTo>
                    <a:pt x="123" y="386"/>
                  </a:lnTo>
                  <a:lnTo>
                    <a:pt x="119" y="386"/>
                  </a:lnTo>
                  <a:lnTo>
                    <a:pt x="107" y="385"/>
                  </a:lnTo>
                  <a:lnTo>
                    <a:pt x="99" y="383"/>
                  </a:lnTo>
                  <a:lnTo>
                    <a:pt x="51" y="355"/>
                  </a:lnTo>
                  <a:lnTo>
                    <a:pt x="48" y="351"/>
                  </a:lnTo>
                  <a:lnTo>
                    <a:pt x="44" y="346"/>
                  </a:lnTo>
                  <a:lnTo>
                    <a:pt x="42" y="341"/>
                  </a:lnTo>
                  <a:lnTo>
                    <a:pt x="37" y="325"/>
                  </a:lnTo>
                  <a:lnTo>
                    <a:pt x="36" y="320"/>
                  </a:lnTo>
                  <a:lnTo>
                    <a:pt x="32" y="317"/>
                  </a:lnTo>
                  <a:lnTo>
                    <a:pt x="25" y="310"/>
                  </a:lnTo>
                  <a:lnTo>
                    <a:pt x="11" y="299"/>
                  </a:lnTo>
                  <a:lnTo>
                    <a:pt x="9" y="298"/>
                  </a:lnTo>
                  <a:lnTo>
                    <a:pt x="7" y="295"/>
                  </a:lnTo>
                  <a:lnTo>
                    <a:pt x="3" y="289"/>
                  </a:lnTo>
                  <a:lnTo>
                    <a:pt x="1" y="286"/>
                  </a:lnTo>
                  <a:lnTo>
                    <a:pt x="0" y="281"/>
                  </a:lnTo>
                  <a:lnTo>
                    <a:pt x="0" y="279"/>
                  </a:lnTo>
                  <a:lnTo>
                    <a:pt x="1" y="275"/>
                  </a:lnTo>
                  <a:lnTo>
                    <a:pt x="2" y="270"/>
                  </a:lnTo>
                  <a:lnTo>
                    <a:pt x="6" y="259"/>
                  </a:lnTo>
                  <a:lnTo>
                    <a:pt x="10" y="252"/>
                  </a:lnTo>
                  <a:lnTo>
                    <a:pt x="38" y="219"/>
                  </a:lnTo>
                  <a:lnTo>
                    <a:pt x="46" y="206"/>
                  </a:lnTo>
                  <a:lnTo>
                    <a:pt x="105" y="95"/>
                  </a:lnTo>
                  <a:lnTo>
                    <a:pt x="115" y="80"/>
                  </a:lnTo>
                  <a:lnTo>
                    <a:pt x="128" y="65"/>
                  </a:lnTo>
                  <a:lnTo>
                    <a:pt x="145" y="50"/>
                  </a:lnTo>
                  <a:lnTo>
                    <a:pt x="168" y="36"/>
                  </a:lnTo>
                  <a:lnTo>
                    <a:pt x="247" y="6"/>
                  </a:lnTo>
                  <a:lnTo>
                    <a:pt x="249" y="4"/>
                  </a:lnTo>
                  <a:lnTo>
                    <a:pt x="267" y="0"/>
                  </a:lnTo>
                  <a:lnTo>
                    <a:pt x="305" y="5"/>
                  </a:lnTo>
                  <a:lnTo>
                    <a:pt x="342" y="10"/>
                  </a:lnTo>
                  <a:lnTo>
                    <a:pt x="409" y="19"/>
                  </a:lnTo>
                  <a:lnTo>
                    <a:pt x="418" y="20"/>
                  </a:lnTo>
                  <a:lnTo>
                    <a:pt x="428" y="37"/>
                  </a:lnTo>
                  <a:lnTo>
                    <a:pt x="437" y="63"/>
                  </a:lnTo>
                  <a:lnTo>
                    <a:pt x="438" y="67"/>
                  </a:lnTo>
                  <a:lnTo>
                    <a:pt x="439" y="78"/>
                  </a:lnTo>
                  <a:lnTo>
                    <a:pt x="441" y="83"/>
                  </a:lnTo>
                  <a:lnTo>
                    <a:pt x="442" y="89"/>
                  </a:lnTo>
                  <a:lnTo>
                    <a:pt x="445" y="93"/>
                  </a:lnTo>
                  <a:lnTo>
                    <a:pt x="449" y="97"/>
                  </a:lnTo>
                  <a:lnTo>
                    <a:pt x="452" y="100"/>
                  </a:lnTo>
                  <a:lnTo>
                    <a:pt x="456" y="103"/>
                  </a:lnTo>
                  <a:lnTo>
                    <a:pt x="457" y="108"/>
                  </a:lnTo>
                  <a:lnTo>
                    <a:pt x="525" y="107"/>
                  </a:lnTo>
                  <a:lnTo>
                    <a:pt x="585" y="106"/>
                  </a:lnTo>
                  <a:lnTo>
                    <a:pt x="589" y="111"/>
                  </a:lnTo>
                  <a:lnTo>
                    <a:pt x="592" y="112"/>
                  </a:lnTo>
                  <a:lnTo>
                    <a:pt x="595" y="114"/>
                  </a:lnTo>
                  <a:lnTo>
                    <a:pt x="596" y="116"/>
                  </a:lnTo>
                  <a:lnTo>
                    <a:pt x="598" y="124"/>
                  </a:lnTo>
                  <a:lnTo>
                    <a:pt x="598" y="130"/>
                  </a:lnTo>
                  <a:lnTo>
                    <a:pt x="596" y="135"/>
                  </a:lnTo>
                  <a:lnTo>
                    <a:pt x="593" y="134"/>
                  </a:lnTo>
                  <a:lnTo>
                    <a:pt x="592" y="135"/>
                  </a:lnTo>
                  <a:lnTo>
                    <a:pt x="592" y="135"/>
                  </a:lnTo>
                  <a:lnTo>
                    <a:pt x="594" y="136"/>
                  </a:lnTo>
                  <a:lnTo>
                    <a:pt x="597" y="135"/>
                  </a:lnTo>
                  <a:lnTo>
                    <a:pt x="600" y="134"/>
                  </a:lnTo>
                  <a:lnTo>
                    <a:pt x="600" y="130"/>
                  </a:lnTo>
                  <a:lnTo>
                    <a:pt x="602" y="132"/>
                  </a:lnTo>
                  <a:lnTo>
                    <a:pt x="602" y="134"/>
                  </a:lnTo>
                  <a:lnTo>
                    <a:pt x="600" y="137"/>
                  </a:lnTo>
                  <a:lnTo>
                    <a:pt x="600" y="142"/>
                  </a:lnTo>
                  <a:lnTo>
                    <a:pt x="599" y="144"/>
                  </a:lnTo>
                  <a:lnTo>
                    <a:pt x="600" y="149"/>
                  </a:lnTo>
                  <a:lnTo>
                    <a:pt x="602" y="153"/>
                  </a:lnTo>
                  <a:lnTo>
                    <a:pt x="616" y="168"/>
                  </a:lnTo>
                  <a:lnTo>
                    <a:pt x="617" y="171"/>
                  </a:lnTo>
                  <a:lnTo>
                    <a:pt x="615" y="174"/>
                  </a:lnTo>
                  <a:lnTo>
                    <a:pt x="614" y="178"/>
                  </a:lnTo>
                  <a:lnTo>
                    <a:pt x="613" y="181"/>
                  </a:lnTo>
                  <a:lnTo>
                    <a:pt x="615" y="185"/>
                  </a:lnTo>
                  <a:lnTo>
                    <a:pt x="616" y="188"/>
                  </a:lnTo>
                  <a:lnTo>
                    <a:pt x="622" y="196"/>
                  </a:lnTo>
                  <a:lnTo>
                    <a:pt x="623" y="197"/>
                  </a:lnTo>
                  <a:lnTo>
                    <a:pt x="622" y="201"/>
                  </a:lnTo>
                  <a:lnTo>
                    <a:pt x="624" y="203"/>
                  </a:lnTo>
                  <a:lnTo>
                    <a:pt x="630" y="205"/>
                  </a:lnTo>
                  <a:lnTo>
                    <a:pt x="632" y="205"/>
                  </a:lnTo>
                  <a:lnTo>
                    <a:pt x="638" y="205"/>
                  </a:lnTo>
                  <a:lnTo>
                    <a:pt x="639" y="205"/>
                  </a:lnTo>
                  <a:lnTo>
                    <a:pt x="643" y="207"/>
                  </a:lnTo>
                  <a:lnTo>
                    <a:pt x="645" y="208"/>
                  </a:lnTo>
                  <a:lnTo>
                    <a:pt x="645" y="208"/>
                  </a:lnTo>
                  <a:lnTo>
                    <a:pt x="645" y="210"/>
                  </a:lnTo>
                  <a:lnTo>
                    <a:pt x="644" y="211"/>
                  </a:lnTo>
                  <a:lnTo>
                    <a:pt x="643" y="212"/>
                  </a:lnTo>
                  <a:lnTo>
                    <a:pt x="640" y="211"/>
                  </a:lnTo>
                  <a:lnTo>
                    <a:pt x="638" y="213"/>
                  </a:lnTo>
                  <a:lnTo>
                    <a:pt x="637" y="214"/>
                  </a:lnTo>
                  <a:lnTo>
                    <a:pt x="638" y="217"/>
                  </a:lnTo>
                  <a:lnTo>
                    <a:pt x="638" y="219"/>
                  </a:lnTo>
                  <a:lnTo>
                    <a:pt x="642" y="223"/>
                  </a:lnTo>
                  <a:lnTo>
                    <a:pt x="646" y="226"/>
                  </a:lnTo>
                  <a:lnTo>
                    <a:pt x="649" y="227"/>
                  </a:lnTo>
                  <a:lnTo>
                    <a:pt x="649" y="228"/>
                  </a:lnTo>
                  <a:lnTo>
                    <a:pt x="653" y="234"/>
                  </a:lnTo>
                  <a:lnTo>
                    <a:pt x="660" y="241"/>
                  </a:lnTo>
                  <a:lnTo>
                    <a:pt x="660" y="242"/>
                  </a:lnTo>
                  <a:lnTo>
                    <a:pt x="659" y="246"/>
                  </a:lnTo>
                  <a:lnTo>
                    <a:pt x="659" y="249"/>
                  </a:lnTo>
                  <a:lnTo>
                    <a:pt x="659" y="250"/>
                  </a:lnTo>
                  <a:lnTo>
                    <a:pt x="660" y="252"/>
                  </a:lnTo>
                  <a:lnTo>
                    <a:pt x="659" y="253"/>
                  </a:lnTo>
                  <a:lnTo>
                    <a:pt x="658" y="256"/>
                  </a:lnTo>
                  <a:lnTo>
                    <a:pt x="655" y="259"/>
                  </a:lnTo>
                  <a:lnTo>
                    <a:pt x="653" y="261"/>
                  </a:lnTo>
                  <a:lnTo>
                    <a:pt x="654" y="259"/>
                  </a:lnTo>
                  <a:lnTo>
                    <a:pt x="654" y="257"/>
                  </a:lnTo>
                  <a:lnTo>
                    <a:pt x="654" y="252"/>
                  </a:lnTo>
                  <a:lnTo>
                    <a:pt x="654" y="250"/>
                  </a:lnTo>
                  <a:lnTo>
                    <a:pt x="655" y="249"/>
                  </a:lnTo>
                  <a:lnTo>
                    <a:pt x="656" y="247"/>
                  </a:lnTo>
                  <a:lnTo>
                    <a:pt x="655" y="244"/>
                  </a:lnTo>
                  <a:lnTo>
                    <a:pt x="653" y="247"/>
                  </a:lnTo>
                  <a:lnTo>
                    <a:pt x="650" y="254"/>
                  </a:lnTo>
                  <a:lnTo>
                    <a:pt x="647" y="256"/>
                  </a:lnTo>
                  <a:lnTo>
                    <a:pt x="651" y="248"/>
                  </a:lnTo>
                  <a:lnTo>
                    <a:pt x="651" y="245"/>
                  </a:lnTo>
                  <a:lnTo>
                    <a:pt x="650" y="242"/>
                  </a:lnTo>
                  <a:lnTo>
                    <a:pt x="648" y="242"/>
                  </a:lnTo>
                  <a:lnTo>
                    <a:pt x="647" y="245"/>
                  </a:lnTo>
                  <a:lnTo>
                    <a:pt x="644" y="257"/>
                  </a:lnTo>
                  <a:lnTo>
                    <a:pt x="644" y="261"/>
                  </a:lnTo>
                  <a:lnTo>
                    <a:pt x="643" y="263"/>
                  </a:lnTo>
                  <a:lnTo>
                    <a:pt x="643" y="264"/>
                  </a:lnTo>
                  <a:lnTo>
                    <a:pt x="645" y="264"/>
                  </a:lnTo>
                  <a:lnTo>
                    <a:pt x="646" y="263"/>
                  </a:lnTo>
                  <a:lnTo>
                    <a:pt x="647" y="259"/>
                  </a:lnTo>
                  <a:lnTo>
                    <a:pt x="648" y="258"/>
                  </a:lnTo>
                  <a:lnTo>
                    <a:pt x="648" y="266"/>
                  </a:lnTo>
                  <a:lnTo>
                    <a:pt x="649" y="269"/>
                  </a:lnTo>
                  <a:lnTo>
                    <a:pt x="651" y="268"/>
                  </a:lnTo>
                  <a:lnTo>
                    <a:pt x="653" y="267"/>
                  </a:lnTo>
                  <a:lnTo>
                    <a:pt x="653" y="264"/>
                  </a:lnTo>
                  <a:lnTo>
                    <a:pt x="654" y="267"/>
                  </a:lnTo>
                  <a:lnTo>
                    <a:pt x="654" y="270"/>
                  </a:lnTo>
                  <a:lnTo>
                    <a:pt x="654" y="272"/>
                  </a:lnTo>
                  <a:lnTo>
                    <a:pt x="656" y="273"/>
                  </a:lnTo>
                  <a:lnTo>
                    <a:pt x="658" y="272"/>
                  </a:lnTo>
                  <a:lnTo>
                    <a:pt x="659" y="271"/>
                  </a:lnTo>
                  <a:lnTo>
                    <a:pt x="660" y="269"/>
                  </a:lnTo>
                  <a:lnTo>
                    <a:pt x="660" y="272"/>
                  </a:lnTo>
                  <a:lnTo>
                    <a:pt x="660" y="273"/>
                  </a:lnTo>
                  <a:lnTo>
                    <a:pt x="659" y="274"/>
                  </a:lnTo>
                  <a:lnTo>
                    <a:pt x="660" y="276"/>
                  </a:lnTo>
                  <a:lnTo>
                    <a:pt x="660" y="277"/>
                  </a:lnTo>
                  <a:lnTo>
                    <a:pt x="659" y="278"/>
                  </a:lnTo>
                  <a:lnTo>
                    <a:pt x="657" y="278"/>
                  </a:lnTo>
                  <a:lnTo>
                    <a:pt x="659" y="283"/>
                  </a:lnTo>
                  <a:lnTo>
                    <a:pt x="655" y="280"/>
                  </a:lnTo>
                  <a:lnTo>
                    <a:pt x="653" y="281"/>
                  </a:lnTo>
                  <a:lnTo>
                    <a:pt x="652" y="283"/>
                  </a:lnTo>
                  <a:lnTo>
                    <a:pt x="655" y="284"/>
                  </a:lnTo>
                  <a:lnTo>
                    <a:pt x="659" y="284"/>
                  </a:lnTo>
                  <a:lnTo>
                    <a:pt x="660" y="282"/>
                  </a:lnTo>
                  <a:lnTo>
                    <a:pt x="662" y="279"/>
                  </a:lnTo>
                  <a:lnTo>
                    <a:pt x="663" y="279"/>
                  </a:lnTo>
                  <a:lnTo>
                    <a:pt x="664" y="282"/>
                  </a:lnTo>
                  <a:lnTo>
                    <a:pt x="662" y="284"/>
                  </a:lnTo>
                  <a:lnTo>
                    <a:pt x="662" y="287"/>
                  </a:lnTo>
                  <a:lnTo>
                    <a:pt x="662" y="291"/>
                  </a:lnTo>
                  <a:lnTo>
                    <a:pt x="666" y="291"/>
                  </a:lnTo>
                  <a:lnTo>
                    <a:pt x="667" y="289"/>
                  </a:lnTo>
                  <a:lnTo>
                    <a:pt x="666" y="288"/>
                  </a:lnTo>
                  <a:lnTo>
                    <a:pt x="665" y="287"/>
                  </a:lnTo>
                  <a:lnTo>
                    <a:pt x="664" y="286"/>
                  </a:lnTo>
                  <a:lnTo>
                    <a:pt x="666" y="284"/>
                  </a:lnTo>
                  <a:lnTo>
                    <a:pt x="668" y="283"/>
                  </a:lnTo>
                  <a:lnTo>
                    <a:pt x="671" y="282"/>
                  </a:lnTo>
                  <a:lnTo>
                    <a:pt x="675" y="281"/>
                  </a:lnTo>
                  <a:lnTo>
                    <a:pt x="677" y="282"/>
                  </a:lnTo>
                  <a:lnTo>
                    <a:pt x="683" y="288"/>
                  </a:lnTo>
                  <a:lnTo>
                    <a:pt x="689" y="291"/>
                  </a:lnTo>
                  <a:lnTo>
                    <a:pt x="690" y="294"/>
                  </a:lnTo>
                  <a:lnTo>
                    <a:pt x="687" y="296"/>
                  </a:lnTo>
                  <a:lnTo>
                    <a:pt x="690" y="297"/>
                  </a:lnTo>
                  <a:lnTo>
                    <a:pt x="692" y="296"/>
                  </a:lnTo>
                  <a:lnTo>
                    <a:pt x="693" y="295"/>
                  </a:lnTo>
                  <a:lnTo>
                    <a:pt x="692" y="293"/>
                  </a:lnTo>
                  <a:lnTo>
                    <a:pt x="695" y="295"/>
                  </a:lnTo>
                  <a:lnTo>
                    <a:pt x="698" y="295"/>
                  </a:lnTo>
                  <a:lnTo>
                    <a:pt x="705" y="296"/>
                  </a:lnTo>
                  <a:lnTo>
                    <a:pt x="706" y="295"/>
                  </a:lnTo>
                  <a:lnTo>
                    <a:pt x="708" y="294"/>
                  </a:lnTo>
                  <a:lnTo>
                    <a:pt x="710" y="293"/>
                  </a:lnTo>
                  <a:lnTo>
                    <a:pt x="712" y="294"/>
                  </a:lnTo>
                  <a:lnTo>
                    <a:pt x="715" y="295"/>
                  </a:lnTo>
                  <a:lnTo>
                    <a:pt x="717" y="295"/>
                  </a:lnTo>
                  <a:lnTo>
                    <a:pt x="721" y="295"/>
                  </a:lnTo>
                  <a:lnTo>
                    <a:pt x="722" y="298"/>
                  </a:lnTo>
                  <a:lnTo>
                    <a:pt x="727" y="303"/>
                  </a:lnTo>
                  <a:lnTo>
                    <a:pt x="728" y="305"/>
                  </a:lnTo>
                  <a:lnTo>
                    <a:pt x="730" y="306"/>
                  </a:lnTo>
                  <a:lnTo>
                    <a:pt x="731" y="308"/>
                  </a:lnTo>
                  <a:lnTo>
                    <a:pt x="731" y="309"/>
                  </a:lnTo>
                  <a:lnTo>
                    <a:pt x="732" y="312"/>
                  </a:lnTo>
                  <a:lnTo>
                    <a:pt x="732" y="314"/>
                  </a:lnTo>
                  <a:lnTo>
                    <a:pt x="730" y="314"/>
                  </a:lnTo>
                  <a:lnTo>
                    <a:pt x="729" y="313"/>
                  </a:lnTo>
                  <a:lnTo>
                    <a:pt x="728" y="311"/>
                  </a:lnTo>
                  <a:lnTo>
                    <a:pt x="729" y="309"/>
                  </a:lnTo>
                  <a:lnTo>
                    <a:pt x="728" y="309"/>
                  </a:lnTo>
                  <a:lnTo>
                    <a:pt x="724" y="313"/>
                  </a:lnTo>
                  <a:lnTo>
                    <a:pt x="715" y="312"/>
                  </a:lnTo>
                  <a:lnTo>
                    <a:pt x="712" y="316"/>
                  </a:lnTo>
                  <a:lnTo>
                    <a:pt x="710" y="316"/>
                  </a:lnTo>
                  <a:lnTo>
                    <a:pt x="709" y="312"/>
                  </a:lnTo>
                  <a:lnTo>
                    <a:pt x="706" y="312"/>
                  </a:lnTo>
                  <a:lnTo>
                    <a:pt x="700" y="316"/>
                  </a:lnTo>
                  <a:lnTo>
                    <a:pt x="701" y="316"/>
                  </a:lnTo>
                  <a:lnTo>
                    <a:pt x="705" y="318"/>
                  </a:lnTo>
                  <a:lnTo>
                    <a:pt x="707" y="318"/>
                  </a:lnTo>
                  <a:lnTo>
                    <a:pt x="711" y="321"/>
                  </a:lnTo>
                  <a:lnTo>
                    <a:pt x="713" y="322"/>
                  </a:lnTo>
                  <a:lnTo>
                    <a:pt x="714" y="324"/>
                  </a:lnTo>
                  <a:lnTo>
                    <a:pt x="715" y="324"/>
                  </a:lnTo>
                  <a:lnTo>
                    <a:pt x="719" y="321"/>
                  </a:lnTo>
                  <a:lnTo>
                    <a:pt x="720" y="319"/>
                  </a:lnTo>
                  <a:lnTo>
                    <a:pt x="721" y="318"/>
                  </a:lnTo>
                  <a:lnTo>
                    <a:pt x="722" y="319"/>
                  </a:lnTo>
                  <a:lnTo>
                    <a:pt x="724" y="320"/>
                  </a:lnTo>
                  <a:lnTo>
                    <a:pt x="723" y="323"/>
                  </a:lnTo>
                  <a:lnTo>
                    <a:pt x="721" y="325"/>
                  </a:lnTo>
                  <a:lnTo>
                    <a:pt x="720" y="325"/>
                  </a:lnTo>
                  <a:lnTo>
                    <a:pt x="719" y="327"/>
                  </a:lnTo>
                  <a:lnTo>
                    <a:pt x="718" y="329"/>
                  </a:lnTo>
                  <a:lnTo>
                    <a:pt x="718" y="333"/>
                  </a:lnTo>
                  <a:lnTo>
                    <a:pt x="717" y="336"/>
                  </a:lnTo>
                  <a:lnTo>
                    <a:pt x="719" y="335"/>
                  </a:lnTo>
                  <a:lnTo>
                    <a:pt x="721" y="334"/>
                  </a:lnTo>
                  <a:lnTo>
                    <a:pt x="723" y="333"/>
                  </a:lnTo>
                  <a:lnTo>
                    <a:pt x="725" y="332"/>
                  </a:lnTo>
                  <a:lnTo>
                    <a:pt x="727" y="331"/>
                  </a:lnTo>
                  <a:lnTo>
                    <a:pt x="729" y="332"/>
                  </a:lnTo>
                  <a:lnTo>
                    <a:pt x="732" y="333"/>
                  </a:lnTo>
                  <a:lnTo>
                    <a:pt x="731" y="337"/>
                  </a:lnTo>
                  <a:lnTo>
                    <a:pt x="731" y="341"/>
                  </a:lnTo>
                  <a:lnTo>
                    <a:pt x="733" y="344"/>
                  </a:lnTo>
                  <a:lnTo>
                    <a:pt x="733" y="348"/>
                  </a:lnTo>
                  <a:lnTo>
                    <a:pt x="733" y="356"/>
                  </a:lnTo>
                  <a:lnTo>
                    <a:pt x="734" y="360"/>
                  </a:lnTo>
                  <a:lnTo>
                    <a:pt x="736" y="359"/>
                  </a:lnTo>
                  <a:lnTo>
                    <a:pt x="736" y="363"/>
                  </a:lnTo>
                  <a:lnTo>
                    <a:pt x="738" y="364"/>
                  </a:lnTo>
                  <a:lnTo>
                    <a:pt x="740" y="363"/>
                  </a:lnTo>
                  <a:lnTo>
                    <a:pt x="742" y="362"/>
                  </a:lnTo>
                  <a:lnTo>
                    <a:pt x="741" y="359"/>
                  </a:lnTo>
                  <a:lnTo>
                    <a:pt x="742" y="357"/>
                  </a:lnTo>
                  <a:lnTo>
                    <a:pt x="744" y="357"/>
                  </a:lnTo>
                  <a:lnTo>
                    <a:pt x="747" y="359"/>
                  </a:lnTo>
                  <a:lnTo>
                    <a:pt x="748" y="358"/>
                  </a:lnTo>
                  <a:lnTo>
                    <a:pt x="749" y="360"/>
                  </a:lnTo>
                  <a:lnTo>
                    <a:pt x="749" y="362"/>
                  </a:lnTo>
                  <a:lnTo>
                    <a:pt x="748" y="364"/>
                  </a:lnTo>
                  <a:lnTo>
                    <a:pt x="747" y="367"/>
                  </a:lnTo>
                  <a:lnTo>
                    <a:pt x="747" y="368"/>
                  </a:lnTo>
                  <a:lnTo>
                    <a:pt x="745" y="369"/>
                  </a:lnTo>
                  <a:lnTo>
                    <a:pt x="743" y="369"/>
                  </a:lnTo>
                  <a:lnTo>
                    <a:pt x="742" y="369"/>
                  </a:lnTo>
                  <a:lnTo>
                    <a:pt x="743" y="371"/>
                  </a:lnTo>
                  <a:lnTo>
                    <a:pt x="747" y="371"/>
                  </a:lnTo>
                  <a:lnTo>
                    <a:pt x="748" y="373"/>
                  </a:lnTo>
                  <a:lnTo>
                    <a:pt x="750" y="372"/>
                  </a:lnTo>
                  <a:lnTo>
                    <a:pt x="751" y="371"/>
                  </a:lnTo>
                  <a:lnTo>
                    <a:pt x="752" y="367"/>
                  </a:lnTo>
                  <a:lnTo>
                    <a:pt x="753" y="368"/>
                  </a:lnTo>
                  <a:lnTo>
                    <a:pt x="754" y="369"/>
                  </a:lnTo>
                  <a:lnTo>
                    <a:pt x="752" y="371"/>
                  </a:lnTo>
                  <a:lnTo>
                    <a:pt x="754" y="372"/>
                  </a:lnTo>
                  <a:lnTo>
                    <a:pt x="758" y="371"/>
                  </a:lnTo>
                  <a:lnTo>
                    <a:pt x="760" y="371"/>
                  </a:lnTo>
                  <a:lnTo>
                    <a:pt x="765" y="373"/>
                  </a:lnTo>
                  <a:lnTo>
                    <a:pt x="768" y="373"/>
                  </a:lnTo>
                  <a:lnTo>
                    <a:pt x="763" y="369"/>
                  </a:lnTo>
                  <a:lnTo>
                    <a:pt x="762" y="365"/>
                  </a:lnTo>
                  <a:lnTo>
                    <a:pt x="765" y="363"/>
                  </a:lnTo>
                  <a:lnTo>
                    <a:pt x="766" y="363"/>
                  </a:lnTo>
                  <a:lnTo>
                    <a:pt x="770" y="365"/>
                  </a:lnTo>
                  <a:lnTo>
                    <a:pt x="771" y="366"/>
                  </a:lnTo>
                  <a:lnTo>
                    <a:pt x="773" y="365"/>
                  </a:lnTo>
                  <a:lnTo>
                    <a:pt x="775" y="362"/>
                  </a:lnTo>
                  <a:lnTo>
                    <a:pt x="775" y="365"/>
                  </a:lnTo>
                  <a:lnTo>
                    <a:pt x="773" y="370"/>
                  </a:lnTo>
                  <a:lnTo>
                    <a:pt x="773" y="372"/>
                  </a:lnTo>
                  <a:lnTo>
                    <a:pt x="774" y="377"/>
                  </a:lnTo>
                  <a:lnTo>
                    <a:pt x="775" y="379"/>
                  </a:lnTo>
                  <a:lnTo>
                    <a:pt x="776" y="380"/>
                  </a:lnTo>
                  <a:lnTo>
                    <a:pt x="780" y="381"/>
                  </a:lnTo>
                  <a:lnTo>
                    <a:pt x="782" y="385"/>
                  </a:lnTo>
                  <a:lnTo>
                    <a:pt x="792" y="401"/>
                  </a:lnTo>
                  <a:lnTo>
                    <a:pt x="797" y="406"/>
                  </a:lnTo>
                  <a:lnTo>
                    <a:pt x="798" y="408"/>
                  </a:lnTo>
                  <a:lnTo>
                    <a:pt x="803" y="409"/>
                  </a:lnTo>
                  <a:lnTo>
                    <a:pt x="805" y="411"/>
                  </a:lnTo>
                  <a:lnTo>
                    <a:pt x="807" y="413"/>
                  </a:lnTo>
                  <a:lnTo>
                    <a:pt x="809" y="415"/>
                  </a:lnTo>
                  <a:lnTo>
                    <a:pt x="819" y="420"/>
                  </a:lnTo>
                  <a:lnTo>
                    <a:pt x="826" y="424"/>
                  </a:lnTo>
                  <a:lnTo>
                    <a:pt x="830" y="425"/>
                  </a:lnTo>
                  <a:lnTo>
                    <a:pt x="833" y="424"/>
                  </a:lnTo>
                  <a:lnTo>
                    <a:pt x="838" y="425"/>
                  </a:lnTo>
                  <a:lnTo>
                    <a:pt x="842" y="428"/>
                  </a:lnTo>
                  <a:lnTo>
                    <a:pt x="848" y="433"/>
                  </a:lnTo>
                  <a:lnTo>
                    <a:pt x="856" y="445"/>
                  </a:lnTo>
                  <a:lnTo>
                    <a:pt x="859" y="450"/>
                  </a:lnTo>
                  <a:lnTo>
                    <a:pt x="871" y="459"/>
                  </a:lnTo>
                  <a:lnTo>
                    <a:pt x="874" y="462"/>
                  </a:lnTo>
                  <a:lnTo>
                    <a:pt x="874" y="466"/>
                  </a:lnTo>
                  <a:lnTo>
                    <a:pt x="867" y="460"/>
                  </a:lnTo>
                  <a:lnTo>
                    <a:pt x="863" y="457"/>
                  </a:lnTo>
                  <a:lnTo>
                    <a:pt x="854" y="455"/>
                  </a:lnTo>
                  <a:lnTo>
                    <a:pt x="851" y="455"/>
                  </a:lnTo>
                  <a:lnTo>
                    <a:pt x="849" y="453"/>
                  </a:lnTo>
                  <a:lnTo>
                    <a:pt x="849" y="446"/>
                  </a:lnTo>
                  <a:lnTo>
                    <a:pt x="847" y="447"/>
                  </a:lnTo>
                  <a:lnTo>
                    <a:pt x="846" y="450"/>
                  </a:lnTo>
                  <a:lnTo>
                    <a:pt x="844" y="454"/>
                  </a:lnTo>
                  <a:lnTo>
                    <a:pt x="844" y="458"/>
                  </a:lnTo>
                  <a:lnTo>
                    <a:pt x="845" y="460"/>
                  </a:lnTo>
                  <a:lnTo>
                    <a:pt x="846" y="462"/>
                  </a:lnTo>
                  <a:lnTo>
                    <a:pt x="848" y="463"/>
                  </a:lnTo>
                  <a:lnTo>
                    <a:pt x="849" y="464"/>
                  </a:lnTo>
                  <a:lnTo>
                    <a:pt x="848" y="476"/>
                  </a:lnTo>
                  <a:lnTo>
                    <a:pt x="848" y="479"/>
                  </a:lnTo>
                  <a:lnTo>
                    <a:pt x="853" y="493"/>
                  </a:lnTo>
                  <a:lnTo>
                    <a:pt x="855" y="496"/>
                  </a:lnTo>
                  <a:lnTo>
                    <a:pt x="857" y="500"/>
                  </a:lnTo>
                  <a:lnTo>
                    <a:pt x="860" y="501"/>
                  </a:lnTo>
                  <a:lnTo>
                    <a:pt x="874" y="506"/>
                  </a:lnTo>
                  <a:lnTo>
                    <a:pt x="879" y="510"/>
                  </a:lnTo>
                  <a:lnTo>
                    <a:pt x="882" y="517"/>
                  </a:lnTo>
                  <a:lnTo>
                    <a:pt x="884" y="525"/>
                  </a:lnTo>
                  <a:lnTo>
                    <a:pt x="883" y="546"/>
                  </a:lnTo>
                  <a:lnTo>
                    <a:pt x="883" y="550"/>
                  </a:lnTo>
                  <a:lnTo>
                    <a:pt x="881" y="554"/>
                  </a:lnTo>
                  <a:lnTo>
                    <a:pt x="878" y="556"/>
                  </a:lnTo>
                  <a:lnTo>
                    <a:pt x="878" y="554"/>
                  </a:lnTo>
                  <a:lnTo>
                    <a:pt x="877" y="553"/>
                  </a:lnTo>
                  <a:lnTo>
                    <a:pt x="874" y="553"/>
                  </a:lnTo>
                  <a:lnTo>
                    <a:pt x="873" y="554"/>
                  </a:lnTo>
                  <a:lnTo>
                    <a:pt x="874" y="560"/>
                  </a:lnTo>
                  <a:lnTo>
                    <a:pt x="874" y="567"/>
                  </a:lnTo>
                  <a:lnTo>
                    <a:pt x="872" y="574"/>
                  </a:lnTo>
                  <a:lnTo>
                    <a:pt x="871" y="579"/>
                  </a:lnTo>
                  <a:lnTo>
                    <a:pt x="869" y="577"/>
                  </a:lnTo>
                  <a:lnTo>
                    <a:pt x="868" y="575"/>
                  </a:lnTo>
                  <a:lnTo>
                    <a:pt x="868" y="572"/>
                  </a:lnTo>
                  <a:lnTo>
                    <a:pt x="867" y="569"/>
                  </a:lnTo>
                  <a:lnTo>
                    <a:pt x="866" y="567"/>
                  </a:lnTo>
                  <a:lnTo>
                    <a:pt x="864" y="565"/>
                  </a:lnTo>
                  <a:lnTo>
                    <a:pt x="864" y="564"/>
                  </a:lnTo>
                  <a:lnTo>
                    <a:pt x="861" y="561"/>
                  </a:lnTo>
                  <a:lnTo>
                    <a:pt x="860" y="561"/>
                  </a:lnTo>
                  <a:lnTo>
                    <a:pt x="859" y="556"/>
                  </a:lnTo>
                  <a:lnTo>
                    <a:pt x="858" y="554"/>
                  </a:lnTo>
                  <a:lnTo>
                    <a:pt x="856" y="552"/>
                  </a:lnTo>
                  <a:lnTo>
                    <a:pt x="855" y="549"/>
                  </a:lnTo>
                  <a:lnTo>
                    <a:pt x="853" y="548"/>
                  </a:lnTo>
                  <a:lnTo>
                    <a:pt x="851" y="549"/>
                  </a:lnTo>
                  <a:lnTo>
                    <a:pt x="847" y="558"/>
                  </a:lnTo>
                  <a:lnTo>
                    <a:pt x="845" y="559"/>
                  </a:lnTo>
                  <a:lnTo>
                    <a:pt x="843" y="560"/>
                  </a:lnTo>
                  <a:lnTo>
                    <a:pt x="844" y="562"/>
                  </a:lnTo>
                  <a:lnTo>
                    <a:pt x="846" y="565"/>
                  </a:lnTo>
                  <a:lnTo>
                    <a:pt x="847" y="566"/>
                  </a:lnTo>
                  <a:lnTo>
                    <a:pt x="848" y="567"/>
                  </a:lnTo>
                  <a:lnTo>
                    <a:pt x="849" y="570"/>
                  </a:lnTo>
                  <a:lnTo>
                    <a:pt x="849" y="572"/>
                  </a:lnTo>
                  <a:lnTo>
                    <a:pt x="846" y="573"/>
                  </a:lnTo>
                  <a:lnTo>
                    <a:pt x="846" y="575"/>
                  </a:lnTo>
                  <a:lnTo>
                    <a:pt x="846" y="577"/>
                  </a:lnTo>
                  <a:lnTo>
                    <a:pt x="847" y="580"/>
                  </a:lnTo>
                  <a:lnTo>
                    <a:pt x="847" y="583"/>
                  </a:lnTo>
                  <a:lnTo>
                    <a:pt x="846" y="585"/>
                  </a:lnTo>
                  <a:lnTo>
                    <a:pt x="849" y="586"/>
                  </a:lnTo>
                  <a:lnTo>
                    <a:pt x="851" y="585"/>
                  </a:lnTo>
                  <a:lnTo>
                    <a:pt x="852" y="583"/>
                  </a:lnTo>
                  <a:lnTo>
                    <a:pt x="851" y="579"/>
                  </a:lnTo>
                  <a:lnTo>
                    <a:pt x="853" y="580"/>
                  </a:lnTo>
                  <a:lnTo>
                    <a:pt x="854" y="581"/>
                  </a:lnTo>
                  <a:lnTo>
                    <a:pt x="856" y="583"/>
                  </a:lnTo>
                  <a:lnTo>
                    <a:pt x="856" y="584"/>
                  </a:lnTo>
                  <a:lnTo>
                    <a:pt x="858" y="584"/>
                  </a:lnTo>
                  <a:lnTo>
                    <a:pt x="858" y="586"/>
                  </a:lnTo>
                  <a:lnTo>
                    <a:pt x="860" y="587"/>
                  </a:lnTo>
                  <a:lnTo>
                    <a:pt x="864" y="588"/>
                  </a:lnTo>
                  <a:lnTo>
                    <a:pt x="866" y="591"/>
                  </a:lnTo>
                  <a:lnTo>
                    <a:pt x="867" y="593"/>
                  </a:lnTo>
                  <a:lnTo>
                    <a:pt x="869" y="597"/>
                  </a:lnTo>
                  <a:lnTo>
                    <a:pt x="869" y="599"/>
                  </a:lnTo>
                  <a:lnTo>
                    <a:pt x="865" y="602"/>
                  </a:lnTo>
                  <a:lnTo>
                    <a:pt x="867" y="611"/>
                  </a:lnTo>
                  <a:lnTo>
                    <a:pt x="871" y="620"/>
                  </a:lnTo>
                  <a:lnTo>
                    <a:pt x="874" y="627"/>
                  </a:lnTo>
                  <a:lnTo>
                    <a:pt x="885" y="638"/>
                  </a:lnTo>
                  <a:lnTo>
                    <a:pt x="888" y="645"/>
                  </a:lnTo>
                  <a:lnTo>
                    <a:pt x="890" y="654"/>
                  </a:lnTo>
                  <a:lnTo>
                    <a:pt x="889" y="654"/>
                  </a:lnTo>
                  <a:lnTo>
                    <a:pt x="886" y="645"/>
                  </a:lnTo>
                  <a:lnTo>
                    <a:pt x="885" y="645"/>
                  </a:lnTo>
                  <a:lnTo>
                    <a:pt x="883" y="644"/>
                  </a:lnTo>
                  <a:lnTo>
                    <a:pt x="881" y="643"/>
                  </a:lnTo>
                  <a:lnTo>
                    <a:pt x="879" y="641"/>
                  </a:lnTo>
                  <a:lnTo>
                    <a:pt x="877" y="638"/>
                  </a:lnTo>
                  <a:lnTo>
                    <a:pt x="874" y="636"/>
                  </a:lnTo>
                  <a:lnTo>
                    <a:pt x="871" y="636"/>
                  </a:lnTo>
                  <a:lnTo>
                    <a:pt x="871" y="639"/>
                  </a:lnTo>
                  <a:lnTo>
                    <a:pt x="872" y="642"/>
                  </a:lnTo>
                  <a:lnTo>
                    <a:pt x="877" y="645"/>
                  </a:lnTo>
                  <a:lnTo>
                    <a:pt x="878" y="647"/>
                  </a:lnTo>
                  <a:lnTo>
                    <a:pt x="879" y="645"/>
                  </a:lnTo>
                  <a:lnTo>
                    <a:pt x="880" y="645"/>
                  </a:lnTo>
                  <a:lnTo>
                    <a:pt x="886" y="658"/>
                  </a:lnTo>
                  <a:lnTo>
                    <a:pt x="906" y="683"/>
                  </a:lnTo>
                  <a:lnTo>
                    <a:pt x="909" y="686"/>
                  </a:lnTo>
                  <a:lnTo>
                    <a:pt x="909" y="683"/>
                  </a:lnTo>
                  <a:lnTo>
                    <a:pt x="909" y="681"/>
                  </a:lnTo>
                  <a:lnTo>
                    <a:pt x="908" y="678"/>
                  </a:lnTo>
                  <a:lnTo>
                    <a:pt x="909" y="677"/>
                  </a:lnTo>
                  <a:lnTo>
                    <a:pt x="911" y="676"/>
                  </a:lnTo>
                  <a:lnTo>
                    <a:pt x="912" y="677"/>
                  </a:lnTo>
                  <a:lnTo>
                    <a:pt x="913" y="681"/>
                  </a:lnTo>
                  <a:lnTo>
                    <a:pt x="915" y="683"/>
                  </a:lnTo>
                  <a:lnTo>
                    <a:pt x="916" y="685"/>
                  </a:lnTo>
                  <a:lnTo>
                    <a:pt x="919" y="687"/>
                  </a:lnTo>
                  <a:lnTo>
                    <a:pt x="924" y="689"/>
                  </a:lnTo>
                  <a:lnTo>
                    <a:pt x="926" y="691"/>
                  </a:lnTo>
                  <a:lnTo>
                    <a:pt x="930" y="699"/>
                  </a:lnTo>
                  <a:lnTo>
                    <a:pt x="928" y="700"/>
                  </a:lnTo>
                  <a:lnTo>
                    <a:pt x="931" y="703"/>
                  </a:lnTo>
                  <a:lnTo>
                    <a:pt x="932" y="708"/>
                  </a:lnTo>
                  <a:lnTo>
                    <a:pt x="934" y="714"/>
                  </a:lnTo>
                  <a:lnTo>
                    <a:pt x="935" y="717"/>
                  </a:lnTo>
                  <a:lnTo>
                    <a:pt x="935" y="720"/>
                  </a:lnTo>
                  <a:lnTo>
                    <a:pt x="934" y="724"/>
                  </a:lnTo>
                  <a:lnTo>
                    <a:pt x="934" y="726"/>
                  </a:lnTo>
                  <a:lnTo>
                    <a:pt x="934" y="729"/>
                  </a:lnTo>
                  <a:lnTo>
                    <a:pt x="936" y="731"/>
                  </a:lnTo>
                  <a:lnTo>
                    <a:pt x="937" y="735"/>
                  </a:lnTo>
                  <a:lnTo>
                    <a:pt x="939" y="739"/>
                  </a:lnTo>
                  <a:lnTo>
                    <a:pt x="939" y="742"/>
                  </a:lnTo>
                  <a:lnTo>
                    <a:pt x="939" y="750"/>
                  </a:lnTo>
                  <a:lnTo>
                    <a:pt x="939" y="758"/>
                  </a:lnTo>
                  <a:lnTo>
                    <a:pt x="941" y="761"/>
                  </a:lnTo>
                  <a:lnTo>
                    <a:pt x="943" y="764"/>
                  </a:lnTo>
                  <a:lnTo>
                    <a:pt x="945" y="760"/>
                  </a:lnTo>
                  <a:lnTo>
                    <a:pt x="948" y="764"/>
                  </a:lnTo>
                  <a:lnTo>
                    <a:pt x="954" y="770"/>
                  </a:lnTo>
                  <a:lnTo>
                    <a:pt x="955" y="773"/>
                  </a:lnTo>
                  <a:lnTo>
                    <a:pt x="958" y="775"/>
                  </a:lnTo>
                  <a:lnTo>
                    <a:pt x="961" y="788"/>
                  </a:lnTo>
                  <a:lnTo>
                    <a:pt x="966" y="790"/>
                  </a:lnTo>
                  <a:lnTo>
                    <a:pt x="969" y="794"/>
                  </a:lnTo>
                  <a:lnTo>
                    <a:pt x="970" y="801"/>
                  </a:lnTo>
                  <a:lnTo>
                    <a:pt x="970" y="813"/>
                  </a:lnTo>
                  <a:lnTo>
                    <a:pt x="971" y="814"/>
                  </a:lnTo>
                  <a:lnTo>
                    <a:pt x="973" y="818"/>
                  </a:lnTo>
                  <a:lnTo>
                    <a:pt x="975" y="820"/>
                  </a:lnTo>
                  <a:lnTo>
                    <a:pt x="977" y="822"/>
                  </a:lnTo>
                  <a:lnTo>
                    <a:pt x="979" y="822"/>
                  </a:lnTo>
                  <a:lnTo>
                    <a:pt x="983" y="819"/>
                  </a:lnTo>
                  <a:lnTo>
                    <a:pt x="994" y="839"/>
                  </a:lnTo>
                  <a:lnTo>
                    <a:pt x="1003" y="848"/>
                  </a:lnTo>
                  <a:lnTo>
                    <a:pt x="1011" y="851"/>
                  </a:lnTo>
                  <a:lnTo>
                    <a:pt x="1021" y="853"/>
                  </a:lnTo>
                  <a:lnTo>
                    <a:pt x="1030" y="853"/>
                  </a:lnTo>
                  <a:lnTo>
                    <a:pt x="1039" y="850"/>
                  </a:lnTo>
                  <a:lnTo>
                    <a:pt x="1051" y="841"/>
                  </a:lnTo>
                  <a:lnTo>
                    <a:pt x="1051" y="843"/>
                  </a:lnTo>
                  <a:lnTo>
                    <a:pt x="1059" y="841"/>
                  </a:lnTo>
                  <a:lnTo>
                    <a:pt x="1061" y="843"/>
                  </a:lnTo>
                  <a:lnTo>
                    <a:pt x="1063" y="844"/>
                  </a:lnTo>
                  <a:lnTo>
                    <a:pt x="1064" y="845"/>
                  </a:lnTo>
                  <a:lnTo>
                    <a:pt x="1066" y="843"/>
                  </a:lnTo>
                  <a:lnTo>
                    <a:pt x="1067" y="845"/>
                  </a:lnTo>
                  <a:lnTo>
                    <a:pt x="1066" y="847"/>
                  </a:lnTo>
                  <a:lnTo>
                    <a:pt x="1065" y="848"/>
                  </a:lnTo>
                  <a:lnTo>
                    <a:pt x="1063" y="850"/>
                  </a:lnTo>
                  <a:lnTo>
                    <a:pt x="1063" y="851"/>
                  </a:lnTo>
                  <a:lnTo>
                    <a:pt x="1065" y="854"/>
                  </a:lnTo>
                  <a:lnTo>
                    <a:pt x="1064" y="860"/>
                  </a:lnTo>
                  <a:lnTo>
                    <a:pt x="1065" y="861"/>
                  </a:lnTo>
                  <a:lnTo>
                    <a:pt x="1068" y="860"/>
                  </a:lnTo>
                  <a:lnTo>
                    <a:pt x="1070" y="858"/>
                  </a:lnTo>
                  <a:lnTo>
                    <a:pt x="1075" y="850"/>
                  </a:lnTo>
                  <a:lnTo>
                    <a:pt x="1077" y="848"/>
                  </a:lnTo>
                  <a:lnTo>
                    <a:pt x="1080" y="846"/>
                  </a:lnTo>
                  <a:lnTo>
                    <a:pt x="1081" y="844"/>
                  </a:lnTo>
                  <a:lnTo>
                    <a:pt x="1081" y="840"/>
                  </a:lnTo>
                  <a:lnTo>
                    <a:pt x="1083" y="841"/>
                  </a:lnTo>
                  <a:lnTo>
                    <a:pt x="1086" y="842"/>
                  </a:lnTo>
                  <a:lnTo>
                    <a:pt x="1089" y="842"/>
                  </a:lnTo>
                  <a:lnTo>
                    <a:pt x="1089" y="844"/>
                  </a:lnTo>
                  <a:lnTo>
                    <a:pt x="1091" y="847"/>
                  </a:lnTo>
                  <a:lnTo>
                    <a:pt x="1093" y="847"/>
                  </a:lnTo>
                  <a:lnTo>
                    <a:pt x="1096" y="847"/>
                  </a:lnTo>
                  <a:lnTo>
                    <a:pt x="1098" y="849"/>
                  </a:lnTo>
                  <a:lnTo>
                    <a:pt x="1098" y="850"/>
                  </a:lnTo>
                  <a:lnTo>
                    <a:pt x="1095" y="851"/>
                  </a:lnTo>
                  <a:lnTo>
                    <a:pt x="1091" y="852"/>
                  </a:lnTo>
                  <a:lnTo>
                    <a:pt x="1089" y="854"/>
                  </a:lnTo>
                  <a:lnTo>
                    <a:pt x="1088" y="857"/>
                  </a:lnTo>
                  <a:lnTo>
                    <a:pt x="1087" y="857"/>
                  </a:lnTo>
                  <a:lnTo>
                    <a:pt x="1083" y="861"/>
                  </a:lnTo>
                  <a:lnTo>
                    <a:pt x="1082" y="863"/>
                  </a:lnTo>
                  <a:lnTo>
                    <a:pt x="1082" y="866"/>
                  </a:lnTo>
                  <a:lnTo>
                    <a:pt x="1081" y="866"/>
                  </a:lnTo>
                  <a:lnTo>
                    <a:pt x="1071" y="874"/>
                  </a:lnTo>
                  <a:lnTo>
                    <a:pt x="1068" y="877"/>
                  </a:lnTo>
                  <a:lnTo>
                    <a:pt x="1067" y="880"/>
                  </a:lnTo>
                  <a:lnTo>
                    <a:pt x="1066" y="881"/>
                  </a:lnTo>
                  <a:lnTo>
                    <a:pt x="1066" y="883"/>
                  </a:lnTo>
                  <a:lnTo>
                    <a:pt x="1065" y="888"/>
                  </a:lnTo>
                  <a:lnTo>
                    <a:pt x="1065" y="889"/>
                  </a:lnTo>
                  <a:lnTo>
                    <a:pt x="1065" y="892"/>
                  </a:lnTo>
                  <a:lnTo>
                    <a:pt x="1064" y="893"/>
                  </a:lnTo>
                  <a:lnTo>
                    <a:pt x="1062" y="893"/>
                  </a:lnTo>
                  <a:lnTo>
                    <a:pt x="1061" y="894"/>
                  </a:lnTo>
                  <a:lnTo>
                    <a:pt x="1061" y="897"/>
                  </a:lnTo>
                  <a:lnTo>
                    <a:pt x="1061" y="899"/>
                  </a:lnTo>
                  <a:lnTo>
                    <a:pt x="1062" y="900"/>
                  </a:lnTo>
                  <a:lnTo>
                    <a:pt x="1072" y="901"/>
                  </a:lnTo>
                  <a:lnTo>
                    <a:pt x="1076" y="900"/>
                  </a:lnTo>
                  <a:lnTo>
                    <a:pt x="1078" y="899"/>
                  </a:lnTo>
                  <a:lnTo>
                    <a:pt x="1080" y="897"/>
                  </a:lnTo>
                  <a:lnTo>
                    <a:pt x="1081" y="897"/>
                  </a:lnTo>
                  <a:lnTo>
                    <a:pt x="1083" y="897"/>
                  </a:lnTo>
                  <a:lnTo>
                    <a:pt x="1095" y="899"/>
                  </a:lnTo>
                  <a:lnTo>
                    <a:pt x="1097" y="901"/>
                  </a:lnTo>
                  <a:lnTo>
                    <a:pt x="1103" y="907"/>
                  </a:lnTo>
                  <a:lnTo>
                    <a:pt x="1110" y="909"/>
                  </a:lnTo>
                  <a:lnTo>
                    <a:pt x="1111" y="916"/>
                  </a:lnTo>
                  <a:lnTo>
                    <a:pt x="1111" y="920"/>
                  </a:lnTo>
                  <a:lnTo>
                    <a:pt x="1111" y="933"/>
                  </a:lnTo>
                  <a:lnTo>
                    <a:pt x="1112" y="937"/>
                  </a:lnTo>
                  <a:lnTo>
                    <a:pt x="1114" y="942"/>
                  </a:lnTo>
                  <a:lnTo>
                    <a:pt x="1150" y="988"/>
                  </a:lnTo>
                  <a:lnTo>
                    <a:pt x="1176" y="1022"/>
                  </a:lnTo>
                  <a:lnTo>
                    <a:pt x="1185" y="1034"/>
                  </a:lnTo>
                  <a:lnTo>
                    <a:pt x="1219" y="1079"/>
                  </a:lnTo>
                  <a:lnTo>
                    <a:pt x="1237" y="1102"/>
                  </a:lnTo>
                  <a:lnTo>
                    <a:pt x="1263" y="1136"/>
                  </a:lnTo>
                  <a:lnTo>
                    <a:pt x="1272" y="1148"/>
                  </a:lnTo>
                  <a:lnTo>
                    <a:pt x="1275" y="1150"/>
                  </a:lnTo>
                  <a:lnTo>
                    <a:pt x="1279" y="1152"/>
                  </a:lnTo>
                  <a:lnTo>
                    <a:pt x="1353" y="1161"/>
                  </a:lnTo>
                  <a:lnTo>
                    <a:pt x="1469" y="1177"/>
                  </a:lnTo>
                  <a:lnTo>
                    <a:pt x="1539" y="1186"/>
                  </a:lnTo>
                  <a:lnTo>
                    <a:pt x="1586" y="1193"/>
                  </a:lnTo>
                  <a:lnTo>
                    <a:pt x="1609" y="1195"/>
                  </a:lnTo>
                  <a:lnTo>
                    <a:pt x="1655" y="1201"/>
                  </a:lnTo>
                  <a:lnTo>
                    <a:pt x="1701" y="1208"/>
                  </a:lnTo>
                  <a:lnTo>
                    <a:pt x="1704" y="1208"/>
                  </a:lnTo>
                  <a:lnTo>
                    <a:pt x="1714" y="1193"/>
                  </a:lnTo>
                  <a:lnTo>
                    <a:pt x="1739" y="1233"/>
                  </a:lnTo>
                  <a:lnTo>
                    <a:pt x="1766" y="1278"/>
                  </a:lnTo>
                  <a:lnTo>
                    <a:pt x="1789" y="1316"/>
                  </a:lnTo>
                  <a:lnTo>
                    <a:pt x="1790" y="1320"/>
                  </a:lnTo>
                  <a:lnTo>
                    <a:pt x="1790" y="1324"/>
                  </a:lnTo>
                  <a:lnTo>
                    <a:pt x="1783" y="1347"/>
                  </a:lnTo>
                  <a:lnTo>
                    <a:pt x="1774" y="1376"/>
                  </a:lnTo>
                  <a:lnTo>
                    <a:pt x="1760" y="1421"/>
                  </a:lnTo>
                  <a:lnTo>
                    <a:pt x="1744" y="1476"/>
                  </a:lnTo>
                  <a:lnTo>
                    <a:pt x="1734" y="1506"/>
                  </a:lnTo>
                  <a:lnTo>
                    <a:pt x="1708" y="1590"/>
                  </a:lnTo>
                  <a:lnTo>
                    <a:pt x="1694" y="1635"/>
                  </a:lnTo>
                  <a:lnTo>
                    <a:pt x="1690" y="1650"/>
                  </a:lnTo>
                  <a:lnTo>
                    <a:pt x="1680" y="1681"/>
                  </a:lnTo>
                  <a:lnTo>
                    <a:pt x="1626" y="1700"/>
                  </a:lnTo>
                  <a:lnTo>
                    <a:pt x="1541" y="1730"/>
                  </a:lnTo>
                  <a:lnTo>
                    <a:pt x="1483" y="1750"/>
                  </a:lnTo>
                  <a:lnTo>
                    <a:pt x="1455" y="1761"/>
                  </a:lnTo>
                  <a:lnTo>
                    <a:pt x="1398" y="1781"/>
                  </a:lnTo>
                  <a:lnTo>
                    <a:pt x="1368" y="1791"/>
                  </a:lnTo>
                  <a:lnTo>
                    <a:pt x="1311" y="1811"/>
                  </a:lnTo>
                  <a:lnTo>
                    <a:pt x="1283" y="1822"/>
                  </a:lnTo>
                  <a:lnTo>
                    <a:pt x="1225" y="1841"/>
                  </a:lnTo>
                  <a:lnTo>
                    <a:pt x="1197" y="1852"/>
                  </a:lnTo>
                  <a:lnTo>
                    <a:pt x="1178" y="1858"/>
                  </a:lnTo>
                  <a:lnTo>
                    <a:pt x="1098" y="1870"/>
                  </a:lnTo>
                  <a:lnTo>
                    <a:pt x="991" y="1886"/>
                  </a:lnTo>
                  <a:lnTo>
                    <a:pt x="964" y="1889"/>
                  </a:lnTo>
                  <a:lnTo>
                    <a:pt x="938" y="1893"/>
                  </a:lnTo>
                  <a:lnTo>
                    <a:pt x="884" y="1901"/>
                  </a:lnTo>
                  <a:lnTo>
                    <a:pt x="857" y="1904"/>
                  </a:lnTo>
                  <a:lnTo>
                    <a:pt x="723" y="1924"/>
                  </a:lnTo>
                  <a:lnTo>
                    <a:pt x="701" y="1926"/>
                  </a:lnTo>
                  <a:lnTo>
                    <a:pt x="686" y="1932"/>
                  </a:lnTo>
                  <a:lnTo>
                    <a:pt x="654" y="1948"/>
                  </a:lnTo>
                  <a:lnTo>
                    <a:pt x="593" y="1979"/>
                  </a:lnTo>
                  <a:lnTo>
                    <a:pt x="544" y="2006"/>
                  </a:lnTo>
                  <a:lnTo>
                    <a:pt x="540" y="2008"/>
                  </a:lnTo>
                  <a:lnTo>
                    <a:pt x="526" y="2024"/>
                  </a:lnTo>
                  <a:lnTo>
                    <a:pt x="511" y="2044"/>
                  </a:lnTo>
                  <a:lnTo>
                    <a:pt x="486" y="2077"/>
                  </a:lnTo>
                  <a:lnTo>
                    <a:pt x="444" y="2129"/>
                  </a:lnTo>
                  <a:lnTo>
                    <a:pt x="442" y="2135"/>
                  </a:lnTo>
                  <a:lnTo>
                    <a:pt x="422" y="2188"/>
                  </a:lnTo>
                  <a:lnTo>
                    <a:pt x="417" y="2194"/>
                  </a:lnTo>
                  <a:lnTo>
                    <a:pt x="417" y="2194"/>
                  </a:lnTo>
                  <a:close/>
                </a:path>
              </a:pathLst>
            </a:custGeom>
            <a:solidFill>
              <a:srgbClr val="00764C"/>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srgbClr val="000000"/>
                </a:solidFill>
                <a:latin typeface="Arial"/>
                <a:cs typeface="+mn-cs"/>
              </a:endParaRPr>
            </a:p>
          </p:txBody>
        </p:sp>
        <p:sp>
          <p:nvSpPr>
            <p:cNvPr id="95" name="Freeform 9">
              <a:extLst>
                <a:ext uri="{FF2B5EF4-FFF2-40B4-BE49-F238E27FC236}"/>
              </a:extLst>
            </p:cNvPr>
            <p:cNvSpPr>
              <a:spLocks/>
            </p:cNvSpPr>
            <p:nvPr/>
          </p:nvSpPr>
          <p:spPr bwMode="auto">
            <a:xfrm>
              <a:off x="2283961" y="3302678"/>
              <a:ext cx="1411220" cy="1439622"/>
            </a:xfrm>
            <a:custGeom>
              <a:avLst/>
              <a:gdLst>
                <a:gd name="T0" fmla="*/ 504 w 889"/>
                <a:gd name="T1" fmla="*/ 179 h 907"/>
                <a:gd name="T2" fmla="*/ 526 w 889"/>
                <a:gd name="T3" fmla="*/ 196 h 907"/>
                <a:gd name="T4" fmla="*/ 531 w 889"/>
                <a:gd name="T5" fmla="*/ 320 h 907"/>
                <a:gd name="T6" fmla="*/ 546 w 889"/>
                <a:gd name="T7" fmla="*/ 389 h 907"/>
                <a:gd name="T8" fmla="*/ 638 w 889"/>
                <a:gd name="T9" fmla="*/ 371 h 907"/>
                <a:gd name="T10" fmla="*/ 674 w 889"/>
                <a:gd name="T11" fmla="*/ 340 h 907"/>
                <a:gd name="T12" fmla="*/ 808 w 889"/>
                <a:gd name="T13" fmla="*/ 357 h 907"/>
                <a:gd name="T14" fmla="*/ 818 w 889"/>
                <a:gd name="T15" fmla="*/ 433 h 907"/>
                <a:gd name="T16" fmla="*/ 866 w 889"/>
                <a:gd name="T17" fmla="*/ 494 h 907"/>
                <a:gd name="T18" fmla="*/ 884 w 889"/>
                <a:gd name="T19" fmla="*/ 539 h 907"/>
                <a:gd name="T20" fmla="*/ 875 w 889"/>
                <a:gd name="T21" fmla="*/ 578 h 907"/>
                <a:gd name="T22" fmla="*/ 829 w 889"/>
                <a:gd name="T23" fmla="*/ 645 h 907"/>
                <a:gd name="T24" fmla="*/ 830 w 889"/>
                <a:gd name="T25" fmla="*/ 690 h 907"/>
                <a:gd name="T26" fmla="*/ 752 w 889"/>
                <a:gd name="T27" fmla="*/ 745 h 907"/>
                <a:gd name="T28" fmla="*/ 776 w 889"/>
                <a:gd name="T29" fmla="*/ 780 h 907"/>
                <a:gd name="T30" fmla="*/ 654 w 889"/>
                <a:gd name="T31" fmla="*/ 884 h 907"/>
                <a:gd name="T32" fmla="*/ 583 w 889"/>
                <a:gd name="T33" fmla="*/ 903 h 907"/>
                <a:gd name="T34" fmla="*/ 550 w 889"/>
                <a:gd name="T35" fmla="*/ 899 h 907"/>
                <a:gd name="T36" fmla="*/ 547 w 889"/>
                <a:gd name="T37" fmla="*/ 862 h 907"/>
                <a:gd name="T38" fmla="*/ 519 w 889"/>
                <a:gd name="T39" fmla="*/ 839 h 907"/>
                <a:gd name="T40" fmla="*/ 524 w 889"/>
                <a:gd name="T41" fmla="*/ 787 h 907"/>
                <a:gd name="T42" fmla="*/ 446 w 889"/>
                <a:gd name="T43" fmla="*/ 790 h 907"/>
                <a:gd name="T44" fmla="*/ 402 w 889"/>
                <a:gd name="T45" fmla="*/ 781 h 907"/>
                <a:gd name="T46" fmla="*/ 349 w 889"/>
                <a:gd name="T47" fmla="*/ 732 h 907"/>
                <a:gd name="T48" fmla="*/ 305 w 889"/>
                <a:gd name="T49" fmla="*/ 716 h 907"/>
                <a:gd name="T50" fmla="*/ 303 w 889"/>
                <a:gd name="T51" fmla="*/ 717 h 907"/>
                <a:gd name="T52" fmla="*/ 281 w 889"/>
                <a:gd name="T53" fmla="*/ 675 h 907"/>
                <a:gd name="T54" fmla="*/ 267 w 889"/>
                <a:gd name="T55" fmla="*/ 657 h 907"/>
                <a:gd name="T56" fmla="*/ 244 w 889"/>
                <a:gd name="T57" fmla="*/ 640 h 907"/>
                <a:gd name="T58" fmla="*/ 217 w 889"/>
                <a:gd name="T59" fmla="*/ 618 h 907"/>
                <a:gd name="T60" fmla="*/ 197 w 889"/>
                <a:gd name="T61" fmla="*/ 602 h 907"/>
                <a:gd name="T62" fmla="*/ 194 w 889"/>
                <a:gd name="T63" fmla="*/ 592 h 907"/>
                <a:gd name="T64" fmla="*/ 187 w 889"/>
                <a:gd name="T65" fmla="*/ 602 h 907"/>
                <a:gd name="T66" fmla="*/ 156 w 889"/>
                <a:gd name="T67" fmla="*/ 582 h 907"/>
                <a:gd name="T68" fmla="*/ 135 w 889"/>
                <a:gd name="T69" fmla="*/ 586 h 907"/>
                <a:gd name="T70" fmla="*/ 106 w 889"/>
                <a:gd name="T71" fmla="*/ 557 h 907"/>
                <a:gd name="T72" fmla="*/ 103 w 889"/>
                <a:gd name="T73" fmla="*/ 519 h 907"/>
                <a:gd name="T74" fmla="*/ 139 w 889"/>
                <a:gd name="T75" fmla="*/ 505 h 907"/>
                <a:gd name="T76" fmla="*/ 171 w 889"/>
                <a:gd name="T77" fmla="*/ 486 h 907"/>
                <a:gd name="T78" fmla="*/ 204 w 889"/>
                <a:gd name="T79" fmla="*/ 470 h 907"/>
                <a:gd name="T80" fmla="*/ 188 w 889"/>
                <a:gd name="T81" fmla="*/ 356 h 907"/>
                <a:gd name="T82" fmla="*/ 163 w 889"/>
                <a:gd name="T83" fmla="*/ 301 h 907"/>
                <a:gd name="T84" fmla="*/ 98 w 889"/>
                <a:gd name="T85" fmla="*/ 240 h 907"/>
                <a:gd name="T86" fmla="*/ 75 w 889"/>
                <a:gd name="T87" fmla="*/ 226 h 907"/>
                <a:gd name="T88" fmla="*/ 80 w 889"/>
                <a:gd name="T89" fmla="*/ 163 h 907"/>
                <a:gd name="T90" fmla="*/ 45 w 889"/>
                <a:gd name="T91" fmla="*/ 135 h 907"/>
                <a:gd name="T92" fmla="*/ 37 w 889"/>
                <a:gd name="T93" fmla="*/ 77 h 907"/>
                <a:gd name="T94" fmla="*/ 22 w 889"/>
                <a:gd name="T95" fmla="*/ 39 h 907"/>
                <a:gd name="T96" fmla="*/ 4 w 889"/>
                <a:gd name="T97" fmla="*/ 30 h 907"/>
                <a:gd name="T98" fmla="*/ 105 w 889"/>
                <a:gd name="T99" fmla="*/ 15 h 907"/>
                <a:gd name="T100" fmla="*/ 165 w 889"/>
                <a:gd name="T101" fmla="*/ 0 h 907"/>
                <a:gd name="T102" fmla="*/ 197 w 889"/>
                <a:gd name="T103" fmla="*/ 59 h 907"/>
                <a:gd name="T104" fmla="*/ 239 w 889"/>
                <a:gd name="T105" fmla="*/ 72 h 907"/>
                <a:gd name="T106" fmla="*/ 257 w 889"/>
                <a:gd name="T107" fmla="*/ 102 h 907"/>
                <a:gd name="T108" fmla="*/ 288 w 889"/>
                <a:gd name="T109" fmla="*/ 96 h 907"/>
                <a:gd name="T110" fmla="*/ 327 w 889"/>
                <a:gd name="T111" fmla="*/ 100 h 907"/>
                <a:gd name="T112" fmla="*/ 339 w 889"/>
                <a:gd name="T113" fmla="*/ 102 h 907"/>
                <a:gd name="T114" fmla="*/ 491 w 889"/>
                <a:gd name="T115" fmla="*/ 12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9" h="907">
                  <a:moveTo>
                    <a:pt x="508" y="138"/>
                  </a:moveTo>
                  <a:lnTo>
                    <a:pt x="511" y="146"/>
                  </a:lnTo>
                  <a:lnTo>
                    <a:pt x="511" y="150"/>
                  </a:lnTo>
                  <a:lnTo>
                    <a:pt x="511" y="154"/>
                  </a:lnTo>
                  <a:lnTo>
                    <a:pt x="511" y="159"/>
                  </a:lnTo>
                  <a:lnTo>
                    <a:pt x="510" y="166"/>
                  </a:lnTo>
                  <a:lnTo>
                    <a:pt x="510" y="168"/>
                  </a:lnTo>
                  <a:lnTo>
                    <a:pt x="504" y="179"/>
                  </a:lnTo>
                  <a:lnTo>
                    <a:pt x="501" y="184"/>
                  </a:lnTo>
                  <a:lnTo>
                    <a:pt x="502" y="189"/>
                  </a:lnTo>
                  <a:lnTo>
                    <a:pt x="504" y="193"/>
                  </a:lnTo>
                  <a:lnTo>
                    <a:pt x="506" y="196"/>
                  </a:lnTo>
                  <a:lnTo>
                    <a:pt x="510" y="198"/>
                  </a:lnTo>
                  <a:lnTo>
                    <a:pt x="514" y="198"/>
                  </a:lnTo>
                  <a:lnTo>
                    <a:pt x="522" y="196"/>
                  </a:lnTo>
                  <a:lnTo>
                    <a:pt x="526" y="196"/>
                  </a:lnTo>
                  <a:lnTo>
                    <a:pt x="529" y="199"/>
                  </a:lnTo>
                  <a:lnTo>
                    <a:pt x="531" y="203"/>
                  </a:lnTo>
                  <a:lnTo>
                    <a:pt x="532" y="207"/>
                  </a:lnTo>
                  <a:lnTo>
                    <a:pt x="522" y="270"/>
                  </a:lnTo>
                  <a:lnTo>
                    <a:pt x="522" y="275"/>
                  </a:lnTo>
                  <a:lnTo>
                    <a:pt x="523" y="280"/>
                  </a:lnTo>
                  <a:lnTo>
                    <a:pt x="528" y="300"/>
                  </a:lnTo>
                  <a:lnTo>
                    <a:pt x="531" y="320"/>
                  </a:lnTo>
                  <a:lnTo>
                    <a:pt x="529" y="368"/>
                  </a:lnTo>
                  <a:lnTo>
                    <a:pt x="531" y="373"/>
                  </a:lnTo>
                  <a:lnTo>
                    <a:pt x="533" y="378"/>
                  </a:lnTo>
                  <a:lnTo>
                    <a:pt x="534" y="381"/>
                  </a:lnTo>
                  <a:lnTo>
                    <a:pt x="537" y="384"/>
                  </a:lnTo>
                  <a:lnTo>
                    <a:pt x="540" y="386"/>
                  </a:lnTo>
                  <a:lnTo>
                    <a:pt x="542" y="387"/>
                  </a:lnTo>
                  <a:lnTo>
                    <a:pt x="546" y="389"/>
                  </a:lnTo>
                  <a:lnTo>
                    <a:pt x="549" y="389"/>
                  </a:lnTo>
                  <a:lnTo>
                    <a:pt x="554" y="389"/>
                  </a:lnTo>
                  <a:lnTo>
                    <a:pt x="557" y="389"/>
                  </a:lnTo>
                  <a:lnTo>
                    <a:pt x="599" y="373"/>
                  </a:lnTo>
                  <a:lnTo>
                    <a:pt x="608" y="372"/>
                  </a:lnTo>
                  <a:lnTo>
                    <a:pt x="627" y="373"/>
                  </a:lnTo>
                  <a:lnTo>
                    <a:pt x="634" y="372"/>
                  </a:lnTo>
                  <a:lnTo>
                    <a:pt x="638" y="371"/>
                  </a:lnTo>
                  <a:lnTo>
                    <a:pt x="641" y="370"/>
                  </a:lnTo>
                  <a:lnTo>
                    <a:pt x="644" y="369"/>
                  </a:lnTo>
                  <a:lnTo>
                    <a:pt x="647" y="367"/>
                  </a:lnTo>
                  <a:lnTo>
                    <a:pt x="650" y="366"/>
                  </a:lnTo>
                  <a:lnTo>
                    <a:pt x="653" y="362"/>
                  </a:lnTo>
                  <a:lnTo>
                    <a:pt x="665" y="346"/>
                  </a:lnTo>
                  <a:lnTo>
                    <a:pt x="669" y="343"/>
                  </a:lnTo>
                  <a:lnTo>
                    <a:pt x="674" y="340"/>
                  </a:lnTo>
                  <a:lnTo>
                    <a:pt x="679" y="338"/>
                  </a:lnTo>
                  <a:lnTo>
                    <a:pt x="685" y="337"/>
                  </a:lnTo>
                  <a:lnTo>
                    <a:pt x="713" y="335"/>
                  </a:lnTo>
                  <a:lnTo>
                    <a:pt x="760" y="343"/>
                  </a:lnTo>
                  <a:lnTo>
                    <a:pt x="775" y="347"/>
                  </a:lnTo>
                  <a:lnTo>
                    <a:pt x="778" y="349"/>
                  </a:lnTo>
                  <a:lnTo>
                    <a:pt x="800" y="354"/>
                  </a:lnTo>
                  <a:lnTo>
                    <a:pt x="808" y="357"/>
                  </a:lnTo>
                  <a:lnTo>
                    <a:pt x="811" y="358"/>
                  </a:lnTo>
                  <a:lnTo>
                    <a:pt x="813" y="363"/>
                  </a:lnTo>
                  <a:lnTo>
                    <a:pt x="815" y="367"/>
                  </a:lnTo>
                  <a:lnTo>
                    <a:pt x="815" y="372"/>
                  </a:lnTo>
                  <a:lnTo>
                    <a:pt x="813" y="419"/>
                  </a:lnTo>
                  <a:lnTo>
                    <a:pt x="813" y="424"/>
                  </a:lnTo>
                  <a:lnTo>
                    <a:pt x="814" y="427"/>
                  </a:lnTo>
                  <a:lnTo>
                    <a:pt x="818" y="433"/>
                  </a:lnTo>
                  <a:lnTo>
                    <a:pt x="821" y="436"/>
                  </a:lnTo>
                  <a:lnTo>
                    <a:pt x="826" y="438"/>
                  </a:lnTo>
                  <a:lnTo>
                    <a:pt x="847" y="444"/>
                  </a:lnTo>
                  <a:lnTo>
                    <a:pt x="850" y="445"/>
                  </a:lnTo>
                  <a:lnTo>
                    <a:pt x="852" y="447"/>
                  </a:lnTo>
                  <a:lnTo>
                    <a:pt x="855" y="452"/>
                  </a:lnTo>
                  <a:lnTo>
                    <a:pt x="858" y="459"/>
                  </a:lnTo>
                  <a:lnTo>
                    <a:pt x="866" y="494"/>
                  </a:lnTo>
                  <a:lnTo>
                    <a:pt x="870" y="502"/>
                  </a:lnTo>
                  <a:lnTo>
                    <a:pt x="872" y="505"/>
                  </a:lnTo>
                  <a:lnTo>
                    <a:pt x="874" y="508"/>
                  </a:lnTo>
                  <a:lnTo>
                    <a:pt x="889" y="518"/>
                  </a:lnTo>
                  <a:lnTo>
                    <a:pt x="889" y="525"/>
                  </a:lnTo>
                  <a:lnTo>
                    <a:pt x="888" y="533"/>
                  </a:lnTo>
                  <a:lnTo>
                    <a:pt x="885" y="539"/>
                  </a:lnTo>
                  <a:lnTo>
                    <a:pt x="884" y="539"/>
                  </a:lnTo>
                  <a:lnTo>
                    <a:pt x="877" y="549"/>
                  </a:lnTo>
                  <a:lnTo>
                    <a:pt x="874" y="554"/>
                  </a:lnTo>
                  <a:lnTo>
                    <a:pt x="873" y="556"/>
                  </a:lnTo>
                  <a:lnTo>
                    <a:pt x="873" y="559"/>
                  </a:lnTo>
                  <a:lnTo>
                    <a:pt x="873" y="561"/>
                  </a:lnTo>
                  <a:lnTo>
                    <a:pt x="875" y="567"/>
                  </a:lnTo>
                  <a:lnTo>
                    <a:pt x="876" y="571"/>
                  </a:lnTo>
                  <a:lnTo>
                    <a:pt x="875" y="578"/>
                  </a:lnTo>
                  <a:lnTo>
                    <a:pt x="873" y="592"/>
                  </a:lnTo>
                  <a:lnTo>
                    <a:pt x="870" y="624"/>
                  </a:lnTo>
                  <a:lnTo>
                    <a:pt x="871" y="640"/>
                  </a:lnTo>
                  <a:lnTo>
                    <a:pt x="849" y="637"/>
                  </a:lnTo>
                  <a:lnTo>
                    <a:pt x="838" y="638"/>
                  </a:lnTo>
                  <a:lnTo>
                    <a:pt x="835" y="640"/>
                  </a:lnTo>
                  <a:lnTo>
                    <a:pt x="831" y="641"/>
                  </a:lnTo>
                  <a:lnTo>
                    <a:pt x="829" y="645"/>
                  </a:lnTo>
                  <a:lnTo>
                    <a:pt x="828" y="648"/>
                  </a:lnTo>
                  <a:lnTo>
                    <a:pt x="828" y="653"/>
                  </a:lnTo>
                  <a:lnTo>
                    <a:pt x="833" y="664"/>
                  </a:lnTo>
                  <a:lnTo>
                    <a:pt x="834" y="669"/>
                  </a:lnTo>
                  <a:lnTo>
                    <a:pt x="834" y="672"/>
                  </a:lnTo>
                  <a:lnTo>
                    <a:pt x="834" y="680"/>
                  </a:lnTo>
                  <a:lnTo>
                    <a:pt x="833" y="686"/>
                  </a:lnTo>
                  <a:lnTo>
                    <a:pt x="830" y="690"/>
                  </a:lnTo>
                  <a:lnTo>
                    <a:pt x="826" y="697"/>
                  </a:lnTo>
                  <a:lnTo>
                    <a:pt x="821" y="701"/>
                  </a:lnTo>
                  <a:lnTo>
                    <a:pt x="818" y="704"/>
                  </a:lnTo>
                  <a:lnTo>
                    <a:pt x="788" y="717"/>
                  </a:lnTo>
                  <a:lnTo>
                    <a:pt x="766" y="730"/>
                  </a:lnTo>
                  <a:lnTo>
                    <a:pt x="759" y="735"/>
                  </a:lnTo>
                  <a:lnTo>
                    <a:pt x="753" y="740"/>
                  </a:lnTo>
                  <a:lnTo>
                    <a:pt x="752" y="745"/>
                  </a:lnTo>
                  <a:lnTo>
                    <a:pt x="753" y="749"/>
                  </a:lnTo>
                  <a:lnTo>
                    <a:pt x="756" y="752"/>
                  </a:lnTo>
                  <a:lnTo>
                    <a:pt x="760" y="754"/>
                  </a:lnTo>
                  <a:lnTo>
                    <a:pt x="778" y="765"/>
                  </a:lnTo>
                  <a:lnTo>
                    <a:pt x="781" y="768"/>
                  </a:lnTo>
                  <a:lnTo>
                    <a:pt x="782" y="771"/>
                  </a:lnTo>
                  <a:lnTo>
                    <a:pt x="780" y="777"/>
                  </a:lnTo>
                  <a:lnTo>
                    <a:pt x="776" y="780"/>
                  </a:lnTo>
                  <a:lnTo>
                    <a:pt x="773" y="783"/>
                  </a:lnTo>
                  <a:lnTo>
                    <a:pt x="753" y="790"/>
                  </a:lnTo>
                  <a:lnTo>
                    <a:pt x="749" y="792"/>
                  </a:lnTo>
                  <a:lnTo>
                    <a:pt x="744" y="797"/>
                  </a:lnTo>
                  <a:lnTo>
                    <a:pt x="720" y="820"/>
                  </a:lnTo>
                  <a:lnTo>
                    <a:pt x="672" y="858"/>
                  </a:lnTo>
                  <a:lnTo>
                    <a:pt x="666" y="866"/>
                  </a:lnTo>
                  <a:lnTo>
                    <a:pt x="654" y="884"/>
                  </a:lnTo>
                  <a:lnTo>
                    <a:pt x="649" y="889"/>
                  </a:lnTo>
                  <a:lnTo>
                    <a:pt x="646" y="891"/>
                  </a:lnTo>
                  <a:lnTo>
                    <a:pt x="642" y="891"/>
                  </a:lnTo>
                  <a:lnTo>
                    <a:pt x="616" y="884"/>
                  </a:lnTo>
                  <a:lnTo>
                    <a:pt x="612" y="883"/>
                  </a:lnTo>
                  <a:lnTo>
                    <a:pt x="607" y="884"/>
                  </a:lnTo>
                  <a:lnTo>
                    <a:pt x="600" y="888"/>
                  </a:lnTo>
                  <a:lnTo>
                    <a:pt x="583" y="903"/>
                  </a:lnTo>
                  <a:lnTo>
                    <a:pt x="579" y="905"/>
                  </a:lnTo>
                  <a:lnTo>
                    <a:pt x="574" y="907"/>
                  </a:lnTo>
                  <a:lnTo>
                    <a:pt x="571" y="907"/>
                  </a:lnTo>
                  <a:lnTo>
                    <a:pt x="567" y="907"/>
                  </a:lnTo>
                  <a:lnTo>
                    <a:pt x="556" y="905"/>
                  </a:lnTo>
                  <a:lnTo>
                    <a:pt x="556" y="905"/>
                  </a:lnTo>
                  <a:lnTo>
                    <a:pt x="552" y="903"/>
                  </a:lnTo>
                  <a:lnTo>
                    <a:pt x="550" y="899"/>
                  </a:lnTo>
                  <a:lnTo>
                    <a:pt x="549" y="896"/>
                  </a:lnTo>
                  <a:lnTo>
                    <a:pt x="549" y="892"/>
                  </a:lnTo>
                  <a:lnTo>
                    <a:pt x="551" y="885"/>
                  </a:lnTo>
                  <a:lnTo>
                    <a:pt x="552" y="877"/>
                  </a:lnTo>
                  <a:lnTo>
                    <a:pt x="552" y="873"/>
                  </a:lnTo>
                  <a:lnTo>
                    <a:pt x="551" y="869"/>
                  </a:lnTo>
                  <a:lnTo>
                    <a:pt x="549" y="866"/>
                  </a:lnTo>
                  <a:lnTo>
                    <a:pt x="547" y="862"/>
                  </a:lnTo>
                  <a:lnTo>
                    <a:pt x="544" y="859"/>
                  </a:lnTo>
                  <a:lnTo>
                    <a:pt x="541" y="857"/>
                  </a:lnTo>
                  <a:lnTo>
                    <a:pt x="536" y="854"/>
                  </a:lnTo>
                  <a:lnTo>
                    <a:pt x="525" y="851"/>
                  </a:lnTo>
                  <a:lnTo>
                    <a:pt x="521" y="850"/>
                  </a:lnTo>
                  <a:lnTo>
                    <a:pt x="519" y="846"/>
                  </a:lnTo>
                  <a:lnTo>
                    <a:pt x="519" y="843"/>
                  </a:lnTo>
                  <a:lnTo>
                    <a:pt x="519" y="839"/>
                  </a:lnTo>
                  <a:lnTo>
                    <a:pt x="529" y="817"/>
                  </a:lnTo>
                  <a:lnTo>
                    <a:pt x="529" y="815"/>
                  </a:lnTo>
                  <a:lnTo>
                    <a:pt x="531" y="806"/>
                  </a:lnTo>
                  <a:lnTo>
                    <a:pt x="531" y="800"/>
                  </a:lnTo>
                  <a:lnTo>
                    <a:pt x="530" y="797"/>
                  </a:lnTo>
                  <a:lnTo>
                    <a:pt x="529" y="793"/>
                  </a:lnTo>
                  <a:lnTo>
                    <a:pt x="527" y="790"/>
                  </a:lnTo>
                  <a:lnTo>
                    <a:pt x="524" y="787"/>
                  </a:lnTo>
                  <a:lnTo>
                    <a:pt x="520" y="786"/>
                  </a:lnTo>
                  <a:lnTo>
                    <a:pt x="517" y="786"/>
                  </a:lnTo>
                  <a:lnTo>
                    <a:pt x="501" y="788"/>
                  </a:lnTo>
                  <a:lnTo>
                    <a:pt x="466" y="799"/>
                  </a:lnTo>
                  <a:lnTo>
                    <a:pt x="452" y="801"/>
                  </a:lnTo>
                  <a:lnTo>
                    <a:pt x="449" y="800"/>
                  </a:lnTo>
                  <a:lnTo>
                    <a:pt x="447" y="797"/>
                  </a:lnTo>
                  <a:lnTo>
                    <a:pt x="446" y="790"/>
                  </a:lnTo>
                  <a:lnTo>
                    <a:pt x="445" y="786"/>
                  </a:lnTo>
                  <a:lnTo>
                    <a:pt x="444" y="783"/>
                  </a:lnTo>
                  <a:lnTo>
                    <a:pt x="441" y="781"/>
                  </a:lnTo>
                  <a:lnTo>
                    <a:pt x="436" y="781"/>
                  </a:lnTo>
                  <a:lnTo>
                    <a:pt x="418" y="785"/>
                  </a:lnTo>
                  <a:lnTo>
                    <a:pt x="411" y="785"/>
                  </a:lnTo>
                  <a:lnTo>
                    <a:pt x="406" y="784"/>
                  </a:lnTo>
                  <a:lnTo>
                    <a:pt x="402" y="781"/>
                  </a:lnTo>
                  <a:lnTo>
                    <a:pt x="398" y="777"/>
                  </a:lnTo>
                  <a:lnTo>
                    <a:pt x="384" y="762"/>
                  </a:lnTo>
                  <a:lnTo>
                    <a:pt x="371" y="750"/>
                  </a:lnTo>
                  <a:lnTo>
                    <a:pt x="369" y="747"/>
                  </a:lnTo>
                  <a:lnTo>
                    <a:pt x="362" y="737"/>
                  </a:lnTo>
                  <a:lnTo>
                    <a:pt x="359" y="733"/>
                  </a:lnTo>
                  <a:lnTo>
                    <a:pt x="354" y="731"/>
                  </a:lnTo>
                  <a:lnTo>
                    <a:pt x="349" y="732"/>
                  </a:lnTo>
                  <a:lnTo>
                    <a:pt x="338" y="735"/>
                  </a:lnTo>
                  <a:lnTo>
                    <a:pt x="316" y="737"/>
                  </a:lnTo>
                  <a:lnTo>
                    <a:pt x="312" y="738"/>
                  </a:lnTo>
                  <a:lnTo>
                    <a:pt x="310" y="729"/>
                  </a:lnTo>
                  <a:lnTo>
                    <a:pt x="309" y="724"/>
                  </a:lnTo>
                  <a:lnTo>
                    <a:pt x="309" y="721"/>
                  </a:lnTo>
                  <a:lnTo>
                    <a:pt x="307" y="718"/>
                  </a:lnTo>
                  <a:lnTo>
                    <a:pt x="305" y="716"/>
                  </a:lnTo>
                  <a:lnTo>
                    <a:pt x="305" y="713"/>
                  </a:lnTo>
                  <a:lnTo>
                    <a:pt x="304" y="710"/>
                  </a:lnTo>
                  <a:lnTo>
                    <a:pt x="301" y="712"/>
                  </a:lnTo>
                  <a:lnTo>
                    <a:pt x="299" y="711"/>
                  </a:lnTo>
                  <a:lnTo>
                    <a:pt x="298" y="711"/>
                  </a:lnTo>
                  <a:lnTo>
                    <a:pt x="298" y="714"/>
                  </a:lnTo>
                  <a:lnTo>
                    <a:pt x="300" y="716"/>
                  </a:lnTo>
                  <a:lnTo>
                    <a:pt x="303" y="717"/>
                  </a:lnTo>
                  <a:lnTo>
                    <a:pt x="303" y="719"/>
                  </a:lnTo>
                  <a:lnTo>
                    <a:pt x="298" y="718"/>
                  </a:lnTo>
                  <a:lnTo>
                    <a:pt x="294" y="715"/>
                  </a:lnTo>
                  <a:lnTo>
                    <a:pt x="294" y="706"/>
                  </a:lnTo>
                  <a:lnTo>
                    <a:pt x="286" y="696"/>
                  </a:lnTo>
                  <a:lnTo>
                    <a:pt x="283" y="684"/>
                  </a:lnTo>
                  <a:lnTo>
                    <a:pt x="282" y="679"/>
                  </a:lnTo>
                  <a:lnTo>
                    <a:pt x="281" y="675"/>
                  </a:lnTo>
                  <a:lnTo>
                    <a:pt x="279" y="671"/>
                  </a:lnTo>
                  <a:lnTo>
                    <a:pt x="277" y="668"/>
                  </a:lnTo>
                  <a:lnTo>
                    <a:pt x="275" y="666"/>
                  </a:lnTo>
                  <a:lnTo>
                    <a:pt x="273" y="666"/>
                  </a:lnTo>
                  <a:lnTo>
                    <a:pt x="271" y="665"/>
                  </a:lnTo>
                  <a:lnTo>
                    <a:pt x="270" y="663"/>
                  </a:lnTo>
                  <a:lnTo>
                    <a:pt x="268" y="661"/>
                  </a:lnTo>
                  <a:lnTo>
                    <a:pt x="267" y="657"/>
                  </a:lnTo>
                  <a:lnTo>
                    <a:pt x="265" y="655"/>
                  </a:lnTo>
                  <a:lnTo>
                    <a:pt x="259" y="654"/>
                  </a:lnTo>
                  <a:lnTo>
                    <a:pt x="257" y="652"/>
                  </a:lnTo>
                  <a:lnTo>
                    <a:pt x="256" y="650"/>
                  </a:lnTo>
                  <a:lnTo>
                    <a:pt x="254" y="648"/>
                  </a:lnTo>
                  <a:lnTo>
                    <a:pt x="251" y="644"/>
                  </a:lnTo>
                  <a:lnTo>
                    <a:pt x="247" y="641"/>
                  </a:lnTo>
                  <a:lnTo>
                    <a:pt x="244" y="640"/>
                  </a:lnTo>
                  <a:lnTo>
                    <a:pt x="241" y="640"/>
                  </a:lnTo>
                  <a:lnTo>
                    <a:pt x="237" y="637"/>
                  </a:lnTo>
                  <a:lnTo>
                    <a:pt x="235" y="635"/>
                  </a:lnTo>
                  <a:lnTo>
                    <a:pt x="232" y="632"/>
                  </a:lnTo>
                  <a:lnTo>
                    <a:pt x="228" y="628"/>
                  </a:lnTo>
                  <a:lnTo>
                    <a:pt x="225" y="625"/>
                  </a:lnTo>
                  <a:lnTo>
                    <a:pt x="222" y="623"/>
                  </a:lnTo>
                  <a:lnTo>
                    <a:pt x="217" y="618"/>
                  </a:lnTo>
                  <a:lnTo>
                    <a:pt x="215" y="617"/>
                  </a:lnTo>
                  <a:lnTo>
                    <a:pt x="211" y="618"/>
                  </a:lnTo>
                  <a:lnTo>
                    <a:pt x="208" y="617"/>
                  </a:lnTo>
                  <a:lnTo>
                    <a:pt x="205" y="614"/>
                  </a:lnTo>
                  <a:lnTo>
                    <a:pt x="198" y="610"/>
                  </a:lnTo>
                  <a:lnTo>
                    <a:pt x="193" y="606"/>
                  </a:lnTo>
                  <a:lnTo>
                    <a:pt x="194" y="603"/>
                  </a:lnTo>
                  <a:lnTo>
                    <a:pt x="197" y="602"/>
                  </a:lnTo>
                  <a:lnTo>
                    <a:pt x="201" y="601"/>
                  </a:lnTo>
                  <a:lnTo>
                    <a:pt x="199" y="599"/>
                  </a:lnTo>
                  <a:lnTo>
                    <a:pt x="197" y="600"/>
                  </a:lnTo>
                  <a:lnTo>
                    <a:pt x="194" y="602"/>
                  </a:lnTo>
                  <a:lnTo>
                    <a:pt x="193" y="599"/>
                  </a:lnTo>
                  <a:lnTo>
                    <a:pt x="195" y="596"/>
                  </a:lnTo>
                  <a:lnTo>
                    <a:pt x="195" y="593"/>
                  </a:lnTo>
                  <a:lnTo>
                    <a:pt x="194" y="592"/>
                  </a:lnTo>
                  <a:lnTo>
                    <a:pt x="192" y="594"/>
                  </a:lnTo>
                  <a:lnTo>
                    <a:pt x="190" y="594"/>
                  </a:lnTo>
                  <a:lnTo>
                    <a:pt x="189" y="595"/>
                  </a:lnTo>
                  <a:lnTo>
                    <a:pt x="190" y="597"/>
                  </a:lnTo>
                  <a:lnTo>
                    <a:pt x="191" y="599"/>
                  </a:lnTo>
                  <a:lnTo>
                    <a:pt x="191" y="602"/>
                  </a:lnTo>
                  <a:lnTo>
                    <a:pt x="190" y="603"/>
                  </a:lnTo>
                  <a:lnTo>
                    <a:pt x="187" y="602"/>
                  </a:lnTo>
                  <a:lnTo>
                    <a:pt x="181" y="603"/>
                  </a:lnTo>
                  <a:lnTo>
                    <a:pt x="174" y="598"/>
                  </a:lnTo>
                  <a:lnTo>
                    <a:pt x="172" y="595"/>
                  </a:lnTo>
                  <a:lnTo>
                    <a:pt x="165" y="590"/>
                  </a:lnTo>
                  <a:lnTo>
                    <a:pt x="164" y="587"/>
                  </a:lnTo>
                  <a:lnTo>
                    <a:pt x="161" y="585"/>
                  </a:lnTo>
                  <a:lnTo>
                    <a:pt x="158" y="584"/>
                  </a:lnTo>
                  <a:lnTo>
                    <a:pt x="156" y="582"/>
                  </a:lnTo>
                  <a:lnTo>
                    <a:pt x="153" y="579"/>
                  </a:lnTo>
                  <a:lnTo>
                    <a:pt x="150" y="578"/>
                  </a:lnTo>
                  <a:lnTo>
                    <a:pt x="146" y="578"/>
                  </a:lnTo>
                  <a:lnTo>
                    <a:pt x="144" y="578"/>
                  </a:lnTo>
                  <a:lnTo>
                    <a:pt x="142" y="579"/>
                  </a:lnTo>
                  <a:lnTo>
                    <a:pt x="141" y="582"/>
                  </a:lnTo>
                  <a:lnTo>
                    <a:pt x="142" y="586"/>
                  </a:lnTo>
                  <a:lnTo>
                    <a:pt x="135" y="586"/>
                  </a:lnTo>
                  <a:lnTo>
                    <a:pt x="133" y="583"/>
                  </a:lnTo>
                  <a:lnTo>
                    <a:pt x="128" y="580"/>
                  </a:lnTo>
                  <a:lnTo>
                    <a:pt x="124" y="582"/>
                  </a:lnTo>
                  <a:lnTo>
                    <a:pt x="120" y="578"/>
                  </a:lnTo>
                  <a:lnTo>
                    <a:pt x="118" y="574"/>
                  </a:lnTo>
                  <a:lnTo>
                    <a:pt x="114" y="569"/>
                  </a:lnTo>
                  <a:lnTo>
                    <a:pt x="108" y="564"/>
                  </a:lnTo>
                  <a:lnTo>
                    <a:pt x="106" y="557"/>
                  </a:lnTo>
                  <a:lnTo>
                    <a:pt x="108" y="554"/>
                  </a:lnTo>
                  <a:lnTo>
                    <a:pt x="109" y="554"/>
                  </a:lnTo>
                  <a:lnTo>
                    <a:pt x="112" y="556"/>
                  </a:lnTo>
                  <a:lnTo>
                    <a:pt x="114" y="553"/>
                  </a:lnTo>
                  <a:lnTo>
                    <a:pt x="112" y="549"/>
                  </a:lnTo>
                  <a:lnTo>
                    <a:pt x="100" y="532"/>
                  </a:lnTo>
                  <a:lnTo>
                    <a:pt x="101" y="531"/>
                  </a:lnTo>
                  <a:lnTo>
                    <a:pt x="103" y="519"/>
                  </a:lnTo>
                  <a:lnTo>
                    <a:pt x="104" y="517"/>
                  </a:lnTo>
                  <a:lnTo>
                    <a:pt x="106" y="513"/>
                  </a:lnTo>
                  <a:lnTo>
                    <a:pt x="109" y="511"/>
                  </a:lnTo>
                  <a:lnTo>
                    <a:pt x="112" y="509"/>
                  </a:lnTo>
                  <a:lnTo>
                    <a:pt x="115" y="508"/>
                  </a:lnTo>
                  <a:lnTo>
                    <a:pt x="129" y="508"/>
                  </a:lnTo>
                  <a:lnTo>
                    <a:pt x="135" y="507"/>
                  </a:lnTo>
                  <a:lnTo>
                    <a:pt x="139" y="505"/>
                  </a:lnTo>
                  <a:lnTo>
                    <a:pt x="143" y="504"/>
                  </a:lnTo>
                  <a:lnTo>
                    <a:pt x="148" y="502"/>
                  </a:lnTo>
                  <a:lnTo>
                    <a:pt x="151" y="497"/>
                  </a:lnTo>
                  <a:lnTo>
                    <a:pt x="156" y="492"/>
                  </a:lnTo>
                  <a:lnTo>
                    <a:pt x="159" y="488"/>
                  </a:lnTo>
                  <a:lnTo>
                    <a:pt x="164" y="486"/>
                  </a:lnTo>
                  <a:lnTo>
                    <a:pt x="167" y="485"/>
                  </a:lnTo>
                  <a:lnTo>
                    <a:pt x="171" y="486"/>
                  </a:lnTo>
                  <a:lnTo>
                    <a:pt x="178" y="487"/>
                  </a:lnTo>
                  <a:lnTo>
                    <a:pt x="187" y="487"/>
                  </a:lnTo>
                  <a:lnTo>
                    <a:pt x="190" y="486"/>
                  </a:lnTo>
                  <a:lnTo>
                    <a:pt x="195" y="484"/>
                  </a:lnTo>
                  <a:lnTo>
                    <a:pt x="198" y="481"/>
                  </a:lnTo>
                  <a:lnTo>
                    <a:pt x="202" y="477"/>
                  </a:lnTo>
                  <a:lnTo>
                    <a:pt x="203" y="473"/>
                  </a:lnTo>
                  <a:lnTo>
                    <a:pt x="204" y="470"/>
                  </a:lnTo>
                  <a:lnTo>
                    <a:pt x="202" y="410"/>
                  </a:lnTo>
                  <a:lnTo>
                    <a:pt x="208" y="367"/>
                  </a:lnTo>
                  <a:lnTo>
                    <a:pt x="208" y="364"/>
                  </a:lnTo>
                  <a:lnTo>
                    <a:pt x="206" y="360"/>
                  </a:lnTo>
                  <a:lnTo>
                    <a:pt x="204" y="358"/>
                  </a:lnTo>
                  <a:lnTo>
                    <a:pt x="202" y="357"/>
                  </a:lnTo>
                  <a:lnTo>
                    <a:pt x="198" y="356"/>
                  </a:lnTo>
                  <a:lnTo>
                    <a:pt x="188" y="356"/>
                  </a:lnTo>
                  <a:lnTo>
                    <a:pt x="185" y="355"/>
                  </a:lnTo>
                  <a:lnTo>
                    <a:pt x="183" y="354"/>
                  </a:lnTo>
                  <a:lnTo>
                    <a:pt x="182" y="350"/>
                  </a:lnTo>
                  <a:lnTo>
                    <a:pt x="176" y="328"/>
                  </a:lnTo>
                  <a:lnTo>
                    <a:pt x="171" y="313"/>
                  </a:lnTo>
                  <a:lnTo>
                    <a:pt x="168" y="308"/>
                  </a:lnTo>
                  <a:lnTo>
                    <a:pt x="165" y="305"/>
                  </a:lnTo>
                  <a:lnTo>
                    <a:pt x="163" y="301"/>
                  </a:lnTo>
                  <a:lnTo>
                    <a:pt x="141" y="282"/>
                  </a:lnTo>
                  <a:lnTo>
                    <a:pt x="138" y="279"/>
                  </a:lnTo>
                  <a:lnTo>
                    <a:pt x="136" y="275"/>
                  </a:lnTo>
                  <a:lnTo>
                    <a:pt x="135" y="271"/>
                  </a:lnTo>
                  <a:lnTo>
                    <a:pt x="132" y="261"/>
                  </a:lnTo>
                  <a:lnTo>
                    <a:pt x="130" y="259"/>
                  </a:lnTo>
                  <a:lnTo>
                    <a:pt x="128" y="258"/>
                  </a:lnTo>
                  <a:lnTo>
                    <a:pt x="98" y="240"/>
                  </a:lnTo>
                  <a:lnTo>
                    <a:pt x="95" y="239"/>
                  </a:lnTo>
                  <a:lnTo>
                    <a:pt x="91" y="241"/>
                  </a:lnTo>
                  <a:lnTo>
                    <a:pt x="84" y="245"/>
                  </a:lnTo>
                  <a:lnTo>
                    <a:pt x="82" y="246"/>
                  </a:lnTo>
                  <a:lnTo>
                    <a:pt x="81" y="244"/>
                  </a:lnTo>
                  <a:lnTo>
                    <a:pt x="80" y="241"/>
                  </a:lnTo>
                  <a:lnTo>
                    <a:pt x="78" y="233"/>
                  </a:lnTo>
                  <a:lnTo>
                    <a:pt x="75" y="226"/>
                  </a:lnTo>
                  <a:lnTo>
                    <a:pt x="66" y="206"/>
                  </a:lnTo>
                  <a:lnTo>
                    <a:pt x="65" y="202"/>
                  </a:lnTo>
                  <a:lnTo>
                    <a:pt x="65" y="198"/>
                  </a:lnTo>
                  <a:lnTo>
                    <a:pt x="65" y="194"/>
                  </a:lnTo>
                  <a:lnTo>
                    <a:pt x="66" y="191"/>
                  </a:lnTo>
                  <a:lnTo>
                    <a:pt x="68" y="183"/>
                  </a:lnTo>
                  <a:lnTo>
                    <a:pt x="79" y="166"/>
                  </a:lnTo>
                  <a:lnTo>
                    <a:pt x="80" y="163"/>
                  </a:lnTo>
                  <a:lnTo>
                    <a:pt x="81" y="159"/>
                  </a:lnTo>
                  <a:lnTo>
                    <a:pt x="81" y="154"/>
                  </a:lnTo>
                  <a:lnTo>
                    <a:pt x="79" y="150"/>
                  </a:lnTo>
                  <a:lnTo>
                    <a:pt x="76" y="146"/>
                  </a:lnTo>
                  <a:lnTo>
                    <a:pt x="73" y="145"/>
                  </a:lnTo>
                  <a:lnTo>
                    <a:pt x="53" y="139"/>
                  </a:lnTo>
                  <a:lnTo>
                    <a:pt x="49" y="137"/>
                  </a:lnTo>
                  <a:lnTo>
                    <a:pt x="45" y="135"/>
                  </a:lnTo>
                  <a:lnTo>
                    <a:pt x="42" y="131"/>
                  </a:lnTo>
                  <a:lnTo>
                    <a:pt x="39" y="128"/>
                  </a:lnTo>
                  <a:lnTo>
                    <a:pt x="37" y="123"/>
                  </a:lnTo>
                  <a:lnTo>
                    <a:pt x="35" y="120"/>
                  </a:lnTo>
                  <a:lnTo>
                    <a:pt x="34" y="115"/>
                  </a:lnTo>
                  <a:lnTo>
                    <a:pt x="33" y="111"/>
                  </a:lnTo>
                  <a:lnTo>
                    <a:pt x="33" y="103"/>
                  </a:lnTo>
                  <a:lnTo>
                    <a:pt x="37" y="77"/>
                  </a:lnTo>
                  <a:lnTo>
                    <a:pt x="37" y="67"/>
                  </a:lnTo>
                  <a:lnTo>
                    <a:pt x="37" y="62"/>
                  </a:lnTo>
                  <a:lnTo>
                    <a:pt x="34" y="51"/>
                  </a:lnTo>
                  <a:lnTo>
                    <a:pt x="33" y="47"/>
                  </a:lnTo>
                  <a:lnTo>
                    <a:pt x="31" y="46"/>
                  </a:lnTo>
                  <a:lnTo>
                    <a:pt x="29" y="43"/>
                  </a:lnTo>
                  <a:lnTo>
                    <a:pt x="26" y="40"/>
                  </a:lnTo>
                  <a:lnTo>
                    <a:pt x="22" y="39"/>
                  </a:lnTo>
                  <a:lnTo>
                    <a:pt x="21" y="39"/>
                  </a:lnTo>
                  <a:lnTo>
                    <a:pt x="17" y="39"/>
                  </a:lnTo>
                  <a:lnTo>
                    <a:pt x="7" y="41"/>
                  </a:lnTo>
                  <a:lnTo>
                    <a:pt x="3" y="41"/>
                  </a:lnTo>
                  <a:lnTo>
                    <a:pt x="0" y="39"/>
                  </a:lnTo>
                  <a:lnTo>
                    <a:pt x="0" y="36"/>
                  </a:lnTo>
                  <a:lnTo>
                    <a:pt x="0" y="33"/>
                  </a:lnTo>
                  <a:lnTo>
                    <a:pt x="4" y="30"/>
                  </a:lnTo>
                  <a:lnTo>
                    <a:pt x="7" y="28"/>
                  </a:lnTo>
                  <a:lnTo>
                    <a:pt x="26" y="23"/>
                  </a:lnTo>
                  <a:lnTo>
                    <a:pt x="69" y="3"/>
                  </a:lnTo>
                  <a:lnTo>
                    <a:pt x="73" y="1"/>
                  </a:lnTo>
                  <a:lnTo>
                    <a:pt x="77" y="1"/>
                  </a:lnTo>
                  <a:lnTo>
                    <a:pt x="82" y="3"/>
                  </a:lnTo>
                  <a:lnTo>
                    <a:pt x="90" y="6"/>
                  </a:lnTo>
                  <a:lnTo>
                    <a:pt x="105" y="15"/>
                  </a:lnTo>
                  <a:lnTo>
                    <a:pt x="109" y="17"/>
                  </a:lnTo>
                  <a:lnTo>
                    <a:pt x="116" y="18"/>
                  </a:lnTo>
                  <a:lnTo>
                    <a:pt x="120" y="18"/>
                  </a:lnTo>
                  <a:lnTo>
                    <a:pt x="124" y="17"/>
                  </a:lnTo>
                  <a:lnTo>
                    <a:pt x="128" y="16"/>
                  </a:lnTo>
                  <a:lnTo>
                    <a:pt x="159" y="0"/>
                  </a:lnTo>
                  <a:lnTo>
                    <a:pt x="162" y="0"/>
                  </a:lnTo>
                  <a:lnTo>
                    <a:pt x="165" y="0"/>
                  </a:lnTo>
                  <a:lnTo>
                    <a:pt x="169" y="3"/>
                  </a:lnTo>
                  <a:lnTo>
                    <a:pt x="172" y="7"/>
                  </a:lnTo>
                  <a:lnTo>
                    <a:pt x="173" y="10"/>
                  </a:lnTo>
                  <a:lnTo>
                    <a:pt x="178" y="27"/>
                  </a:lnTo>
                  <a:lnTo>
                    <a:pt x="181" y="35"/>
                  </a:lnTo>
                  <a:lnTo>
                    <a:pt x="185" y="41"/>
                  </a:lnTo>
                  <a:lnTo>
                    <a:pt x="194" y="55"/>
                  </a:lnTo>
                  <a:lnTo>
                    <a:pt x="197" y="59"/>
                  </a:lnTo>
                  <a:lnTo>
                    <a:pt x="203" y="61"/>
                  </a:lnTo>
                  <a:lnTo>
                    <a:pt x="210" y="63"/>
                  </a:lnTo>
                  <a:lnTo>
                    <a:pt x="226" y="63"/>
                  </a:lnTo>
                  <a:lnTo>
                    <a:pt x="231" y="64"/>
                  </a:lnTo>
                  <a:lnTo>
                    <a:pt x="233" y="65"/>
                  </a:lnTo>
                  <a:lnTo>
                    <a:pt x="236" y="68"/>
                  </a:lnTo>
                  <a:lnTo>
                    <a:pt x="238" y="70"/>
                  </a:lnTo>
                  <a:lnTo>
                    <a:pt x="239" y="72"/>
                  </a:lnTo>
                  <a:lnTo>
                    <a:pt x="238" y="76"/>
                  </a:lnTo>
                  <a:lnTo>
                    <a:pt x="239" y="78"/>
                  </a:lnTo>
                  <a:lnTo>
                    <a:pt x="240" y="82"/>
                  </a:lnTo>
                  <a:lnTo>
                    <a:pt x="242" y="84"/>
                  </a:lnTo>
                  <a:lnTo>
                    <a:pt x="253" y="92"/>
                  </a:lnTo>
                  <a:lnTo>
                    <a:pt x="256" y="95"/>
                  </a:lnTo>
                  <a:lnTo>
                    <a:pt x="257" y="99"/>
                  </a:lnTo>
                  <a:lnTo>
                    <a:pt x="257" y="102"/>
                  </a:lnTo>
                  <a:lnTo>
                    <a:pt x="256" y="106"/>
                  </a:lnTo>
                  <a:lnTo>
                    <a:pt x="256" y="109"/>
                  </a:lnTo>
                  <a:lnTo>
                    <a:pt x="258" y="113"/>
                  </a:lnTo>
                  <a:lnTo>
                    <a:pt x="261" y="114"/>
                  </a:lnTo>
                  <a:lnTo>
                    <a:pt x="266" y="112"/>
                  </a:lnTo>
                  <a:lnTo>
                    <a:pt x="271" y="109"/>
                  </a:lnTo>
                  <a:lnTo>
                    <a:pt x="286" y="97"/>
                  </a:lnTo>
                  <a:lnTo>
                    <a:pt x="288" y="96"/>
                  </a:lnTo>
                  <a:lnTo>
                    <a:pt x="292" y="95"/>
                  </a:lnTo>
                  <a:lnTo>
                    <a:pt x="296" y="96"/>
                  </a:lnTo>
                  <a:lnTo>
                    <a:pt x="301" y="97"/>
                  </a:lnTo>
                  <a:lnTo>
                    <a:pt x="314" y="103"/>
                  </a:lnTo>
                  <a:lnTo>
                    <a:pt x="318" y="105"/>
                  </a:lnTo>
                  <a:lnTo>
                    <a:pt x="322" y="105"/>
                  </a:lnTo>
                  <a:lnTo>
                    <a:pt x="326" y="103"/>
                  </a:lnTo>
                  <a:lnTo>
                    <a:pt x="327" y="100"/>
                  </a:lnTo>
                  <a:lnTo>
                    <a:pt x="326" y="97"/>
                  </a:lnTo>
                  <a:lnTo>
                    <a:pt x="325" y="92"/>
                  </a:lnTo>
                  <a:lnTo>
                    <a:pt x="326" y="90"/>
                  </a:lnTo>
                  <a:lnTo>
                    <a:pt x="328" y="87"/>
                  </a:lnTo>
                  <a:lnTo>
                    <a:pt x="331" y="88"/>
                  </a:lnTo>
                  <a:lnTo>
                    <a:pt x="335" y="91"/>
                  </a:lnTo>
                  <a:lnTo>
                    <a:pt x="337" y="95"/>
                  </a:lnTo>
                  <a:lnTo>
                    <a:pt x="339" y="102"/>
                  </a:lnTo>
                  <a:lnTo>
                    <a:pt x="344" y="106"/>
                  </a:lnTo>
                  <a:lnTo>
                    <a:pt x="349" y="109"/>
                  </a:lnTo>
                  <a:lnTo>
                    <a:pt x="370" y="116"/>
                  </a:lnTo>
                  <a:lnTo>
                    <a:pt x="391" y="132"/>
                  </a:lnTo>
                  <a:lnTo>
                    <a:pt x="397" y="134"/>
                  </a:lnTo>
                  <a:lnTo>
                    <a:pt x="406" y="136"/>
                  </a:lnTo>
                  <a:lnTo>
                    <a:pt x="422" y="136"/>
                  </a:lnTo>
                  <a:lnTo>
                    <a:pt x="491" y="124"/>
                  </a:lnTo>
                  <a:lnTo>
                    <a:pt x="496" y="125"/>
                  </a:lnTo>
                  <a:lnTo>
                    <a:pt x="499" y="127"/>
                  </a:lnTo>
                  <a:lnTo>
                    <a:pt x="502" y="130"/>
                  </a:lnTo>
                  <a:lnTo>
                    <a:pt x="508" y="138"/>
                  </a:lnTo>
                  <a:lnTo>
                    <a:pt x="508" y="138"/>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96" name="Freeform 10">
              <a:extLst>
                <a:ext uri="{FF2B5EF4-FFF2-40B4-BE49-F238E27FC236}"/>
              </a:extLst>
            </p:cNvPr>
            <p:cNvSpPr>
              <a:spLocks/>
            </p:cNvSpPr>
            <p:nvPr/>
          </p:nvSpPr>
          <p:spPr bwMode="auto">
            <a:xfrm>
              <a:off x="3514770" y="3322728"/>
              <a:ext cx="910075" cy="802018"/>
            </a:xfrm>
            <a:custGeom>
              <a:avLst/>
              <a:gdLst>
                <a:gd name="T0" fmla="*/ 563 w 574"/>
                <a:gd name="T1" fmla="*/ 35 h 506"/>
                <a:gd name="T2" fmla="*/ 572 w 574"/>
                <a:gd name="T3" fmla="*/ 51 h 506"/>
                <a:gd name="T4" fmla="*/ 573 w 574"/>
                <a:gd name="T5" fmla="*/ 64 h 506"/>
                <a:gd name="T6" fmla="*/ 563 w 574"/>
                <a:gd name="T7" fmla="*/ 74 h 506"/>
                <a:gd name="T8" fmla="*/ 539 w 574"/>
                <a:gd name="T9" fmla="*/ 90 h 506"/>
                <a:gd name="T10" fmla="*/ 515 w 574"/>
                <a:gd name="T11" fmla="*/ 118 h 506"/>
                <a:gd name="T12" fmla="*/ 498 w 574"/>
                <a:gd name="T13" fmla="*/ 127 h 506"/>
                <a:gd name="T14" fmla="*/ 496 w 574"/>
                <a:gd name="T15" fmla="*/ 173 h 506"/>
                <a:gd name="T16" fmla="*/ 501 w 574"/>
                <a:gd name="T17" fmla="*/ 188 h 506"/>
                <a:gd name="T18" fmla="*/ 546 w 574"/>
                <a:gd name="T19" fmla="*/ 249 h 506"/>
                <a:gd name="T20" fmla="*/ 544 w 574"/>
                <a:gd name="T21" fmla="*/ 270 h 506"/>
                <a:gd name="T22" fmla="*/ 554 w 574"/>
                <a:gd name="T23" fmla="*/ 294 h 506"/>
                <a:gd name="T24" fmla="*/ 555 w 574"/>
                <a:gd name="T25" fmla="*/ 321 h 506"/>
                <a:gd name="T26" fmla="*/ 545 w 574"/>
                <a:gd name="T27" fmla="*/ 329 h 506"/>
                <a:gd name="T28" fmla="*/ 446 w 574"/>
                <a:gd name="T29" fmla="*/ 326 h 506"/>
                <a:gd name="T30" fmla="*/ 433 w 574"/>
                <a:gd name="T31" fmla="*/ 331 h 506"/>
                <a:gd name="T32" fmla="*/ 418 w 574"/>
                <a:gd name="T33" fmla="*/ 354 h 506"/>
                <a:gd name="T34" fmla="*/ 390 w 574"/>
                <a:gd name="T35" fmla="*/ 380 h 506"/>
                <a:gd name="T36" fmla="*/ 319 w 574"/>
                <a:gd name="T37" fmla="*/ 401 h 506"/>
                <a:gd name="T38" fmla="*/ 280 w 574"/>
                <a:gd name="T39" fmla="*/ 447 h 506"/>
                <a:gd name="T40" fmla="*/ 286 w 574"/>
                <a:gd name="T41" fmla="*/ 467 h 506"/>
                <a:gd name="T42" fmla="*/ 282 w 574"/>
                <a:gd name="T43" fmla="*/ 487 h 506"/>
                <a:gd name="T44" fmla="*/ 267 w 574"/>
                <a:gd name="T45" fmla="*/ 493 h 506"/>
                <a:gd name="T46" fmla="*/ 214 w 574"/>
                <a:gd name="T47" fmla="*/ 493 h 506"/>
                <a:gd name="T48" fmla="*/ 146 w 574"/>
                <a:gd name="T49" fmla="*/ 476 h 506"/>
                <a:gd name="T50" fmla="*/ 130 w 574"/>
                <a:gd name="T51" fmla="*/ 481 h 506"/>
                <a:gd name="T52" fmla="*/ 99 w 574"/>
                <a:gd name="T53" fmla="*/ 496 h 506"/>
                <a:gd name="T54" fmla="*/ 83 w 574"/>
                <a:gd name="T55" fmla="*/ 447 h 506"/>
                <a:gd name="T56" fmla="*/ 72 w 574"/>
                <a:gd name="T57" fmla="*/ 432 h 506"/>
                <a:gd name="T58" fmla="*/ 39 w 574"/>
                <a:gd name="T59" fmla="*/ 415 h 506"/>
                <a:gd name="T60" fmla="*/ 40 w 574"/>
                <a:gd name="T61" fmla="*/ 355 h 506"/>
                <a:gd name="T62" fmla="*/ 25 w 574"/>
                <a:gd name="T63" fmla="*/ 342 h 506"/>
                <a:gd name="T64" fmla="*/ 13 w 574"/>
                <a:gd name="T65" fmla="*/ 327 h 506"/>
                <a:gd name="T66" fmla="*/ 61 w 574"/>
                <a:gd name="T67" fmla="*/ 307 h 506"/>
                <a:gd name="T68" fmla="*/ 90 w 574"/>
                <a:gd name="T69" fmla="*/ 301 h 506"/>
                <a:gd name="T70" fmla="*/ 81 w 574"/>
                <a:gd name="T71" fmla="*/ 278 h 506"/>
                <a:gd name="T72" fmla="*/ 83 w 574"/>
                <a:gd name="T73" fmla="*/ 261 h 506"/>
                <a:gd name="T74" fmla="*/ 98 w 574"/>
                <a:gd name="T75" fmla="*/ 255 h 506"/>
                <a:gd name="T76" fmla="*/ 121 w 574"/>
                <a:gd name="T77" fmla="*/ 260 h 506"/>
                <a:gd name="T78" fmla="*/ 121 w 574"/>
                <a:gd name="T79" fmla="*/ 233 h 506"/>
                <a:gd name="T80" fmla="*/ 125 w 574"/>
                <a:gd name="T81" fmla="*/ 215 h 506"/>
                <a:gd name="T82" fmla="*/ 137 w 574"/>
                <a:gd name="T83" fmla="*/ 202 h 506"/>
                <a:gd name="T84" fmla="*/ 157 w 574"/>
                <a:gd name="T85" fmla="*/ 198 h 506"/>
                <a:gd name="T86" fmla="*/ 168 w 574"/>
                <a:gd name="T87" fmla="*/ 176 h 506"/>
                <a:gd name="T88" fmla="*/ 290 w 574"/>
                <a:gd name="T89" fmla="*/ 88 h 506"/>
                <a:gd name="T90" fmla="*/ 308 w 574"/>
                <a:gd name="T91" fmla="*/ 60 h 506"/>
                <a:gd name="T92" fmla="*/ 399 w 574"/>
                <a:gd name="T93" fmla="*/ 4 h 506"/>
                <a:gd name="T94" fmla="*/ 418 w 574"/>
                <a:gd name="T95" fmla="*/ 0 h 506"/>
                <a:gd name="T96" fmla="*/ 444 w 574"/>
                <a:gd name="T97" fmla="*/ 22 h 506"/>
                <a:gd name="T98" fmla="*/ 494 w 574"/>
                <a:gd name="T99" fmla="*/ 46 h 506"/>
                <a:gd name="T100" fmla="*/ 515 w 574"/>
                <a:gd name="T101" fmla="*/ 46 h 506"/>
                <a:gd name="T102" fmla="*/ 538 w 574"/>
                <a:gd name="T103" fmla="*/ 19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4" h="506">
                  <a:moveTo>
                    <a:pt x="538" y="19"/>
                  </a:moveTo>
                  <a:lnTo>
                    <a:pt x="549" y="25"/>
                  </a:lnTo>
                  <a:lnTo>
                    <a:pt x="556" y="30"/>
                  </a:lnTo>
                  <a:lnTo>
                    <a:pt x="563" y="35"/>
                  </a:lnTo>
                  <a:lnTo>
                    <a:pt x="566" y="39"/>
                  </a:lnTo>
                  <a:lnTo>
                    <a:pt x="569" y="43"/>
                  </a:lnTo>
                  <a:lnTo>
                    <a:pt x="572" y="47"/>
                  </a:lnTo>
                  <a:lnTo>
                    <a:pt x="572" y="51"/>
                  </a:lnTo>
                  <a:lnTo>
                    <a:pt x="573" y="55"/>
                  </a:lnTo>
                  <a:lnTo>
                    <a:pt x="574" y="58"/>
                  </a:lnTo>
                  <a:lnTo>
                    <a:pt x="574" y="62"/>
                  </a:lnTo>
                  <a:lnTo>
                    <a:pt x="573" y="64"/>
                  </a:lnTo>
                  <a:lnTo>
                    <a:pt x="572" y="67"/>
                  </a:lnTo>
                  <a:lnTo>
                    <a:pt x="570" y="71"/>
                  </a:lnTo>
                  <a:lnTo>
                    <a:pt x="566" y="72"/>
                  </a:lnTo>
                  <a:lnTo>
                    <a:pt x="563" y="74"/>
                  </a:lnTo>
                  <a:lnTo>
                    <a:pt x="555" y="78"/>
                  </a:lnTo>
                  <a:lnTo>
                    <a:pt x="550" y="80"/>
                  </a:lnTo>
                  <a:lnTo>
                    <a:pt x="546" y="83"/>
                  </a:lnTo>
                  <a:lnTo>
                    <a:pt x="539" y="90"/>
                  </a:lnTo>
                  <a:lnTo>
                    <a:pt x="533" y="97"/>
                  </a:lnTo>
                  <a:lnTo>
                    <a:pt x="520" y="115"/>
                  </a:lnTo>
                  <a:lnTo>
                    <a:pt x="518" y="118"/>
                  </a:lnTo>
                  <a:lnTo>
                    <a:pt x="515" y="118"/>
                  </a:lnTo>
                  <a:lnTo>
                    <a:pt x="509" y="120"/>
                  </a:lnTo>
                  <a:lnTo>
                    <a:pt x="504" y="121"/>
                  </a:lnTo>
                  <a:lnTo>
                    <a:pt x="501" y="124"/>
                  </a:lnTo>
                  <a:lnTo>
                    <a:pt x="498" y="127"/>
                  </a:lnTo>
                  <a:lnTo>
                    <a:pt x="497" y="132"/>
                  </a:lnTo>
                  <a:lnTo>
                    <a:pt x="499" y="141"/>
                  </a:lnTo>
                  <a:lnTo>
                    <a:pt x="499" y="148"/>
                  </a:lnTo>
                  <a:lnTo>
                    <a:pt x="496" y="173"/>
                  </a:lnTo>
                  <a:lnTo>
                    <a:pt x="496" y="177"/>
                  </a:lnTo>
                  <a:lnTo>
                    <a:pt x="497" y="180"/>
                  </a:lnTo>
                  <a:lnTo>
                    <a:pt x="498" y="185"/>
                  </a:lnTo>
                  <a:lnTo>
                    <a:pt x="501" y="188"/>
                  </a:lnTo>
                  <a:lnTo>
                    <a:pt x="514" y="202"/>
                  </a:lnTo>
                  <a:lnTo>
                    <a:pt x="519" y="207"/>
                  </a:lnTo>
                  <a:lnTo>
                    <a:pt x="533" y="232"/>
                  </a:lnTo>
                  <a:lnTo>
                    <a:pt x="546" y="249"/>
                  </a:lnTo>
                  <a:lnTo>
                    <a:pt x="546" y="249"/>
                  </a:lnTo>
                  <a:lnTo>
                    <a:pt x="547" y="255"/>
                  </a:lnTo>
                  <a:lnTo>
                    <a:pt x="545" y="264"/>
                  </a:lnTo>
                  <a:lnTo>
                    <a:pt x="544" y="270"/>
                  </a:lnTo>
                  <a:lnTo>
                    <a:pt x="545" y="274"/>
                  </a:lnTo>
                  <a:lnTo>
                    <a:pt x="550" y="282"/>
                  </a:lnTo>
                  <a:lnTo>
                    <a:pt x="552" y="288"/>
                  </a:lnTo>
                  <a:lnTo>
                    <a:pt x="554" y="294"/>
                  </a:lnTo>
                  <a:lnTo>
                    <a:pt x="556" y="306"/>
                  </a:lnTo>
                  <a:lnTo>
                    <a:pt x="556" y="312"/>
                  </a:lnTo>
                  <a:lnTo>
                    <a:pt x="556" y="317"/>
                  </a:lnTo>
                  <a:lnTo>
                    <a:pt x="555" y="321"/>
                  </a:lnTo>
                  <a:lnTo>
                    <a:pt x="554" y="324"/>
                  </a:lnTo>
                  <a:lnTo>
                    <a:pt x="552" y="327"/>
                  </a:lnTo>
                  <a:lnTo>
                    <a:pt x="549" y="329"/>
                  </a:lnTo>
                  <a:lnTo>
                    <a:pt x="545" y="329"/>
                  </a:lnTo>
                  <a:lnTo>
                    <a:pt x="530" y="328"/>
                  </a:lnTo>
                  <a:lnTo>
                    <a:pt x="490" y="331"/>
                  </a:lnTo>
                  <a:lnTo>
                    <a:pt x="454" y="326"/>
                  </a:lnTo>
                  <a:lnTo>
                    <a:pt x="446" y="326"/>
                  </a:lnTo>
                  <a:lnTo>
                    <a:pt x="443" y="327"/>
                  </a:lnTo>
                  <a:lnTo>
                    <a:pt x="439" y="328"/>
                  </a:lnTo>
                  <a:lnTo>
                    <a:pt x="436" y="330"/>
                  </a:lnTo>
                  <a:lnTo>
                    <a:pt x="433" y="331"/>
                  </a:lnTo>
                  <a:lnTo>
                    <a:pt x="431" y="333"/>
                  </a:lnTo>
                  <a:lnTo>
                    <a:pt x="429" y="336"/>
                  </a:lnTo>
                  <a:lnTo>
                    <a:pt x="423" y="342"/>
                  </a:lnTo>
                  <a:lnTo>
                    <a:pt x="418" y="354"/>
                  </a:lnTo>
                  <a:lnTo>
                    <a:pt x="414" y="360"/>
                  </a:lnTo>
                  <a:lnTo>
                    <a:pt x="411" y="363"/>
                  </a:lnTo>
                  <a:lnTo>
                    <a:pt x="399" y="371"/>
                  </a:lnTo>
                  <a:lnTo>
                    <a:pt x="390" y="380"/>
                  </a:lnTo>
                  <a:lnTo>
                    <a:pt x="386" y="383"/>
                  </a:lnTo>
                  <a:lnTo>
                    <a:pt x="379" y="386"/>
                  </a:lnTo>
                  <a:lnTo>
                    <a:pt x="323" y="400"/>
                  </a:lnTo>
                  <a:lnTo>
                    <a:pt x="319" y="401"/>
                  </a:lnTo>
                  <a:lnTo>
                    <a:pt x="316" y="404"/>
                  </a:lnTo>
                  <a:lnTo>
                    <a:pt x="300" y="420"/>
                  </a:lnTo>
                  <a:lnTo>
                    <a:pt x="283" y="442"/>
                  </a:lnTo>
                  <a:lnTo>
                    <a:pt x="280" y="447"/>
                  </a:lnTo>
                  <a:lnTo>
                    <a:pt x="280" y="452"/>
                  </a:lnTo>
                  <a:lnTo>
                    <a:pt x="280" y="455"/>
                  </a:lnTo>
                  <a:lnTo>
                    <a:pt x="282" y="459"/>
                  </a:lnTo>
                  <a:lnTo>
                    <a:pt x="286" y="467"/>
                  </a:lnTo>
                  <a:lnTo>
                    <a:pt x="288" y="471"/>
                  </a:lnTo>
                  <a:lnTo>
                    <a:pt x="287" y="476"/>
                  </a:lnTo>
                  <a:lnTo>
                    <a:pt x="286" y="483"/>
                  </a:lnTo>
                  <a:lnTo>
                    <a:pt x="282" y="487"/>
                  </a:lnTo>
                  <a:lnTo>
                    <a:pt x="278" y="491"/>
                  </a:lnTo>
                  <a:lnTo>
                    <a:pt x="273" y="492"/>
                  </a:lnTo>
                  <a:lnTo>
                    <a:pt x="271" y="493"/>
                  </a:lnTo>
                  <a:lnTo>
                    <a:pt x="267" y="493"/>
                  </a:lnTo>
                  <a:lnTo>
                    <a:pt x="254" y="490"/>
                  </a:lnTo>
                  <a:lnTo>
                    <a:pt x="246" y="490"/>
                  </a:lnTo>
                  <a:lnTo>
                    <a:pt x="222" y="493"/>
                  </a:lnTo>
                  <a:lnTo>
                    <a:pt x="214" y="493"/>
                  </a:lnTo>
                  <a:lnTo>
                    <a:pt x="183" y="490"/>
                  </a:lnTo>
                  <a:lnTo>
                    <a:pt x="172" y="487"/>
                  </a:lnTo>
                  <a:lnTo>
                    <a:pt x="165" y="484"/>
                  </a:lnTo>
                  <a:lnTo>
                    <a:pt x="146" y="476"/>
                  </a:lnTo>
                  <a:lnTo>
                    <a:pt x="143" y="475"/>
                  </a:lnTo>
                  <a:lnTo>
                    <a:pt x="139" y="475"/>
                  </a:lnTo>
                  <a:lnTo>
                    <a:pt x="135" y="477"/>
                  </a:lnTo>
                  <a:lnTo>
                    <a:pt x="130" y="481"/>
                  </a:lnTo>
                  <a:lnTo>
                    <a:pt x="128" y="483"/>
                  </a:lnTo>
                  <a:lnTo>
                    <a:pt x="117" y="499"/>
                  </a:lnTo>
                  <a:lnTo>
                    <a:pt x="114" y="506"/>
                  </a:lnTo>
                  <a:lnTo>
                    <a:pt x="99" y="496"/>
                  </a:lnTo>
                  <a:lnTo>
                    <a:pt x="97" y="493"/>
                  </a:lnTo>
                  <a:lnTo>
                    <a:pt x="95" y="490"/>
                  </a:lnTo>
                  <a:lnTo>
                    <a:pt x="91" y="482"/>
                  </a:lnTo>
                  <a:lnTo>
                    <a:pt x="83" y="447"/>
                  </a:lnTo>
                  <a:lnTo>
                    <a:pt x="80" y="440"/>
                  </a:lnTo>
                  <a:lnTo>
                    <a:pt x="77" y="435"/>
                  </a:lnTo>
                  <a:lnTo>
                    <a:pt x="75" y="433"/>
                  </a:lnTo>
                  <a:lnTo>
                    <a:pt x="72" y="432"/>
                  </a:lnTo>
                  <a:lnTo>
                    <a:pt x="51" y="426"/>
                  </a:lnTo>
                  <a:lnTo>
                    <a:pt x="46" y="424"/>
                  </a:lnTo>
                  <a:lnTo>
                    <a:pt x="43" y="421"/>
                  </a:lnTo>
                  <a:lnTo>
                    <a:pt x="39" y="415"/>
                  </a:lnTo>
                  <a:lnTo>
                    <a:pt x="38" y="412"/>
                  </a:lnTo>
                  <a:lnTo>
                    <a:pt x="38" y="407"/>
                  </a:lnTo>
                  <a:lnTo>
                    <a:pt x="40" y="360"/>
                  </a:lnTo>
                  <a:lnTo>
                    <a:pt x="40" y="355"/>
                  </a:lnTo>
                  <a:lnTo>
                    <a:pt x="38" y="351"/>
                  </a:lnTo>
                  <a:lnTo>
                    <a:pt x="36" y="346"/>
                  </a:lnTo>
                  <a:lnTo>
                    <a:pt x="33" y="345"/>
                  </a:lnTo>
                  <a:lnTo>
                    <a:pt x="25" y="342"/>
                  </a:lnTo>
                  <a:lnTo>
                    <a:pt x="3" y="337"/>
                  </a:lnTo>
                  <a:lnTo>
                    <a:pt x="0" y="335"/>
                  </a:lnTo>
                  <a:lnTo>
                    <a:pt x="6" y="329"/>
                  </a:lnTo>
                  <a:lnTo>
                    <a:pt x="13" y="327"/>
                  </a:lnTo>
                  <a:lnTo>
                    <a:pt x="22" y="326"/>
                  </a:lnTo>
                  <a:lnTo>
                    <a:pt x="28" y="324"/>
                  </a:lnTo>
                  <a:lnTo>
                    <a:pt x="55" y="309"/>
                  </a:lnTo>
                  <a:lnTo>
                    <a:pt x="61" y="307"/>
                  </a:lnTo>
                  <a:lnTo>
                    <a:pt x="67" y="306"/>
                  </a:lnTo>
                  <a:lnTo>
                    <a:pt x="83" y="304"/>
                  </a:lnTo>
                  <a:lnTo>
                    <a:pt x="87" y="302"/>
                  </a:lnTo>
                  <a:lnTo>
                    <a:pt x="90" y="301"/>
                  </a:lnTo>
                  <a:lnTo>
                    <a:pt x="90" y="297"/>
                  </a:lnTo>
                  <a:lnTo>
                    <a:pt x="90" y="294"/>
                  </a:lnTo>
                  <a:lnTo>
                    <a:pt x="90" y="292"/>
                  </a:lnTo>
                  <a:lnTo>
                    <a:pt x="81" y="278"/>
                  </a:lnTo>
                  <a:lnTo>
                    <a:pt x="80" y="273"/>
                  </a:lnTo>
                  <a:lnTo>
                    <a:pt x="80" y="269"/>
                  </a:lnTo>
                  <a:lnTo>
                    <a:pt x="81" y="265"/>
                  </a:lnTo>
                  <a:lnTo>
                    <a:pt x="83" y="261"/>
                  </a:lnTo>
                  <a:lnTo>
                    <a:pt x="87" y="256"/>
                  </a:lnTo>
                  <a:lnTo>
                    <a:pt x="91" y="255"/>
                  </a:lnTo>
                  <a:lnTo>
                    <a:pt x="95" y="254"/>
                  </a:lnTo>
                  <a:lnTo>
                    <a:pt x="98" y="255"/>
                  </a:lnTo>
                  <a:lnTo>
                    <a:pt x="111" y="260"/>
                  </a:lnTo>
                  <a:lnTo>
                    <a:pt x="114" y="261"/>
                  </a:lnTo>
                  <a:lnTo>
                    <a:pt x="119" y="261"/>
                  </a:lnTo>
                  <a:lnTo>
                    <a:pt x="121" y="260"/>
                  </a:lnTo>
                  <a:lnTo>
                    <a:pt x="124" y="256"/>
                  </a:lnTo>
                  <a:lnTo>
                    <a:pt x="124" y="254"/>
                  </a:lnTo>
                  <a:lnTo>
                    <a:pt x="124" y="249"/>
                  </a:lnTo>
                  <a:lnTo>
                    <a:pt x="121" y="233"/>
                  </a:lnTo>
                  <a:lnTo>
                    <a:pt x="120" y="230"/>
                  </a:lnTo>
                  <a:lnTo>
                    <a:pt x="121" y="226"/>
                  </a:lnTo>
                  <a:lnTo>
                    <a:pt x="121" y="223"/>
                  </a:lnTo>
                  <a:lnTo>
                    <a:pt x="125" y="215"/>
                  </a:lnTo>
                  <a:lnTo>
                    <a:pt x="128" y="207"/>
                  </a:lnTo>
                  <a:lnTo>
                    <a:pt x="130" y="203"/>
                  </a:lnTo>
                  <a:lnTo>
                    <a:pt x="134" y="202"/>
                  </a:lnTo>
                  <a:lnTo>
                    <a:pt x="137" y="202"/>
                  </a:lnTo>
                  <a:lnTo>
                    <a:pt x="142" y="202"/>
                  </a:lnTo>
                  <a:lnTo>
                    <a:pt x="146" y="202"/>
                  </a:lnTo>
                  <a:lnTo>
                    <a:pt x="153" y="200"/>
                  </a:lnTo>
                  <a:lnTo>
                    <a:pt x="157" y="198"/>
                  </a:lnTo>
                  <a:lnTo>
                    <a:pt x="159" y="195"/>
                  </a:lnTo>
                  <a:lnTo>
                    <a:pt x="160" y="191"/>
                  </a:lnTo>
                  <a:lnTo>
                    <a:pt x="163" y="185"/>
                  </a:lnTo>
                  <a:lnTo>
                    <a:pt x="168" y="176"/>
                  </a:lnTo>
                  <a:lnTo>
                    <a:pt x="188" y="154"/>
                  </a:lnTo>
                  <a:lnTo>
                    <a:pt x="232" y="118"/>
                  </a:lnTo>
                  <a:lnTo>
                    <a:pt x="252" y="104"/>
                  </a:lnTo>
                  <a:lnTo>
                    <a:pt x="290" y="88"/>
                  </a:lnTo>
                  <a:lnTo>
                    <a:pt x="296" y="84"/>
                  </a:lnTo>
                  <a:lnTo>
                    <a:pt x="300" y="80"/>
                  </a:lnTo>
                  <a:lnTo>
                    <a:pt x="301" y="76"/>
                  </a:lnTo>
                  <a:lnTo>
                    <a:pt x="308" y="60"/>
                  </a:lnTo>
                  <a:lnTo>
                    <a:pt x="315" y="53"/>
                  </a:lnTo>
                  <a:lnTo>
                    <a:pt x="323" y="45"/>
                  </a:lnTo>
                  <a:lnTo>
                    <a:pt x="335" y="37"/>
                  </a:lnTo>
                  <a:lnTo>
                    <a:pt x="399" y="4"/>
                  </a:lnTo>
                  <a:lnTo>
                    <a:pt x="406" y="1"/>
                  </a:lnTo>
                  <a:lnTo>
                    <a:pt x="411" y="0"/>
                  </a:lnTo>
                  <a:lnTo>
                    <a:pt x="414" y="0"/>
                  </a:lnTo>
                  <a:lnTo>
                    <a:pt x="418" y="0"/>
                  </a:lnTo>
                  <a:lnTo>
                    <a:pt x="422" y="2"/>
                  </a:lnTo>
                  <a:lnTo>
                    <a:pt x="426" y="4"/>
                  </a:lnTo>
                  <a:lnTo>
                    <a:pt x="432" y="9"/>
                  </a:lnTo>
                  <a:lnTo>
                    <a:pt x="444" y="22"/>
                  </a:lnTo>
                  <a:lnTo>
                    <a:pt x="466" y="39"/>
                  </a:lnTo>
                  <a:lnTo>
                    <a:pt x="473" y="44"/>
                  </a:lnTo>
                  <a:lnTo>
                    <a:pt x="477" y="45"/>
                  </a:lnTo>
                  <a:lnTo>
                    <a:pt x="494" y="46"/>
                  </a:lnTo>
                  <a:lnTo>
                    <a:pt x="505" y="49"/>
                  </a:lnTo>
                  <a:lnTo>
                    <a:pt x="509" y="49"/>
                  </a:lnTo>
                  <a:lnTo>
                    <a:pt x="512" y="48"/>
                  </a:lnTo>
                  <a:lnTo>
                    <a:pt x="515" y="46"/>
                  </a:lnTo>
                  <a:lnTo>
                    <a:pt x="518" y="44"/>
                  </a:lnTo>
                  <a:lnTo>
                    <a:pt x="531" y="26"/>
                  </a:lnTo>
                  <a:lnTo>
                    <a:pt x="538" y="19"/>
                  </a:lnTo>
                  <a:lnTo>
                    <a:pt x="538" y="19"/>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97" name="Freeform 11">
              <a:extLst>
                <a:ext uri="{FF2B5EF4-FFF2-40B4-BE49-F238E27FC236}"/>
              </a:extLst>
            </p:cNvPr>
            <p:cNvSpPr>
              <a:spLocks/>
            </p:cNvSpPr>
            <p:nvPr/>
          </p:nvSpPr>
          <p:spPr bwMode="auto">
            <a:xfrm>
              <a:off x="2873307" y="2853548"/>
              <a:ext cx="1539513" cy="1066684"/>
            </a:xfrm>
            <a:custGeom>
              <a:avLst/>
              <a:gdLst>
                <a:gd name="T0" fmla="*/ 948 w 970"/>
                <a:gd name="T1" fmla="*/ 274 h 671"/>
                <a:gd name="T2" fmla="*/ 938 w 970"/>
                <a:gd name="T3" fmla="*/ 301 h 671"/>
                <a:gd name="T4" fmla="*/ 922 w 970"/>
                <a:gd name="T5" fmla="*/ 338 h 671"/>
                <a:gd name="T6" fmla="*/ 898 w 970"/>
                <a:gd name="T7" fmla="*/ 340 h 671"/>
                <a:gd name="T8" fmla="*/ 836 w 970"/>
                <a:gd name="T9" fmla="*/ 303 h 671"/>
                <a:gd name="T10" fmla="*/ 815 w 970"/>
                <a:gd name="T11" fmla="*/ 294 h 671"/>
                <a:gd name="T12" fmla="*/ 719 w 970"/>
                <a:gd name="T13" fmla="*/ 347 h 671"/>
                <a:gd name="T14" fmla="*/ 694 w 970"/>
                <a:gd name="T15" fmla="*/ 382 h 671"/>
                <a:gd name="T16" fmla="*/ 567 w 970"/>
                <a:gd name="T17" fmla="*/ 479 h 671"/>
                <a:gd name="T18" fmla="*/ 550 w 970"/>
                <a:gd name="T19" fmla="*/ 496 h 671"/>
                <a:gd name="T20" fmla="*/ 532 w 970"/>
                <a:gd name="T21" fmla="*/ 501 h 671"/>
                <a:gd name="T22" fmla="*/ 525 w 970"/>
                <a:gd name="T23" fmla="*/ 527 h 671"/>
                <a:gd name="T24" fmla="*/ 523 w 970"/>
                <a:gd name="T25" fmla="*/ 555 h 671"/>
                <a:gd name="T26" fmla="*/ 495 w 970"/>
                <a:gd name="T27" fmla="*/ 549 h 671"/>
                <a:gd name="T28" fmla="*/ 484 w 970"/>
                <a:gd name="T29" fmla="*/ 567 h 671"/>
                <a:gd name="T30" fmla="*/ 494 w 970"/>
                <a:gd name="T31" fmla="*/ 595 h 671"/>
                <a:gd name="T32" fmla="*/ 459 w 970"/>
                <a:gd name="T33" fmla="*/ 603 h 671"/>
                <a:gd name="T34" fmla="*/ 404 w 970"/>
                <a:gd name="T35" fmla="*/ 629 h 671"/>
                <a:gd name="T36" fmla="*/ 303 w 970"/>
                <a:gd name="T37" fmla="*/ 622 h 671"/>
                <a:gd name="T38" fmla="*/ 276 w 970"/>
                <a:gd name="T39" fmla="*/ 649 h 671"/>
                <a:gd name="T40" fmla="*/ 256 w 970"/>
                <a:gd name="T41" fmla="*/ 655 h 671"/>
                <a:gd name="T42" fmla="*/ 178 w 970"/>
                <a:gd name="T43" fmla="*/ 671 h 671"/>
                <a:gd name="T44" fmla="*/ 163 w 970"/>
                <a:gd name="T45" fmla="*/ 663 h 671"/>
                <a:gd name="T46" fmla="*/ 157 w 970"/>
                <a:gd name="T47" fmla="*/ 582 h 671"/>
                <a:gd name="T48" fmla="*/ 160 w 970"/>
                <a:gd name="T49" fmla="*/ 485 h 671"/>
                <a:gd name="T50" fmla="*/ 139 w 970"/>
                <a:gd name="T51" fmla="*/ 480 h 671"/>
                <a:gd name="T52" fmla="*/ 133 w 970"/>
                <a:gd name="T53" fmla="*/ 461 h 671"/>
                <a:gd name="T54" fmla="*/ 140 w 970"/>
                <a:gd name="T55" fmla="*/ 432 h 671"/>
                <a:gd name="T56" fmla="*/ 145 w 970"/>
                <a:gd name="T57" fmla="*/ 408 h 671"/>
                <a:gd name="T58" fmla="*/ 192 w 970"/>
                <a:gd name="T59" fmla="*/ 336 h 671"/>
                <a:gd name="T60" fmla="*/ 192 w 970"/>
                <a:gd name="T61" fmla="*/ 316 h 671"/>
                <a:gd name="T62" fmla="*/ 155 w 970"/>
                <a:gd name="T63" fmla="*/ 291 h 671"/>
                <a:gd name="T64" fmla="*/ 122 w 970"/>
                <a:gd name="T65" fmla="*/ 195 h 671"/>
                <a:gd name="T66" fmla="*/ 83 w 970"/>
                <a:gd name="T67" fmla="*/ 166 h 671"/>
                <a:gd name="T68" fmla="*/ 6 w 970"/>
                <a:gd name="T69" fmla="*/ 140 h 671"/>
                <a:gd name="T70" fmla="*/ 27 w 970"/>
                <a:gd name="T71" fmla="*/ 109 h 671"/>
                <a:gd name="T72" fmla="*/ 248 w 970"/>
                <a:gd name="T73" fmla="*/ 8 h 671"/>
                <a:gd name="T74" fmla="*/ 380 w 970"/>
                <a:gd name="T75" fmla="*/ 0 h 671"/>
                <a:gd name="T76" fmla="*/ 451 w 970"/>
                <a:gd name="T77" fmla="*/ 15 h 671"/>
                <a:gd name="T78" fmla="*/ 502 w 970"/>
                <a:gd name="T79" fmla="*/ 8 h 671"/>
                <a:gd name="T80" fmla="*/ 595 w 970"/>
                <a:gd name="T81" fmla="*/ 54 h 671"/>
                <a:gd name="T82" fmla="*/ 625 w 970"/>
                <a:gd name="T83" fmla="*/ 66 h 671"/>
                <a:gd name="T84" fmla="*/ 658 w 970"/>
                <a:gd name="T85" fmla="*/ 53 h 671"/>
                <a:gd name="T86" fmla="*/ 670 w 970"/>
                <a:gd name="T87" fmla="*/ 72 h 671"/>
                <a:gd name="T88" fmla="*/ 684 w 970"/>
                <a:gd name="T89" fmla="*/ 92 h 671"/>
                <a:gd name="T90" fmla="*/ 720 w 970"/>
                <a:gd name="T91" fmla="*/ 94 h 671"/>
                <a:gd name="T92" fmla="*/ 759 w 970"/>
                <a:gd name="T93" fmla="*/ 103 h 671"/>
                <a:gd name="T94" fmla="*/ 797 w 970"/>
                <a:gd name="T95" fmla="*/ 92 h 671"/>
                <a:gd name="T96" fmla="*/ 852 w 970"/>
                <a:gd name="T97" fmla="*/ 197 h 671"/>
                <a:gd name="T98" fmla="*/ 924 w 970"/>
                <a:gd name="T99" fmla="*/ 214 h 671"/>
                <a:gd name="T100" fmla="*/ 970 w 970"/>
                <a:gd name="T101" fmla="*/ 25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671">
                  <a:moveTo>
                    <a:pt x="970" y="258"/>
                  </a:moveTo>
                  <a:lnTo>
                    <a:pt x="961" y="261"/>
                  </a:lnTo>
                  <a:lnTo>
                    <a:pt x="958" y="263"/>
                  </a:lnTo>
                  <a:lnTo>
                    <a:pt x="953" y="268"/>
                  </a:lnTo>
                  <a:lnTo>
                    <a:pt x="948" y="274"/>
                  </a:lnTo>
                  <a:lnTo>
                    <a:pt x="944" y="282"/>
                  </a:lnTo>
                  <a:lnTo>
                    <a:pt x="941" y="287"/>
                  </a:lnTo>
                  <a:lnTo>
                    <a:pt x="939" y="293"/>
                  </a:lnTo>
                  <a:lnTo>
                    <a:pt x="938" y="297"/>
                  </a:lnTo>
                  <a:lnTo>
                    <a:pt x="938" y="301"/>
                  </a:lnTo>
                  <a:lnTo>
                    <a:pt x="938" y="305"/>
                  </a:lnTo>
                  <a:lnTo>
                    <a:pt x="940" y="312"/>
                  </a:lnTo>
                  <a:lnTo>
                    <a:pt x="942" y="313"/>
                  </a:lnTo>
                  <a:lnTo>
                    <a:pt x="935" y="320"/>
                  </a:lnTo>
                  <a:lnTo>
                    <a:pt x="922" y="338"/>
                  </a:lnTo>
                  <a:lnTo>
                    <a:pt x="919" y="340"/>
                  </a:lnTo>
                  <a:lnTo>
                    <a:pt x="916" y="342"/>
                  </a:lnTo>
                  <a:lnTo>
                    <a:pt x="913" y="343"/>
                  </a:lnTo>
                  <a:lnTo>
                    <a:pt x="909" y="343"/>
                  </a:lnTo>
                  <a:lnTo>
                    <a:pt x="898" y="340"/>
                  </a:lnTo>
                  <a:lnTo>
                    <a:pt x="881" y="339"/>
                  </a:lnTo>
                  <a:lnTo>
                    <a:pt x="877" y="338"/>
                  </a:lnTo>
                  <a:lnTo>
                    <a:pt x="870" y="333"/>
                  </a:lnTo>
                  <a:lnTo>
                    <a:pt x="848" y="316"/>
                  </a:lnTo>
                  <a:lnTo>
                    <a:pt x="836" y="303"/>
                  </a:lnTo>
                  <a:lnTo>
                    <a:pt x="830" y="298"/>
                  </a:lnTo>
                  <a:lnTo>
                    <a:pt x="826" y="296"/>
                  </a:lnTo>
                  <a:lnTo>
                    <a:pt x="822" y="294"/>
                  </a:lnTo>
                  <a:lnTo>
                    <a:pt x="818" y="294"/>
                  </a:lnTo>
                  <a:lnTo>
                    <a:pt x="815" y="294"/>
                  </a:lnTo>
                  <a:lnTo>
                    <a:pt x="810" y="295"/>
                  </a:lnTo>
                  <a:lnTo>
                    <a:pt x="803" y="298"/>
                  </a:lnTo>
                  <a:lnTo>
                    <a:pt x="739" y="331"/>
                  </a:lnTo>
                  <a:lnTo>
                    <a:pt x="727" y="339"/>
                  </a:lnTo>
                  <a:lnTo>
                    <a:pt x="719" y="347"/>
                  </a:lnTo>
                  <a:lnTo>
                    <a:pt x="712" y="354"/>
                  </a:lnTo>
                  <a:lnTo>
                    <a:pt x="705" y="370"/>
                  </a:lnTo>
                  <a:lnTo>
                    <a:pt x="704" y="374"/>
                  </a:lnTo>
                  <a:lnTo>
                    <a:pt x="700" y="378"/>
                  </a:lnTo>
                  <a:lnTo>
                    <a:pt x="694" y="382"/>
                  </a:lnTo>
                  <a:lnTo>
                    <a:pt x="656" y="398"/>
                  </a:lnTo>
                  <a:lnTo>
                    <a:pt x="636" y="412"/>
                  </a:lnTo>
                  <a:lnTo>
                    <a:pt x="592" y="448"/>
                  </a:lnTo>
                  <a:lnTo>
                    <a:pt x="572" y="470"/>
                  </a:lnTo>
                  <a:lnTo>
                    <a:pt x="567" y="479"/>
                  </a:lnTo>
                  <a:lnTo>
                    <a:pt x="564" y="485"/>
                  </a:lnTo>
                  <a:lnTo>
                    <a:pt x="563" y="489"/>
                  </a:lnTo>
                  <a:lnTo>
                    <a:pt x="561" y="492"/>
                  </a:lnTo>
                  <a:lnTo>
                    <a:pt x="557" y="494"/>
                  </a:lnTo>
                  <a:lnTo>
                    <a:pt x="550" y="496"/>
                  </a:lnTo>
                  <a:lnTo>
                    <a:pt x="546" y="496"/>
                  </a:lnTo>
                  <a:lnTo>
                    <a:pt x="541" y="496"/>
                  </a:lnTo>
                  <a:lnTo>
                    <a:pt x="538" y="496"/>
                  </a:lnTo>
                  <a:lnTo>
                    <a:pt x="534" y="497"/>
                  </a:lnTo>
                  <a:lnTo>
                    <a:pt x="532" y="501"/>
                  </a:lnTo>
                  <a:lnTo>
                    <a:pt x="529" y="509"/>
                  </a:lnTo>
                  <a:lnTo>
                    <a:pt x="525" y="517"/>
                  </a:lnTo>
                  <a:lnTo>
                    <a:pt x="525" y="520"/>
                  </a:lnTo>
                  <a:lnTo>
                    <a:pt x="524" y="524"/>
                  </a:lnTo>
                  <a:lnTo>
                    <a:pt x="525" y="527"/>
                  </a:lnTo>
                  <a:lnTo>
                    <a:pt x="528" y="543"/>
                  </a:lnTo>
                  <a:lnTo>
                    <a:pt x="528" y="548"/>
                  </a:lnTo>
                  <a:lnTo>
                    <a:pt x="528" y="550"/>
                  </a:lnTo>
                  <a:lnTo>
                    <a:pt x="525" y="554"/>
                  </a:lnTo>
                  <a:lnTo>
                    <a:pt x="523" y="555"/>
                  </a:lnTo>
                  <a:lnTo>
                    <a:pt x="518" y="555"/>
                  </a:lnTo>
                  <a:lnTo>
                    <a:pt x="515" y="554"/>
                  </a:lnTo>
                  <a:lnTo>
                    <a:pt x="502" y="549"/>
                  </a:lnTo>
                  <a:lnTo>
                    <a:pt x="499" y="548"/>
                  </a:lnTo>
                  <a:lnTo>
                    <a:pt x="495" y="549"/>
                  </a:lnTo>
                  <a:lnTo>
                    <a:pt x="491" y="550"/>
                  </a:lnTo>
                  <a:lnTo>
                    <a:pt x="487" y="555"/>
                  </a:lnTo>
                  <a:lnTo>
                    <a:pt x="485" y="559"/>
                  </a:lnTo>
                  <a:lnTo>
                    <a:pt x="484" y="563"/>
                  </a:lnTo>
                  <a:lnTo>
                    <a:pt x="484" y="567"/>
                  </a:lnTo>
                  <a:lnTo>
                    <a:pt x="485" y="572"/>
                  </a:lnTo>
                  <a:lnTo>
                    <a:pt x="494" y="586"/>
                  </a:lnTo>
                  <a:lnTo>
                    <a:pt x="494" y="588"/>
                  </a:lnTo>
                  <a:lnTo>
                    <a:pt x="494" y="591"/>
                  </a:lnTo>
                  <a:lnTo>
                    <a:pt x="494" y="595"/>
                  </a:lnTo>
                  <a:lnTo>
                    <a:pt x="491" y="596"/>
                  </a:lnTo>
                  <a:lnTo>
                    <a:pt x="487" y="598"/>
                  </a:lnTo>
                  <a:lnTo>
                    <a:pt x="471" y="600"/>
                  </a:lnTo>
                  <a:lnTo>
                    <a:pt x="465" y="601"/>
                  </a:lnTo>
                  <a:lnTo>
                    <a:pt x="459" y="603"/>
                  </a:lnTo>
                  <a:lnTo>
                    <a:pt x="432" y="618"/>
                  </a:lnTo>
                  <a:lnTo>
                    <a:pt x="426" y="620"/>
                  </a:lnTo>
                  <a:lnTo>
                    <a:pt x="417" y="621"/>
                  </a:lnTo>
                  <a:lnTo>
                    <a:pt x="410" y="623"/>
                  </a:lnTo>
                  <a:lnTo>
                    <a:pt x="404" y="629"/>
                  </a:lnTo>
                  <a:lnTo>
                    <a:pt x="389" y="625"/>
                  </a:lnTo>
                  <a:lnTo>
                    <a:pt x="342" y="617"/>
                  </a:lnTo>
                  <a:lnTo>
                    <a:pt x="314" y="619"/>
                  </a:lnTo>
                  <a:lnTo>
                    <a:pt x="308" y="620"/>
                  </a:lnTo>
                  <a:lnTo>
                    <a:pt x="303" y="622"/>
                  </a:lnTo>
                  <a:lnTo>
                    <a:pt x="298" y="625"/>
                  </a:lnTo>
                  <a:lnTo>
                    <a:pt x="294" y="628"/>
                  </a:lnTo>
                  <a:lnTo>
                    <a:pt x="282" y="644"/>
                  </a:lnTo>
                  <a:lnTo>
                    <a:pt x="279" y="648"/>
                  </a:lnTo>
                  <a:lnTo>
                    <a:pt x="276" y="649"/>
                  </a:lnTo>
                  <a:lnTo>
                    <a:pt x="273" y="651"/>
                  </a:lnTo>
                  <a:lnTo>
                    <a:pt x="270" y="652"/>
                  </a:lnTo>
                  <a:lnTo>
                    <a:pt x="267" y="653"/>
                  </a:lnTo>
                  <a:lnTo>
                    <a:pt x="263" y="654"/>
                  </a:lnTo>
                  <a:lnTo>
                    <a:pt x="256" y="655"/>
                  </a:lnTo>
                  <a:lnTo>
                    <a:pt x="237" y="654"/>
                  </a:lnTo>
                  <a:lnTo>
                    <a:pt x="228" y="655"/>
                  </a:lnTo>
                  <a:lnTo>
                    <a:pt x="186" y="671"/>
                  </a:lnTo>
                  <a:lnTo>
                    <a:pt x="183" y="671"/>
                  </a:lnTo>
                  <a:lnTo>
                    <a:pt x="178" y="671"/>
                  </a:lnTo>
                  <a:lnTo>
                    <a:pt x="175" y="671"/>
                  </a:lnTo>
                  <a:lnTo>
                    <a:pt x="171" y="669"/>
                  </a:lnTo>
                  <a:lnTo>
                    <a:pt x="169" y="668"/>
                  </a:lnTo>
                  <a:lnTo>
                    <a:pt x="166" y="666"/>
                  </a:lnTo>
                  <a:lnTo>
                    <a:pt x="163" y="663"/>
                  </a:lnTo>
                  <a:lnTo>
                    <a:pt x="162" y="660"/>
                  </a:lnTo>
                  <a:lnTo>
                    <a:pt x="160" y="655"/>
                  </a:lnTo>
                  <a:lnTo>
                    <a:pt x="158" y="650"/>
                  </a:lnTo>
                  <a:lnTo>
                    <a:pt x="160" y="602"/>
                  </a:lnTo>
                  <a:lnTo>
                    <a:pt x="157" y="582"/>
                  </a:lnTo>
                  <a:lnTo>
                    <a:pt x="152" y="562"/>
                  </a:lnTo>
                  <a:lnTo>
                    <a:pt x="151" y="557"/>
                  </a:lnTo>
                  <a:lnTo>
                    <a:pt x="151" y="552"/>
                  </a:lnTo>
                  <a:lnTo>
                    <a:pt x="161" y="489"/>
                  </a:lnTo>
                  <a:lnTo>
                    <a:pt x="160" y="485"/>
                  </a:lnTo>
                  <a:lnTo>
                    <a:pt x="158" y="481"/>
                  </a:lnTo>
                  <a:lnTo>
                    <a:pt x="155" y="478"/>
                  </a:lnTo>
                  <a:lnTo>
                    <a:pt x="151" y="478"/>
                  </a:lnTo>
                  <a:lnTo>
                    <a:pt x="143" y="480"/>
                  </a:lnTo>
                  <a:lnTo>
                    <a:pt x="139" y="480"/>
                  </a:lnTo>
                  <a:lnTo>
                    <a:pt x="135" y="478"/>
                  </a:lnTo>
                  <a:lnTo>
                    <a:pt x="133" y="475"/>
                  </a:lnTo>
                  <a:lnTo>
                    <a:pt x="131" y="471"/>
                  </a:lnTo>
                  <a:lnTo>
                    <a:pt x="130" y="466"/>
                  </a:lnTo>
                  <a:lnTo>
                    <a:pt x="133" y="461"/>
                  </a:lnTo>
                  <a:lnTo>
                    <a:pt x="139" y="450"/>
                  </a:lnTo>
                  <a:lnTo>
                    <a:pt x="139" y="448"/>
                  </a:lnTo>
                  <a:lnTo>
                    <a:pt x="140" y="441"/>
                  </a:lnTo>
                  <a:lnTo>
                    <a:pt x="140" y="436"/>
                  </a:lnTo>
                  <a:lnTo>
                    <a:pt x="140" y="432"/>
                  </a:lnTo>
                  <a:lnTo>
                    <a:pt x="140" y="428"/>
                  </a:lnTo>
                  <a:lnTo>
                    <a:pt x="137" y="420"/>
                  </a:lnTo>
                  <a:lnTo>
                    <a:pt x="139" y="418"/>
                  </a:lnTo>
                  <a:lnTo>
                    <a:pt x="142" y="414"/>
                  </a:lnTo>
                  <a:lnTo>
                    <a:pt x="145" y="408"/>
                  </a:lnTo>
                  <a:lnTo>
                    <a:pt x="155" y="378"/>
                  </a:lnTo>
                  <a:lnTo>
                    <a:pt x="160" y="367"/>
                  </a:lnTo>
                  <a:lnTo>
                    <a:pt x="167" y="358"/>
                  </a:lnTo>
                  <a:lnTo>
                    <a:pt x="188" y="339"/>
                  </a:lnTo>
                  <a:lnTo>
                    <a:pt x="192" y="336"/>
                  </a:lnTo>
                  <a:lnTo>
                    <a:pt x="193" y="332"/>
                  </a:lnTo>
                  <a:lnTo>
                    <a:pt x="195" y="328"/>
                  </a:lnTo>
                  <a:lnTo>
                    <a:pt x="196" y="324"/>
                  </a:lnTo>
                  <a:lnTo>
                    <a:pt x="195" y="320"/>
                  </a:lnTo>
                  <a:lnTo>
                    <a:pt x="192" y="316"/>
                  </a:lnTo>
                  <a:lnTo>
                    <a:pt x="188" y="313"/>
                  </a:lnTo>
                  <a:lnTo>
                    <a:pt x="167" y="302"/>
                  </a:lnTo>
                  <a:lnTo>
                    <a:pt x="161" y="298"/>
                  </a:lnTo>
                  <a:lnTo>
                    <a:pt x="158" y="295"/>
                  </a:lnTo>
                  <a:lnTo>
                    <a:pt x="155" y="291"/>
                  </a:lnTo>
                  <a:lnTo>
                    <a:pt x="154" y="288"/>
                  </a:lnTo>
                  <a:lnTo>
                    <a:pt x="136" y="214"/>
                  </a:lnTo>
                  <a:lnTo>
                    <a:pt x="134" y="209"/>
                  </a:lnTo>
                  <a:lnTo>
                    <a:pt x="132" y="206"/>
                  </a:lnTo>
                  <a:lnTo>
                    <a:pt x="122" y="195"/>
                  </a:lnTo>
                  <a:lnTo>
                    <a:pt x="103" y="179"/>
                  </a:lnTo>
                  <a:lnTo>
                    <a:pt x="92" y="174"/>
                  </a:lnTo>
                  <a:lnTo>
                    <a:pt x="88" y="170"/>
                  </a:lnTo>
                  <a:lnTo>
                    <a:pt x="83" y="167"/>
                  </a:lnTo>
                  <a:lnTo>
                    <a:pt x="83" y="166"/>
                  </a:lnTo>
                  <a:lnTo>
                    <a:pt x="79" y="161"/>
                  </a:lnTo>
                  <a:lnTo>
                    <a:pt x="73" y="158"/>
                  </a:lnTo>
                  <a:lnTo>
                    <a:pt x="64" y="154"/>
                  </a:lnTo>
                  <a:lnTo>
                    <a:pt x="10" y="142"/>
                  </a:lnTo>
                  <a:lnTo>
                    <a:pt x="6" y="140"/>
                  </a:lnTo>
                  <a:lnTo>
                    <a:pt x="3" y="138"/>
                  </a:lnTo>
                  <a:lnTo>
                    <a:pt x="0" y="135"/>
                  </a:lnTo>
                  <a:lnTo>
                    <a:pt x="19" y="115"/>
                  </a:lnTo>
                  <a:lnTo>
                    <a:pt x="22" y="112"/>
                  </a:lnTo>
                  <a:lnTo>
                    <a:pt x="27" y="109"/>
                  </a:lnTo>
                  <a:lnTo>
                    <a:pt x="89" y="78"/>
                  </a:lnTo>
                  <a:lnTo>
                    <a:pt x="119" y="70"/>
                  </a:lnTo>
                  <a:lnTo>
                    <a:pt x="181" y="35"/>
                  </a:lnTo>
                  <a:lnTo>
                    <a:pt x="245" y="8"/>
                  </a:lnTo>
                  <a:lnTo>
                    <a:pt x="248" y="8"/>
                  </a:lnTo>
                  <a:lnTo>
                    <a:pt x="259" y="11"/>
                  </a:lnTo>
                  <a:lnTo>
                    <a:pt x="277" y="19"/>
                  </a:lnTo>
                  <a:lnTo>
                    <a:pt x="287" y="22"/>
                  </a:lnTo>
                  <a:lnTo>
                    <a:pt x="291" y="22"/>
                  </a:lnTo>
                  <a:lnTo>
                    <a:pt x="380" y="0"/>
                  </a:lnTo>
                  <a:lnTo>
                    <a:pt x="392" y="0"/>
                  </a:lnTo>
                  <a:lnTo>
                    <a:pt x="399" y="0"/>
                  </a:lnTo>
                  <a:lnTo>
                    <a:pt x="404" y="0"/>
                  </a:lnTo>
                  <a:lnTo>
                    <a:pt x="445" y="14"/>
                  </a:lnTo>
                  <a:lnTo>
                    <a:pt x="451" y="15"/>
                  </a:lnTo>
                  <a:lnTo>
                    <a:pt x="456" y="15"/>
                  </a:lnTo>
                  <a:lnTo>
                    <a:pt x="460" y="15"/>
                  </a:lnTo>
                  <a:lnTo>
                    <a:pt x="479" y="9"/>
                  </a:lnTo>
                  <a:lnTo>
                    <a:pt x="498" y="8"/>
                  </a:lnTo>
                  <a:lnTo>
                    <a:pt x="502" y="8"/>
                  </a:lnTo>
                  <a:lnTo>
                    <a:pt x="559" y="22"/>
                  </a:lnTo>
                  <a:lnTo>
                    <a:pt x="567" y="24"/>
                  </a:lnTo>
                  <a:lnTo>
                    <a:pt x="571" y="27"/>
                  </a:lnTo>
                  <a:lnTo>
                    <a:pt x="575" y="31"/>
                  </a:lnTo>
                  <a:lnTo>
                    <a:pt x="595" y="54"/>
                  </a:lnTo>
                  <a:lnTo>
                    <a:pt x="600" y="59"/>
                  </a:lnTo>
                  <a:lnTo>
                    <a:pt x="606" y="62"/>
                  </a:lnTo>
                  <a:lnTo>
                    <a:pt x="614" y="66"/>
                  </a:lnTo>
                  <a:lnTo>
                    <a:pt x="620" y="67"/>
                  </a:lnTo>
                  <a:lnTo>
                    <a:pt x="625" y="66"/>
                  </a:lnTo>
                  <a:lnTo>
                    <a:pt x="630" y="65"/>
                  </a:lnTo>
                  <a:lnTo>
                    <a:pt x="635" y="63"/>
                  </a:lnTo>
                  <a:lnTo>
                    <a:pt x="649" y="55"/>
                  </a:lnTo>
                  <a:lnTo>
                    <a:pt x="653" y="54"/>
                  </a:lnTo>
                  <a:lnTo>
                    <a:pt x="658" y="53"/>
                  </a:lnTo>
                  <a:lnTo>
                    <a:pt x="664" y="53"/>
                  </a:lnTo>
                  <a:lnTo>
                    <a:pt x="667" y="54"/>
                  </a:lnTo>
                  <a:lnTo>
                    <a:pt x="669" y="56"/>
                  </a:lnTo>
                  <a:lnTo>
                    <a:pt x="669" y="58"/>
                  </a:lnTo>
                  <a:lnTo>
                    <a:pt x="670" y="72"/>
                  </a:lnTo>
                  <a:lnTo>
                    <a:pt x="670" y="75"/>
                  </a:lnTo>
                  <a:lnTo>
                    <a:pt x="672" y="78"/>
                  </a:lnTo>
                  <a:lnTo>
                    <a:pt x="675" y="84"/>
                  </a:lnTo>
                  <a:lnTo>
                    <a:pt x="678" y="89"/>
                  </a:lnTo>
                  <a:lnTo>
                    <a:pt x="684" y="92"/>
                  </a:lnTo>
                  <a:lnTo>
                    <a:pt x="689" y="94"/>
                  </a:lnTo>
                  <a:lnTo>
                    <a:pt x="693" y="94"/>
                  </a:lnTo>
                  <a:lnTo>
                    <a:pt x="710" y="92"/>
                  </a:lnTo>
                  <a:lnTo>
                    <a:pt x="715" y="93"/>
                  </a:lnTo>
                  <a:lnTo>
                    <a:pt x="720" y="94"/>
                  </a:lnTo>
                  <a:lnTo>
                    <a:pt x="737" y="104"/>
                  </a:lnTo>
                  <a:lnTo>
                    <a:pt x="744" y="106"/>
                  </a:lnTo>
                  <a:lnTo>
                    <a:pt x="749" y="107"/>
                  </a:lnTo>
                  <a:lnTo>
                    <a:pt x="752" y="106"/>
                  </a:lnTo>
                  <a:lnTo>
                    <a:pt x="759" y="103"/>
                  </a:lnTo>
                  <a:lnTo>
                    <a:pt x="779" y="90"/>
                  </a:lnTo>
                  <a:lnTo>
                    <a:pt x="783" y="88"/>
                  </a:lnTo>
                  <a:lnTo>
                    <a:pt x="789" y="87"/>
                  </a:lnTo>
                  <a:lnTo>
                    <a:pt x="794" y="89"/>
                  </a:lnTo>
                  <a:lnTo>
                    <a:pt x="797" y="92"/>
                  </a:lnTo>
                  <a:lnTo>
                    <a:pt x="800" y="96"/>
                  </a:lnTo>
                  <a:lnTo>
                    <a:pt x="828" y="147"/>
                  </a:lnTo>
                  <a:lnTo>
                    <a:pt x="842" y="184"/>
                  </a:lnTo>
                  <a:lnTo>
                    <a:pt x="848" y="193"/>
                  </a:lnTo>
                  <a:lnTo>
                    <a:pt x="852" y="197"/>
                  </a:lnTo>
                  <a:lnTo>
                    <a:pt x="857" y="200"/>
                  </a:lnTo>
                  <a:lnTo>
                    <a:pt x="863" y="203"/>
                  </a:lnTo>
                  <a:lnTo>
                    <a:pt x="867" y="205"/>
                  </a:lnTo>
                  <a:lnTo>
                    <a:pt x="919" y="213"/>
                  </a:lnTo>
                  <a:lnTo>
                    <a:pt x="924" y="214"/>
                  </a:lnTo>
                  <a:lnTo>
                    <a:pt x="932" y="219"/>
                  </a:lnTo>
                  <a:lnTo>
                    <a:pt x="936" y="221"/>
                  </a:lnTo>
                  <a:lnTo>
                    <a:pt x="963" y="246"/>
                  </a:lnTo>
                  <a:lnTo>
                    <a:pt x="968" y="252"/>
                  </a:lnTo>
                  <a:lnTo>
                    <a:pt x="970" y="258"/>
                  </a:lnTo>
                  <a:lnTo>
                    <a:pt x="970" y="258"/>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98" name="Freeform 12">
              <a:extLst>
                <a:ext uri="{FF2B5EF4-FFF2-40B4-BE49-F238E27FC236}"/>
              </a:extLst>
            </p:cNvPr>
            <p:cNvSpPr>
              <a:spLocks noEditPoints="1"/>
            </p:cNvSpPr>
            <p:nvPr/>
          </p:nvSpPr>
          <p:spPr bwMode="auto">
            <a:xfrm>
              <a:off x="1698625" y="2817456"/>
              <a:ext cx="1487395" cy="1327342"/>
            </a:xfrm>
            <a:custGeom>
              <a:avLst/>
              <a:gdLst>
                <a:gd name="T0" fmla="*/ 402 w 936"/>
                <a:gd name="T1" fmla="*/ 671 h 836"/>
                <a:gd name="T2" fmla="*/ 385 w 936"/>
                <a:gd name="T3" fmla="*/ 670 h 836"/>
                <a:gd name="T4" fmla="*/ 396 w 936"/>
                <a:gd name="T5" fmla="*/ 676 h 836"/>
                <a:gd name="T6" fmla="*/ 369 w 936"/>
                <a:gd name="T7" fmla="*/ 660 h 836"/>
                <a:gd name="T8" fmla="*/ 382 w 936"/>
                <a:gd name="T9" fmla="*/ 646 h 836"/>
                <a:gd name="T10" fmla="*/ 386 w 936"/>
                <a:gd name="T11" fmla="*/ 667 h 836"/>
                <a:gd name="T12" fmla="*/ 367 w 936"/>
                <a:gd name="T13" fmla="*/ 655 h 836"/>
                <a:gd name="T14" fmla="*/ 360 w 936"/>
                <a:gd name="T15" fmla="*/ 646 h 836"/>
                <a:gd name="T16" fmla="*/ 389 w 936"/>
                <a:gd name="T17" fmla="*/ 640 h 836"/>
                <a:gd name="T18" fmla="*/ 346 w 936"/>
                <a:gd name="T19" fmla="*/ 645 h 836"/>
                <a:gd name="T20" fmla="*/ 327 w 936"/>
                <a:gd name="T21" fmla="*/ 640 h 836"/>
                <a:gd name="T22" fmla="*/ 328 w 936"/>
                <a:gd name="T23" fmla="*/ 632 h 836"/>
                <a:gd name="T24" fmla="*/ 331 w 936"/>
                <a:gd name="T25" fmla="*/ 617 h 836"/>
                <a:gd name="T26" fmla="*/ 337 w 936"/>
                <a:gd name="T27" fmla="*/ 614 h 836"/>
                <a:gd name="T28" fmla="*/ 832 w 936"/>
                <a:gd name="T29" fmla="*/ 196 h 836"/>
                <a:gd name="T30" fmla="*/ 935 w 936"/>
                <a:gd name="T31" fmla="*/ 342 h 836"/>
                <a:gd name="T32" fmla="*/ 871 w 936"/>
                <a:gd name="T33" fmla="*/ 434 h 836"/>
                <a:gd name="T34" fmla="*/ 704 w 936"/>
                <a:gd name="T35" fmla="*/ 395 h 836"/>
                <a:gd name="T36" fmla="*/ 661 w 936"/>
                <a:gd name="T37" fmla="*/ 399 h 836"/>
                <a:gd name="T38" fmla="*/ 611 w 936"/>
                <a:gd name="T39" fmla="*/ 388 h 836"/>
                <a:gd name="T40" fmla="*/ 563 w 936"/>
                <a:gd name="T41" fmla="*/ 359 h 836"/>
                <a:gd name="T42" fmla="*/ 485 w 936"/>
                <a:gd name="T43" fmla="*/ 322 h 836"/>
                <a:gd name="T44" fmla="*/ 369 w 936"/>
                <a:gd name="T45" fmla="*/ 343 h 836"/>
                <a:gd name="T46" fmla="*/ 406 w 936"/>
                <a:gd name="T47" fmla="*/ 381 h 836"/>
                <a:gd name="T48" fmla="*/ 448 w 936"/>
                <a:gd name="T49" fmla="*/ 454 h 836"/>
                <a:gd name="T50" fmla="*/ 449 w 936"/>
                <a:gd name="T51" fmla="*/ 545 h 836"/>
                <a:gd name="T52" fmla="*/ 510 w 936"/>
                <a:gd name="T53" fmla="*/ 586 h 836"/>
                <a:gd name="T54" fmla="*/ 575 w 936"/>
                <a:gd name="T55" fmla="*/ 664 h 836"/>
                <a:gd name="T56" fmla="*/ 536 w 936"/>
                <a:gd name="T57" fmla="*/ 789 h 836"/>
                <a:gd name="T58" fmla="*/ 475 w 936"/>
                <a:gd name="T59" fmla="*/ 817 h 836"/>
                <a:gd name="T60" fmla="*/ 443 w 936"/>
                <a:gd name="T61" fmla="*/ 787 h 836"/>
                <a:gd name="T62" fmla="*/ 451 w 936"/>
                <a:gd name="T63" fmla="*/ 754 h 836"/>
                <a:gd name="T64" fmla="*/ 433 w 936"/>
                <a:gd name="T65" fmla="*/ 701 h 836"/>
                <a:gd name="T66" fmla="*/ 409 w 936"/>
                <a:gd name="T67" fmla="*/ 659 h 836"/>
                <a:gd name="T68" fmla="*/ 386 w 936"/>
                <a:gd name="T69" fmla="*/ 626 h 836"/>
                <a:gd name="T70" fmla="*/ 354 w 936"/>
                <a:gd name="T71" fmla="*/ 604 h 836"/>
                <a:gd name="T72" fmla="*/ 354 w 936"/>
                <a:gd name="T73" fmla="*/ 561 h 836"/>
                <a:gd name="T74" fmla="*/ 259 w 936"/>
                <a:gd name="T75" fmla="*/ 429 h 836"/>
                <a:gd name="T76" fmla="*/ 205 w 936"/>
                <a:gd name="T77" fmla="*/ 346 h 836"/>
                <a:gd name="T78" fmla="*/ 156 w 936"/>
                <a:gd name="T79" fmla="*/ 271 h 836"/>
                <a:gd name="T80" fmla="*/ 128 w 936"/>
                <a:gd name="T81" fmla="*/ 221 h 836"/>
                <a:gd name="T82" fmla="*/ 107 w 936"/>
                <a:gd name="T83" fmla="*/ 182 h 836"/>
                <a:gd name="T84" fmla="*/ 91 w 936"/>
                <a:gd name="T85" fmla="*/ 174 h 836"/>
                <a:gd name="T86" fmla="*/ 60 w 936"/>
                <a:gd name="T87" fmla="*/ 171 h 836"/>
                <a:gd name="T88" fmla="*/ 45 w 936"/>
                <a:gd name="T89" fmla="*/ 173 h 836"/>
                <a:gd name="T90" fmla="*/ 40 w 936"/>
                <a:gd name="T91" fmla="*/ 172 h 836"/>
                <a:gd name="T92" fmla="*/ 33 w 936"/>
                <a:gd name="T93" fmla="*/ 171 h 836"/>
                <a:gd name="T94" fmla="*/ 20 w 936"/>
                <a:gd name="T95" fmla="*/ 164 h 836"/>
                <a:gd name="T96" fmla="*/ 11 w 936"/>
                <a:gd name="T97" fmla="*/ 178 h 836"/>
                <a:gd name="T98" fmla="*/ 0 w 936"/>
                <a:gd name="T99" fmla="*/ 167 h 836"/>
                <a:gd name="T100" fmla="*/ 15 w 936"/>
                <a:gd name="T101" fmla="*/ 154 h 836"/>
                <a:gd name="T102" fmla="*/ 17 w 936"/>
                <a:gd name="T103" fmla="*/ 137 h 836"/>
                <a:gd name="T104" fmla="*/ 37 w 936"/>
                <a:gd name="T105" fmla="*/ 50 h 836"/>
                <a:gd name="T106" fmla="*/ 70 w 936"/>
                <a:gd name="T107" fmla="*/ 19 h 836"/>
                <a:gd name="T108" fmla="*/ 251 w 936"/>
                <a:gd name="T109" fmla="*/ 11 h 836"/>
                <a:gd name="T110" fmla="*/ 429 w 936"/>
                <a:gd name="T111" fmla="*/ 76 h 836"/>
                <a:gd name="T112" fmla="*/ 526 w 936"/>
                <a:gd name="T113" fmla="*/ 23 h 836"/>
                <a:gd name="T114" fmla="*/ 557 w 936"/>
                <a:gd name="T115" fmla="*/ 129 h 836"/>
                <a:gd name="T116" fmla="*/ 672 w 936"/>
                <a:gd name="T117" fmla="*/ 145 h 836"/>
                <a:gd name="T118" fmla="*/ 740 w 936"/>
                <a:gd name="T119" fmla="*/ 157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6" h="836">
                  <a:moveTo>
                    <a:pt x="406" y="664"/>
                  </a:moveTo>
                  <a:lnTo>
                    <a:pt x="407" y="668"/>
                  </a:lnTo>
                  <a:lnTo>
                    <a:pt x="409" y="667"/>
                  </a:lnTo>
                  <a:lnTo>
                    <a:pt x="410" y="673"/>
                  </a:lnTo>
                  <a:lnTo>
                    <a:pt x="412" y="675"/>
                  </a:lnTo>
                  <a:lnTo>
                    <a:pt x="412" y="675"/>
                  </a:lnTo>
                  <a:lnTo>
                    <a:pt x="410" y="675"/>
                  </a:lnTo>
                  <a:lnTo>
                    <a:pt x="409" y="677"/>
                  </a:lnTo>
                  <a:lnTo>
                    <a:pt x="406" y="675"/>
                  </a:lnTo>
                  <a:lnTo>
                    <a:pt x="406" y="672"/>
                  </a:lnTo>
                  <a:lnTo>
                    <a:pt x="406" y="671"/>
                  </a:lnTo>
                  <a:lnTo>
                    <a:pt x="404" y="671"/>
                  </a:lnTo>
                  <a:lnTo>
                    <a:pt x="402" y="671"/>
                  </a:lnTo>
                  <a:lnTo>
                    <a:pt x="400" y="670"/>
                  </a:lnTo>
                  <a:lnTo>
                    <a:pt x="400" y="668"/>
                  </a:lnTo>
                  <a:lnTo>
                    <a:pt x="399" y="668"/>
                  </a:lnTo>
                  <a:lnTo>
                    <a:pt x="397" y="669"/>
                  </a:lnTo>
                  <a:lnTo>
                    <a:pt x="397" y="668"/>
                  </a:lnTo>
                  <a:lnTo>
                    <a:pt x="398" y="664"/>
                  </a:lnTo>
                  <a:lnTo>
                    <a:pt x="399" y="662"/>
                  </a:lnTo>
                  <a:lnTo>
                    <a:pt x="401" y="662"/>
                  </a:lnTo>
                  <a:lnTo>
                    <a:pt x="404" y="662"/>
                  </a:lnTo>
                  <a:lnTo>
                    <a:pt x="406" y="664"/>
                  </a:lnTo>
                  <a:close/>
                  <a:moveTo>
                    <a:pt x="376" y="666"/>
                  </a:moveTo>
                  <a:lnTo>
                    <a:pt x="379" y="667"/>
                  </a:lnTo>
                  <a:lnTo>
                    <a:pt x="385" y="670"/>
                  </a:lnTo>
                  <a:lnTo>
                    <a:pt x="388" y="670"/>
                  </a:lnTo>
                  <a:lnTo>
                    <a:pt x="390" y="670"/>
                  </a:lnTo>
                  <a:lnTo>
                    <a:pt x="391" y="671"/>
                  </a:lnTo>
                  <a:lnTo>
                    <a:pt x="392" y="673"/>
                  </a:lnTo>
                  <a:lnTo>
                    <a:pt x="389" y="673"/>
                  </a:lnTo>
                  <a:lnTo>
                    <a:pt x="388" y="676"/>
                  </a:lnTo>
                  <a:lnTo>
                    <a:pt x="390" y="677"/>
                  </a:lnTo>
                  <a:lnTo>
                    <a:pt x="391" y="677"/>
                  </a:lnTo>
                  <a:lnTo>
                    <a:pt x="393" y="675"/>
                  </a:lnTo>
                  <a:lnTo>
                    <a:pt x="396" y="673"/>
                  </a:lnTo>
                  <a:lnTo>
                    <a:pt x="399" y="673"/>
                  </a:lnTo>
                  <a:lnTo>
                    <a:pt x="399" y="674"/>
                  </a:lnTo>
                  <a:lnTo>
                    <a:pt x="396" y="676"/>
                  </a:lnTo>
                  <a:lnTo>
                    <a:pt x="395" y="677"/>
                  </a:lnTo>
                  <a:lnTo>
                    <a:pt x="393" y="678"/>
                  </a:lnTo>
                  <a:lnTo>
                    <a:pt x="391" y="682"/>
                  </a:lnTo>
                  <a:lnTo>
                    <a:pt x="389" y="684"/>
                  </a:lnTo>
                  <a:lnTo>
                    <a:pt x="385" y="682"/>
                  </a:lnTo>
                  <a:lnTo>
                    <a:pt x="383" y="678"/>
                  </a:lnTo>
                  <a:lnTo>
                    <a:pt x="379" y="676"/>
                  </a:lnTo>
                  <a:lnTo>
                    <a:pt x="372" y="668"/>
                  </a:lnTo>
                  <a:lnTo>
                    <a:pt x="371" y="667"/>
                  </a:lnTo>
                  <a:lnTo>
                    <a:pt x="372" y="666"/>
                  </a:lnTo>
                  <a:lnTo>
                    <a:pt x="372" y="664"/>
                  </a:lnTo>
                  <a:lnTo>
                    <a:pt x="370" y="662"/>
                  </a:lnTo>
                  <a:lnTo>
                    <a:pt x="369" y="660"/>
                  </a:lnTo>
                  <a:lnTo>
                    <a:pt x="369" y="659"/>
                  </a:lnTo>
                  <a:lnTo>
                    <a:pt x="370" y="659"/>
                  </a:lnTo>
                  <a:lnTo>
                    <a:pt x="372" y="661"/>
                  </a:lnTo>
                  <a:lnTo>
                    <a:pt x="375" y="664"/>
                  </a:lnTo>
                  <a:lnTo>
                    <a:pt x="376" y="666"/>
                  </a:lnTo>
                  <a:lnTo>
                    <a:pt x="376" y="666"/>
                  </a:lnTo>
                  <a:close/>
                  <a:moveTo>
                    <a:pt x="381" y="651"/>
                  </a:moveTo>
                  <a:lnTo>
                    <a:pt x="381" y="652"/>
                  </a:lnTo>
                  <a:lnTo>
                    <a:pt x="379" y="652"/>
                  </a:lnTo>
                  <a:lnTo>
                    <a:pt x="376" y="649"/>
                  </a:lnTo>
                  <a:lnTo>
                    <a:pt x="377" y="647"/>
                  </a:lnTo>
                  <a:lnTo>
                    <a:pt x="379" y="645"/>
                  </a:lnTo>
                  <a:lnTo>
                    <a:pt x="382" y="646"/>
                  </a:lnTo>
                  <a:lnTo>
                    <a:pt x="384" y="647"/>
                  </a:lnTo>
                  <a:lnTo>
                    <a:pt x="384" y="649"/>
                  </a:lnTo>
                  <a:lnTo>
                    <a:pt x="381" y="651"/>
                  </a:lnTo>
                  <a:lnTo>
                    <a:pt x="381" y="651"/>
                  </a:lnTo>
                  <a:close/>
                  <a:moveTo>
                    <a:pt x="360" y="646"/>
                  </a:moveTo>
                  <a:lnTo>
                    <a:pt x="368" y="652"/>
                  </a:lnTo>
                  <a:lnTo>
                    <a:pt x="369" y="653"/>
                  </a:lnTo>
                  <a:lnTo>
                    <a:pt x="369" y="655"/>
                  </a:lnTo>
                  <a:lnTo>
                    <a:pt x="372" y="656"/>
                  </a:lnTo>
                  <a:lnTo>
                    <a:pt x="375" y="657"/>
                  </a:lnTo>
                  <a:lnTo>
                    <a:pt x="379" y="660"/>
                  </a:lnTo>
                  <a:lnTo>
                    <a:pt x="384" y="665"/>
                  </a:lnTo>
                  <a:lnTo>
                    <a:pt x="386" y="667"/>
                  </a:lnTo>
                  <a:lnTo>
                    <a:pt x="386" y="667"/>
                  </a:lnTo>
                  <a:lnTo>
                    <a:pt x="384" y="668"/>
                  </a:lnTo>
                  <a:lnTo>
                    <a:pt x="382" y="666"/>
                  </a:lnTo>
                  <a:lnTo>
                    <a:pt x="380" y="664"/>
                  </a:lnTo>
                  <a:lnTo>
                    <a:pt x="378" y="664"/>
                  </a:lnTo>
                  <a:lnTo>
                    <a:pt x="376" y="661"/>
                  </a:lnTo>
                  <a:lnTo>
                    <a:pt x="375" y="661"/>
                  </a:lnTo>
                  <a:lnTo>
                    <a:pt x="374" y="661"/>
                  </a:lnTo>
                  <a:lnTo>
                    <a:pt x="372" y="661"/>
                  </a:lnTo>
                  <a:lnTo>
                    <a:pt x="370" y="659"/>
                  </a:lnTo>
                  <a:lnTo>
                    <a:pt x="369" y="657"/>
                  </a:lnTo>
                  <a:lnTo>
                    <a:pt x="368" y="657"/>
                  </a:lnTo>
                  <a:lnTo>
                    <a:pt x="367" y="655"/>
                  </a:lnTo>
                  <a:lnTo>
                    <a:pt x="367" y="654"/>
                  </a:lnTo>
                  <a:lnTo>
                    <a:pt x="365" y="653"/>
                  </a:lnTo>
                  <a:lnTo>
                    <a:pt x="362" y="653"/>
                  </a:lnTo>
                  <a:lnTo>
                    <a:pt x="362" y="652"/>
                  </a:lnTo>
                  <a:lnTo>
                    <a:pt x="361" y="649"/>
                  </a:lnTo>
                  <a:lnTo>
                    <a:pt x="359" y="647"/>
                  </a:lnTo>
                  <a:lnTo>
                    <a:pt x="355" y="648"/>
                  </a:lnTo>
                  <a:lnTo>
                    <a:pt x="354" y="649"/>
                  </a:lnTo>
                  <a:lnTo>
                    <a:pt x="353" y="650"/>
                  </a:lnTo>
                  <a:lnTo>
                    <a:pt x="353" y="648"/>
                  </a:lnTo>
                  <a:lnTo>
                    <a:pt x="354" y="646"/>
                  </a:lnTo>
                  <a:lnTo>
                    <a:pt x="356" y="645"/>
                  </a:lnTo>
                  <a:lnTo>
                    <a:pt x="360" y="646"/>
                  </a:lnTo>
                  <a:lnTo>
                    <a:pt x="360" y="646"/>
                  </a:lnTo>
                  <a:close/>
                  <a:moveTo>
                    <a:pt x="393" y="642"/>
                  </a:moveTo>
                  <a:lnTo>
                    <a:pt x="393" y="644"/>
                  </a:lnTo>
                  <a:lnTo>
                    <a:pt x="391" y="643"/>
                  </a:lnTo>
                  <a:lnTo>
                    <a:pt x="391" y="645"/>
                  </a:lnTo>
                  <a:lnTo>
                    <a:pt x="391" y="645"/>
                  </a:lnTo>
                  <a:lnTo>
                    <a:pt x="392" y="648"/>
                  </a:lnTo>
                  <a:lnTo>
                    <a:pt x="393" y="653"/>
                  </a:lnTo>
                  <a:lnTo>
                    <a:pt x="393" y="655"/>
                  </a:lnTo>
                  <a:lnTo>
                    <a:pt x="391" y="652"/>
                  </a:lnTo>
                  <a:lnTo>
                    <a:pt x="390" y="651"/>
                  </a:lnTo>
                  <a:lnTo>
                    <a:pt x="389" y="649"/>
                  </a:lnTo>
                  <a:lnTo>
                    <a:pt x="389" y="640"/>
                  </a:lnTo>
                  <a:lnTo>
                    <a:pt x="390" y="639"/>
                  </a:lnTo>
                  <a:lnTo>
                    <a:pt x="391" y="638"/>
                  </a:lnTo>
                  <a:lnTo>
                    <a:pt x="392" y="639"/>
                  </a:lnTo>
                  <a:lnTo>
                    <a:pt x="393" y="641"/>
                  </a:lnTo>
                  <a:lnTo>
                    <a:pt x="393" y="642"/>
                  </a:lnTo>
                  <a:lnTo>
                    <a:pt x="393" y="642"/>
                  </a:lnTo>
                  <a:close/>
                  <a:moveTo>
                    <a:pt x="333" y="635"/>
                  </a:moveTo>
                  <a:lnTo>
                    <a:pt x="338" y="639"/>
                  </a:lnTo>
                  <a:lnTo>
                    <a:pt x="340" y="641"/>
                  </a:lnTo>
                  <a:lnTo>
                    <a:pt x="342" y="641"/>
                  </a:lnTo>
                  <a:lnTo>
                    <a:pt x="344" y="641"/>
                  </a:lnTo>
                  <a:lnTo>
                    <a:pt x="345" y="644"/>
                  </a:lnTo>
                  <a:lnTo>
                    <a:pt x="346" y="645"/>
                  </a:lnTo>
                  <a:lnTo>
                    <a:pt x="347" y="645"/>
                  </a:lnTo>
                  <a:lnTo>
                    <a:pt x="349" y="643"/>
                  </a:lnTo>
                  <a:lnTo>
                    <a:pt x="350" y="643"/>
                  </a:lnTo>
                  <a:lnTo>
                    <a:pt x="353" y="645"/>
                  </a:lnTo>
                  <a:lnTo>
                    <a:pt x="353" y="646"/>
                  </a:lnTo>
                  <a:lnTo>
                    <a:pt x="351" y="648"/>
                  </a:lnTo>
                  <a:lnTo>
                    <a:pt x="350" y="648"/>
                  </a:lnTo>
                  <a:lnTo>
                    <a:pt x="349" y="648"/>
                  </a:lnTo>
                  <a:lnTo>
                    <a:pt x="346" y="647"/>
                  </a:lnTo>
                  <a:lnTo>
                    <a:pt x="333" y="639"/>
                  </a:lnTo>
                  <a:lnTo>
                    <a:pt x="330" y="639"/>
                  </a:lnTo>
                  <a:lnTo>
                    <a:pt x="329" y="641"/>
                  </a:lnTo>
                  <a:lnTo>
                    <a:pt x="327" y="640"/>
                  </a:lnTo>
                  <a:lnTo>
                    <a:pt x="323" y="638"/>
                  </a:lnTo>
                  <a:lnTo>
                    <a:pt x="322" y="635"/>
                  </a:lnTo>
                  <a:lnTo>
                    <a:pt x="321" y="631"/>
                  </a:lnTo>
                  <a:lnTo>
                    <a:pt x="322" y="628"/>
                  </a:lnTo>
                  <a:lnTo>
                    <a:pt x="326" y="624"/>
                  </a:lnTo>
                  <a:lnTo>
                    <a:pt x="328" y="621"/>
                  </a:lnTo>
                  <a:lnTo>
                    <a:pt x="330" y="620"/>
                  </a:lnTo>
                  <a:lnTo>
                    <a:pt x="330" y="622"/>
                  </a:lnTo>
                  <a:lnTo>
                    <a:pt x="329" y="624"/>
                  </a:lnTo>
                  <a:lnTo>
                    <a:pt x="326" y="628"/>
                  </a:lnTo>
                  <a:lnTo>
                    <a:pt x="326" y="630"/>
                  </a:lnTo>
                  <a:lnTo>
                    <a:pt x="327" y="631"/>
                  </a:lnTo>
                  <a:lnTo>
                    <a:pt x="328" y="632"/>
                  </a:lnTo>
                  <a:lnTo>
                    <a:pt x="330" y="632"/>
                  </a:lnTo>
                  <a:lnTo>
                    <a:pt x="331" y="633"/>
                  </a:lnTo>
                  <a:lnTo>
                    <a:pt x="333" y="635"/>
                  </a:lnTo>
                  <a:lnTo>
                    <a:pt x="333" y="635"/>
                  </a:lnTo>
                  <a:close/>
                  <a:moveTo>
                    <a:pt x="337" y="618"/>
                  </a:moveTo>
                  <a:lnTo>
                    <a:pt x="338" y="619"/>
                  </a:lnTo>
                  <a:lnTo>
                    <a:pt x="340" y="618"/>
                  </a:lnTo>
                  <a:lnTo>
                    <a:pt x="340" y="619"/>
                  </a:lnTo>
                  <a:lnTo>
                    <a:pt x="339" y="621"/>
                  </a:lnTo>
                  <a:lnTo>
                    <a:pt x="338" y="622"/>
                  </a:lnTo>
                  <a:lnTo>
                    <a:pt x="336" y="621"/>
                  </a:lnTo>
                  <a:lnTo>
                    <a:pt x="332" y="618"/>
                  </a:lnTo>
                  <a:lnTo>
                    <a:pt x="331" y="617"/>
                  </a:lnTo>
                  <a:lnTo>
                    <a:pt x="330" y="615"/>
                  </a:lnTo>
                  <a:lnTo>
                    <a:pt x="329" y="609"/>
                  </a:lnTo>
                  <a:lnTo>
                    <a:pt x="329" y="602"/>
                  </a:lnTo>
                  <a:lnTo>
                    <a:pt x="331" y="595"/>
                  </a:lnTo>
                  <a:lnTo>
                    <a:pt x="336" y="592"/>
                  </a:lnTo>
                  <a:lnTo>
                    <a:pt x="333" y="596"/>
                  </a:lnTo>
                  <a:lnTo>
                    <a:pt x="331" y="599"/>
                  </a:lnTo>
                  <a:lnTo>
                    <a:pt x="331" y="603"/>
                  </a:lnTo>
                  <a:lnTo>
                    <a:pt x="332" y="606"/>
                  </a:lnTo>
                  <a:lnTo>
                    <a:pt x="336" y="609"/>
                  </a:lnTo>
                  <a:lnTo>
                    <a:pt x="338" y="610"/>
                  </a:lnTo>
                  <a:lnTo>
                    <a:pt x="338" y="611"/>
                  </a:lnTo>
                  <a:lnTo>
                    <a:pt x="337" y="614"/>
                  </a:lnTo>
                  <a:lnTo>
                    <a:pt x="337" y="617"/>
                  </a:lnTo>
                  <a:lnTo>
                    <a:pt x="337" y="618"/>
                  </a:lnTo>
                  <a:close/>
                  <a:moveTo>
                    <a:pt x="740" y="157"/>
                  </a:moveTo>
                  <a:lnTo>
                    <a:pt x="743" y="160"/>
                  </a:lnTo>
                  <a:lnTo>
                    <a:pt x="746" y="162"/>
                  </a:lnTo>
                  <a:lnTo>
                    <a:pt x="750" y="164"/>
                  </a:lnTo>
                  <a:lnTo>
                    <a:pt x="804" y="176"/>
                  </a:lnTo>
                  <a:lnTo>
                    <a:pt x="813" y="180"/>
                  </a:lnTo>
                  <a:lnTo>
                    <a:pt x="819" y="183"/>
                  </a:lnTo>
                  <a:lnTo>
                    <a:pt x="823" y="188"/>
                  </a:lnTo>
                  <a:lnTo>
                    <a:pt x="823" y="189"/>
                  </a:lnTo>
                  <a:lnTo>
                    <a:pt x="828" y="192"/>
                  </a:lnTo>
                  <a:lnTo>
                    <a:pt x="832" y="196"/>
                  </a:lnTo>
                  <a:lnTo>
                    <a:pt x="843" y="201"/>
                  </a:lnTo>
                  <a:lnTo>
                    <a:pt x="862" y="217"/>
                  </a:lnTo>
                  <a:lnTo>
                    <a:pt x="872" y="228"/>
                  </a:lnTo>
                  <a:lnTo>
                    <a:pt x="874" y="231"/>
                  </a:lnTo>
                  <a:lnTo>
                    <a:pt x="876" y="236"/>
                  </a:lnTo>
                  <a:lnTo>
                    <a:pt x="894" y="310"/>
                  </a:lnTo>
                  <a:lnTo>
                    <a:pt x="895" y="313"/>
                  </a:lnTo>
                  <a:lnTo>
                    <a:pt x="898" y="317"/>
                  </a:lnTo>
                  <a:lnTo>
                    <a:pt x="901" y="320"/>
                  </a:lnTo>
                  <a:lnTo>
                    <a:pt x="907" y="324"/>
                  </a:lnTo>
                  <a:lnTo>
                    <a:pt x="928" y="335"/>
                  </a:lnTo>
                  <a:lnTo>
                    <a:pt x="932" y="338"/>
                  </a:lnTo>
                  <a:lnTo>
                    <a:pt x="935" y="342"/>
                  </a:lnTo>
                  <a:lnTo>
                    <a:pt x="936" y="346"/>
                  </a:lnTo>
                  <a:lnTo>
                    <a:pt x="935" y="350"/>
                  </a:lnTo>
                  <a:lnTo>
                    <a:pt x="933" y="354"/>
                  </a:lnTo>
                  <a:lnTo>
                    <a:pt x="932" y="358"/>
                  </a:lnTo>
                  <a:lnTo>
                    <a:pt x="928" y="361"/>
                  </a:lnTo>
                  <a:lnTo>
                    <a:pt x="907" y="380"/>
                  </a:lnTo>
                  <a:lnTo>
                    <a:pt x="900" y="389"/>
                  </a:lnTo>
                  <a:lnTo>
                    <a:pt x="895" y="400"/>
                  </a:lnTo>
                  <a:lnTo>
                    <a:pt x="885" y="430"/>
                  </a:lnTo>
                  <a:lnTo>
                    <a:pt x="882" y="436"/>
                  </a:lnTo>
                  <a:lnTo>
                    <a:pt x="879" y="440"/>
                  </a:lnTo>
                  <a:lnTo>
                    <a:pt x="877" y="442"/>
                  </a:lnTo>
                  <a:lnTo>
                    <a:pt x="871" y="434"/>
                  </a:lnTo>
                  <a:lnTo>
                    <a:pt x="868" y="431"/>
                  </a:lnTo>
                  <a:lnTo>
                    <a:pt x="865" y="429"/>
                  </a:lnTo>
                  <a:lnTo>
                    <a:pt x="860" y="428"/>
                  </a:lnTo>
                  <a:lnTo>
                    <a:pt x="791" y="440"/>
                  </a:lnTo>
                  <a:lnTo>
                    <a:pt x="775" y="440"/>
                  </a:lnTo>
                  <a:lnTo>
                    <a:pt x="766" y="438"/>
                  </a:lnTo>
                  <a:lnTo>
                    <a:pt x="760" y="436"/>
                  </a:lnTo>
                  <a:lnTo>
                    <a:pt x="739" y="420"/>
                  </a:lnTo>
                  <a:lnTo>
                    <a:pt x="718" y="413"/>
                  </a:lnTo>
                  <a:lnTo>
                    <a:pt x="713" y="410"/>
                  </a:lnTo>
                  <a:lnTo>
                    <a:pt x="708" y="406"/>
                  </a:lnTo>
                  <a:lnTo>
                    <a:pt x="706" y="399"/>
                  </a:lnTo>
                  <a:lnTo>
                    <a:pt x="704" y="395"/>
                  </a:lnTo>
                  <a:lnTo>
                    <a:pt x="700" y="392"/>
                  </a:lnTo>
                  <a:lnTo>
                    <a:pt x="697" y="391"/>
                  </a:lnTo>
                  <a:lnTo>
                    <a:pt x="695" y="394"/>
                  </a:lnTo>
                  <a:lnTo>
                    <a:pt x="694" y="396"/>
                  </a:lnTo>
                  <a:lnTo>
                    <a:pt x="695" y="401"/>
                  </a:lnTo>
                  <a:lnTo>
                    <a:pt x="696" y="404"/>
                  </a:lnTo>
                  <a:lnTo>
                    <a:pt x="695" y="407"/>
                  </a:lnTo>
                  <a:lnTo>
                    <a:pt x="691" y="409"/>
                  </a:lnTo>
                  <a:lnTo>
                    <a:pt x="687" y="409"/>
                  </a:lnTo>
                  <a:lnTo>
                    <a:pt x="683" y="407"/>
                  </a:lnTo>
                  <a:lnTo>
                    <a:pt x="670" y="401"/>
                  </a:lnTo>
                  <a:lnTo>
                    <a:pt x="665" y="400"/>
                  </a:lnTo>
                  <a:lnTo>
                    <a:pt x="661" y="399"/>
                  </a:lnTo>
                  <a:lnTo>
                    <a:pt x="657" y="400"/>
                  </a:lnTo>
                  <a:lnTo>
                    <a:pt x="655" y="401"/>
                  </a:lnTo>
                  <a:lnTo>
                    <a:pt x="640" y="413"/>
                  </a:lnTo>
                  <a:lnTo>
                    <a:pt x="635" y="416"/>
                  </a:lnTo>
                  <a:lnTo>
                    <a:pt x="630" y="418"/>
                  </a:lnTo>
                  <a:lnTo>
                    <a:pt x="627" y="417"/>
                  </a:lnTo>
                  <a:lnTo>
                    <a:pt x="625" y="413"/>
                  </a:lnTo>
                  <a:lnTo>
                    <a:pt x="625" y="410"/>
                  </a:lnTo>
                  <a:lnTo>
                    <a:pt x="626" y="406"/>
                  </a:lnTo>
                  <a:lnTo>
                    <a:pt x="626" y="403"/>
                  </a:lnTo>
                  <a:lnTo>
                    <a:pt x="625" y="399"/>
                  </a:lnTo>
                  <a:lnTo>
                    <a:pt x="622" y="396"/>
                  </a:lnTo>
                  <a:lnTo>
                    <a:pt x="611" y="388"/>
                  </a:lnTo>
                  <a:lnTo>
                    <a:pt x="609" y="386"/>
                  </a:lnTo>
                  <a:lnTo>
                    <a:pt x="608" y="382"/>
                  </a:lnTo>
                  <a:lnTo>
                    <a:pt x="607" y="380"/>
                  </a:lnTo>
                  <a:lnTo>
                    <a:pt x="608" y="376"/>
                  </a:lnTo>
                  <a:lnTo>
                    <a:pt x="607" y="374"/>
                  </a:lnTo>
                  <a:lnTo>
                    <a:pt x="605" y="372"/>
                  </a:lnTo>
                  <a:lnTo>
                    <a:pt x="602" y="369"/>
                  </a:lnTo>
                  <a:lnTo>
                    <a:pt x="600" y="368"/>
                  </a:lnTo>
                  <a:lnTo>
                    <a:pt x="595" y="367"/>
                  </a:lnTo>
                  <a:lnTo>
                    <a:pt x="579" y="367"/>
                  </a:lnTo>
                  <a:lnTo>
                    <a:pt x="572" y="365"/>
                  </a:lnTo>
                  <a:lnTo>
                    <a:pt x="566" y="363"/>
                  </a:lnTo>
                  <a:lnTo>
                    <a:pt x="563" y="359"/>
                  </a:lnTo>
                  <a:lnTo>
                    <a:pt x="554" y="345"/>
                  </a:lnTo>
                  <a:lnTo>
                    <a:pt x="550" y="339"/>
                  </a:lnTo>
                  <a:lnTo>
                    <a:pt x="547" y="331"/>
                  </a:lnTo>
                  <a:lnTo>
                    <a:pt x="542" y="314"/>
                  </a:lnTo>
                  <a:lnTo>
                    <a:pt x="541" y="311"/>
                  </a:lnTo>
                  <a:lnTo>
                    <a:pt x="538" y="307"/>
                  </a:lnTo>
                  <a:lnTo>
                    <a:pt x="534" y="304"/>
                  </a:lnTo>
                  <a:lnTo>
                    <a:pt x="531" y="304"/>
                  </a:lnTo>
                  <a:lnTo>
                    <a:pt x="528" y="304"/>
                  </a:lnTo>
                  <a:lnTo>
                    <a:pt x="497" y="320"/>
                  </a:lnTo>
                  <a:lnTo>
                    <a:pt x="493" y="321"/>
                  </a:lnTo>
                  <a:lnTo>
                    <a:pt x="489" y="322"/>
                  </a:lnTo>
                  <a:lnTo>
                    <a:pt x="485" y="322"/>
                  </a:lnTo>
                  <a:lnTo>
                    <a:pt x="478" y="321"/>
                  </a:lnTo>
                  <a:lnTo>
                    <a:pt x="474" y="319"/>
                  </a:lnTo>
                  <a:lnTo>
                    <a:pt x="459" y="310"/>
                  </a:lnTo>
                  <a:lnTo>
                    <a:pt x="451" y="307"/>
                  </a:lnTo>
                  <a:lnTo>
                    <a:pt x="446" y="305"/>
                  </a:lnTo>
                  <a:lnTo>
                    <a:pt x="442" y="305"/>
                  </a:lnTo>
                  <a:lnTo>
                    <a:pt x="438" y="307"/>
                  </a:lnTo>
                  <a:lnTo>
                    <a:pt x="395" y="327"/>
                  </a:lnTo>
                  <a:lnTo>
                    <a:pt x="376" y="332"/>
                  </a:lnTo>
                  <a:lnTo>
                    <a:pt x="373" y="334"/>
                  </a:lnTo>
                  <a:lnTo>
                    <a:pt x="369" y="337"/>
                  </a:lnTo>
                  <a:lnTo>
                    <a:pt x="369" y="340"/>
                  </a:lnTo>
                  <a:lnTo>
                    <a:pt x="369" y="343"/>
                  </a:lnTo>
                  <a:lnTo>
                    <a:pt x="372" y="345"/>
                  </a:lnTo>
                  <a:lnTo>
                    <a:pt x="376" y="345"/>
                  </a:lnTo>
                  <a:lnTo>
                    <a:pt x="386" y="343"/>
                  </a:lnTo>
                  <a:lnTo>
                    <a:pt x="390" y="343"/>
                  </a:lnTo>
                  <a:lnTo>
                    <a:pt x="391" y="343"/>
                  </a:lnTo>
                  <a:lnTo>
                    <a:pt x="395" y="344"/>
                  </a:lnTo>
                  <a:lnTo>
                    <a:pt x="398" y="347"/>
                  </a:lnTo>
                  <a:lnTo>
                    <a:pt x="400" y="350"/>
                  </a:lnTo>
                  <a:lnTo>
                    <a:pt x="402" y="351"/>
                  </a:lnTo>
                  <a:lnTo>
                    <a:pt x="403" y="355"/>
                  </a:lnTo>
                  <a:lnTo>
                    <a:pt x="406" y="366"/>
                  </a:lnTo>
                  <a:lnTo>
                    <a:pt x="406" y="371"/>
                  </a:lnTo>
                  <a:lnTo>
                    <a:pt x="406" y="381"/>
                  </a:lnTo>
                  <a:lnTo>
                    <a:pt x="402" y="407"/>
                  </a:lnTo>
                  <a:lnTo>
                    <a:pt x="402" y="415"/>
                  </a:lnTo>
                  <a:lnTo>
                    <a:pt x="403" y="419"/>
                  </a:lnTo>
                  <a:lnTo>
                    <a:pt x="404" y="424"/>
                  </a:lnTo>
                  <a:lnTo>
                    <a:pt x="406" y="427"/>
                  </a:lnTo>
                  <a:lnTo>
                    <a:pt x="408" y="432"/>
                  </a:lnTo>
                  <a:lnTo>
                    <a:pt x="411" y="435"/>
                  </a:lnTo>
                  <a:lnTo>
                    <a:pt x="414" y="439"/>
                  </a:lnTo>
                  <a:lnTo>
                    <a:pt x="418" y="441"/>
                  </a:lnTo>
                  <a:lnTo>
                    <a:pt x="422" y="443"/>
                  </a:lnTo>
                  <a:lnTo>
                    <a:pt x="442" y="449"/>
                  </a:lnTo>
                  <a:lnTo>
                    <a:pt x="445" y="450"/>
                  </a:lnTo>
                  <a:lnTo>
                    <a:pt x="448" y="454"/>
                  </a:lnTo>
                  <a:lnTo>
                    <a:pt x="450" y="458"/>
                  </a:lnTo>
                  <a:lnTo>
                    <a:pt x="450" y="463"/>
                  </a:lnTo>
                  <a:lnTo>
                    <a:pt x="449" y="467"/>
                  </a:lnTo>
                  <a:lnTo>
                    <a:pt x="448" y="470"/>
                  </a:lnTo>
                  <a:lnTo>
                    <a:pt x="437" y="487"/>
                  </a:lnTo>
                  <a:lnTo>
                    <a:pt x="435" y="495"/>
                  </a:lnTo>
                  <a:lnTo>
                    <a:pt x="434" y="498"/>
                  </a:lnTo>
                  <a:lnTo>
                    <a:pt x="434" y="502"/>
                  </a:lnTo>
                  <a:lnTo>
                    <a:pt x="434" y="506"/>
                  </a:lnTo>
                  <a:lnTo>
                    <a:pt x="435" y="510"/>
                  </a:lnTo>
                  <a:lnTo>
                    <a:pt x="444" y="530"/>
                  </a:lnTo>
                  <a:lnTo>
                    <a:pt x="447" y="537"/>
                  </a:lnTo>
                  <a:lnTo>
                    <a:pt x="449" y="545"/>
                  </a:lnTo>
                  <a:lnTo>
                    <a:pt x="450" y="548"/>
                  </a:lnTo>
                  <a:lnTo>
                    <a:pt x="451" y="550"/>
                  </a:lnTo>
                  <a:lnTo>
                    <a:pt x="453" y="549"/>
                  </a:lnTo>
                  <a:lnTo>
                    <a:pt x="460" y="545"/>
                  </a:lnTo>
                  <a:lnTo>
                    <a:pt x="464" y="543"/>
                  </a:lnTo>
                  <a:lnTo>
                    <a:pt x="467" y="544"/>
                  </a:lnTo>
                  <a:lnTo>
                    <a:pt x="497" y="562"/>
                  </a:lnTo>
                  <a:lnTo>
                    <a:pt x="499" y="563"/>
                  </a:lnTo>
                  <a:lnTo>
                    <a:pt x="501" y="565"/>
                  </a:lnTo>
                  <a:lnTo>
                    <a:pt x="504" y="575"/>
                  </a:lnTo>
                  <a:lnTo>
                    <a:pt x="505" y="579"/>
                  </a:lnTo>
                  <a:lnTo>
                    <a:pt x="507" y="583"/>
                  </a:lnTo>
                  <a:lnTo>
                    <a:pt x="510" y="586"/>
                  </a:lnTo>
                  <a:lnTo>
                    <a:pt x="532" y="605"/>
                  </a:lnTo>
                  <a:lnTo>
                    <a:pt x="534" y="609"/>
                  </a:lnTo>
                  <a:lnTo>
                    <a:pt x="537" y="612"/>
                  </a:lnTo>
                  <a:lnTo>
                    <a:pt x="540" y="617"/>
                  </a:lnTo>
                  <a:lnTo>
                    <a:pt x="545" y="632"/>
                  </a:lnTo>
                  <a:lnTo>
                    <a:pt x="551" y="654"/>
                  </a:lnTo>
                  <a:lnTo>
                    <a:pt x="552" y="658"/>
                  </a:lnTo>
                  <a:lnTo>
                    <a:pt x="554" y="659"/>
                  </a:lnTo>
                  <a:lnTo>
                    <a:pt x="557" y="660"/>
                  </a:lnTo>
                  <a:lnTo>
                    <a:pt x="567" y="660"/>
                  </a:lnTo>
                  <a:lnTo>
                    <a:pt x="571" y="661"/>
                  </a:lnTo>
                  <a:lnTo>
                    <a:pt x="573" y="662"/>
                  </a:lnTo>
                  <a:lnTo>
                    <a:pt x="575" y="664"/>
                  </a:lnTo>
                  <a:lnTo>
                    <a:pt x="577" y="668"/>
                  </a:lnTo>
                  <a:lnTo>
                    <a:pt x="577" y="671"/>
                  </a:lnTo>
                  <a:lnTo>
                    <a:pt x="571" y="714"/>
                  </a:lnTo>
                  <a:lnTo>
                    <a:pt x="573" y="774"/>
                  </a:lnTo>
                  <a:lnTo>
                    <a:pt x="572" y="777"/>
                  </a:lnTo>
                  <a:lnTo>
                    <a:pt x="571" y="781"/>
                  </a:lnTo>
                  <a:lnTo>
                    <a:pt x="567" y="785"/>
                  </a:lnTo>
                  <a:lnTo>
                    <a:pt x="564" y="788"/>
                  </a:lnTo>
                  <a:lnTo>
                    <a:pt x="559" y="790"/>
                  </a:lnTo>
                  <a:lnTo>
                    <a:pt x="556" y="791"/>
                  </a:lnTo>
                  <a:lnTo>
                    <a:pt x="547" y="791"/>
                  </a:lnTo>
                  <a:lnTo>
                    <a:pt x="540" y="790"/>
                  </a:lnTo>
                  <a:lnTo>
                    <a:pt x="536" y="789"/>
                  </a:lnTo>
                  <a:lnTo>
                    <a:pt x="533" y="790"/>
                  </a:lnTo>
                  <a:lnTo>
                    <a:pt x="528" y="792"/>
                  </a:lnTo>
                  <a:lnTo>
                    <a:pt x="525" y="796"/>
                  </a:lnTo>
                  <a:lnTo>
                    <a:pt x="520" y="801"/>
                  </a:lnTo>
                  <a:lnTo>
                    <a:pt x="517" y="806"/>
                  </a:lnTo>
                  <a:lnTo>
                    <a:pt x="512" y="808"/>
                  </a:lnTo>
                  <a:lnTo>
                    <a:pt x="508" y="809"/>
                  </a:lnTo>
                  <a:lnTo>
                    <a:pt x="504" y="811"/>
                  </a:lnTo>
                  <a:lnTo>
                    <a:pt x="498" y="812"/>
                  </a:lnTo>
                  <a:lnTo>
                    <a:pt x="484" y="812"/>
                  </a:lnTo>
                  <a:lnTo>
                    <a:pt x="481" y="813"/>
                  </a:lnTo>
                  <a:lnTo>
                    <a:pt x="478" y="815"/>
                  </a:lnTo>
                  <a:lnTo>
                    <a:pt x="475" y="817"/>
                  </a:lnTo>
                  <a:lnTo>
                    <a:pt x="473" y="821"/>
                  </a:lnTo>
                  <a:lnTo>
                    <a:pt x="472" y="823"/>
                  </a:lnTo>
                  <a:lnTo>
                    <a:pt x="470" y="835"/>
                  </a:lnTo>
                  <a:lnTo>
                    <a:pt x="469" y="836"/>
                  </a:lnTo>
                  <a:lnTo>
                    <a:pt x="459" y="820"/>
                  </a:lnTo>
                  <a:lnTo>
                    <a:pt x="449" y="806"/>
                  </a:lnTo>
                  <a:lnTo>
                    <a:pt x="444" y="799"/>
                  </a:lnTo>
                  <a:lnTo>
                    <a:pt x="444" y="794"/>
                  </a:lnTo>
                  <a:lnTo>
                    <a:pt x="444" y="793"/>
                  </a:lnTo>
                  <a:lnTo>
                    <a:pt x="444" y="791"/>
                  </a:lnTo>
                  <a:lnTo>
                    <a:pt x="444" y="789"/>
                  </a:lnTo>
                  <a:lnTo>
                    <a:pt x="444" y="788"/>
                  </a:lnTo>
                  <a:lnTo>
                    <a:pt x="443" y="787"/>
                  </a:lnTo>
                  <a:lnTo>
                    <a:pt x="440" y="790"/>
                  </a:lnTo>
                  <a:lnTo>
                    <a:pt x="438" y="790"/>
                  </a:lnTo>
                  <a:lnTo>
                    <a:pt x="436" y="788"/>
                  </a:lnTo>
                  <a:lnTo>
                    <a:pt x="434" y="784"/>
                  </a:lnTo>
                  <a:lnTo>
                    <a:pt x="430" y="778"/>
                  </a:lnTo>
                  <a:lnTo>
                    <a:pt x="435" y="778"/>
                  </a:lnTo>
                  <a:lnTo>
                    <a:pt x="438" y="779"/>
                  </a:lnTo>
                  <a:lnTo>
                    <a:pt x="443" y="779"/>
                  </a:lnTo>
                  <a:lnTo>
                    <a:pt x="446" y="777"/>
                  </a:lnTo>
                  <a:lnTo>
                    <a:pt x="449" y="775"/>
                  </a:lnTo>
                  <a:lnTo>
                    <a:pt x="449" y="765"/>
                  </a:lnTo>
                  <a:lnTo>
                    <a:pt x="452" y="758"/>
                  </a:lnTo>
                  <a:lnTo>
                    <a:pt x="451" y="754"/>
                  </a:lnTo>
                  <a:lnTo>
                    <a:pt x="449" y="746"/>
                  </a:lnTo>
                  <a:lnTo>
                    <a:pt x="448" y="741"/>
                  </a:lnTo>
                  <a:lnTo>
                    <a:pt x="449" y="730"/>
                  </a:lnTo>
                  <a:lnTo>
                    <a:pt x="448" y="726"/>
                  </a:lnTo>
                  <a:lnTo>
                    <a:pt x="448" y="722"/>
                  </a:lnTo>
                  <a:lnTo>
                    <a:pt x="446" y="718"/>
                  </a:lnTo>
                  <a:lnTo>
                    <a:pt x="444" y="715"/>
                  </a:lnTo>
                  <a:lnTo>
                    <a:pt x="441" y="711"/>
                  </a:lnTo>
                  <a:lnTo>
                    <a:pt x="439" y="709"/>
                  </a:lnTo>
                  <a:lnTo>
                    <a:pt x="437" y="708"/>
                  </a:lnTo>
                  <a:lnTo>
                    <a:pt x="436" y="707"/>
                  </a:lnTo>
                  <a:lnTo>
                    <a:pt x="434" y="703"/>
                  </a:lnTo>
                  <a:lnTo>
                    <a:pt x="433" y="701"/>
                  </a:lnTo>
                  <a:lnTo>
                    <a:pt x="429" y="699"/>
                  </a:lnTo>
                  <a:lnTo>
                    <a:pt x="426" y="695"/>
                  </a:lnTo>
                  <a:lnTo>
                    <a:pt x="423" y="691"/>
                  </a:lnTo>
                  <a:lnTo>
                    <a:pt x="421" y="687"/>
                  </a:lnTo>
                  <a:lnTo>
                    <a:pt x="421" y="685"/>
                  </a:lnTo>
                  <a:lnTo>
                    <a:pt x="421" y="681"/>
                  </a:lnTo>
                  <a:lnTo>
                    <a:pt x="420" y="679"/>
                  </a:lnTo>
                  <a:lnTo>
                    <a:pt x="419" y="677"/>
                  </a:lnTo>
                  <a:lnTo>
                    <a:pt x="416" y="675"/>
                  </a:lnTo>
                  <a:lnTo>
                    <a:pt x="415" y="673"/>
                  </a:lnTo>
                  <a:lnTo>
                    <a:pt x="419" y="671"/>
                  </a:lnTo>
                  <a:lnTo>
                    <a:pt x="416" y="667"/>
                  </a:lnTo>
                  <a:lnTo>
                    <a:pt x="409" y="659"/>
                  </a:lnTo>
                  <a:lnTo>
                    <a:pt x="407" y="657"/>
                  </a:lnTo>
                  <a:lnTo>
                    <a:pt x="405" y="648"/>
                  </a:lnTo>
                  <a:lnTo>
                    <a:pt x="404" y="647"/>
                  </a:lnTo>
                  <a:lnTo>
                    <a:pt x="401" y="646"/>
                  </a:lnTo>
                  <a:lnTo>
                    <a:pt x="400" y="645"/>
                  </a:lnTo>
                  <a:lnTo>
                    <a:pt x="400" y="644"/>
                  </a:lnTo>
                  <a:lnTo>
                    <a:pt x="400" y="641"/>
                  </a:lnTo>
                  <a:lnTo>
                    <a:pt x="399" y="639"/>
                  </a:lnTo>
                  <a:lnTo>
                    <a:pt x="396" y="632"/>
                  </a:lnTo>
                  <a:lnTo>
                    <a:pt x="395" y="631"/>
                  </a:lnTo>
                  <a:lnTo>
                    <a:pt x="393" y="629"/>
                  </a:lnTo>
                  <a:lnTo>
                    <a:pt x="388" y="627"/>
                  </a:lnTo>
                  <a:lnTo>
                    <a:pt x="386" y="626"/>
                  </a:lnTo>
                  <a:lnTo>
                    <a:pt x="379" y="616"/>
                  </a:lnTo>
                  <a:lnTo>
                    <a:pt x="375" y="610"/>
                  </a:lnTo>
                  <a:lnTo>
                    <a:pt x="371" y="609"/>
                  </a:lnTo>
                  <a:lnTo>
                    <a:pt x="371" y="612"/>
                  </a:lnTo>
                  <a:lnTo>
                    <a:pt x="372" y="614"/>
                  </a:lnTo>
                  <a:lnTo>
                    <a:pt x="373" y="616"/>
                  </a:lnTo>
                  <a:lnTo>
                    <a:pt x="371" y="617"/>
                  </a:lnTo>
                  <a:lnTo>
                    <a:pt x="369" y="617"/>
                  </a:lnTo>
                  <a:lnTo>
                    <a:pt x="363" y="613"/>
                  </a:lnTo>
                  <a:lnTo>
                    <a:pt x="361" y="612"/>
                  </a:lnTo>
                  <a:lnTo>
                    <a:pt x="360" y="611"/>
                  </a:lnTo>
                  <a:lnTo>
                    <a:pt x="356" y="606"/>
                  </a:lnTo>
                  <a:lnTo>
                    <a:pt x="354" y="604"/>
                  </a:lnTo>
                  <a:lnTo>
                    <a:pt x="354" y="603"/>
                  </a:lnTo>
                  <a:lnTo>
                    <a:pt x="354" y="599"/>
                  </a:lnTo>
                  <a:lnTo>
                    <a:pt x="354" y="598"/>
                  </a:lnTo>
                  <a:lnTo>
                    <a:pt x="353" y="597"/>
                  </a:lnTo>
                  <a:lnTo>
                    <a:pt x="351" y="597"/>
                  </a:lnTo>
                  <a:lnTo>
                    <a:pt x="349" y="592"/>
                  </a:lnTo>
                  <a:lnTo>
                    <a:pt x="349" y="587"/>
                  </a:lnTo>
                  <a:lnTo>
                    <a:pt x="351" y="583"/>
                  </a:lnTo>
                  <a:lnTo>
                    <a:pt x="354" y="579"/>
                  </a:lnTo>
                  <a:lnTo>
                    <a:pt x="356" y="576"/>
                  </a:lnTo>
                  <a:lnTo>
                    <a:pt x="357" y="571"/>
                  </a:lnTo>
                  <a:lnTo>
                    <a:pt x="356" y="565"/>
                  </a:lnTo>
                  <a:lnTo>
                    <a:pt x="354" y="561"/>
                  </a:lnTo>
                  <a:lnTo>
                    <a:pt x="351" y="556"/>
                  </a:lnTo>
                  <a:lnTo>
                    <a:pt x="346" y="554"/>
                  </a:lnTo>
                  <a:lnTo>
                    <a:pt x="339" y="552"/>
                  </a:lnTo>
                  <a:lnTo>
                    <a:pt x="334" y="552"/>
                  </a:lnTo>
                  <a:lnTo>
                    <a:pt x="328" y="549"/>
                  </a:lnTo>
                  <a:lnTo>
                    <a:pt x="324" y="544"/>
                  </a:lnTo>
                  <a:lnTo>
                    <a:pt x="314" y="519"/>
                  </a:lnTo>
                  <a:lnTo>
                    <a:pt x="309" y="512"/>
                  </a:lnTo>
                  <a:lnTo>
                    <a:pt x="302" y="502"/>
                  </a:lnTo>
                  <a:lnTo>
                    <a:pt x="290" y="472"/>
                  </a:lnTo>
                  <a:lnTo>
                    <a:pt x="277" y="448"/>
                  </a:lnTo>
                  <a:lnTo>
                    <a:pt x="269" y="438"/>
                  </a:lnTo>
                  <a:lnTo>
                    <a:pt x="259" y="429"/>
                  </a:lnTo>
                  <a:lnTo>
                    <a:pt x="255" y="424"/>
                  </a:lnTo>
                  <a:lnTo>
                    <a:pt x="252" y="416"/>
                  </a:lnTo>
                  <a:lnTo>
                    <a:pt x="247" y="407"/>
                  </a:lnTo>
                  <a:lnTo>
                    <a:pt x="243" y="396"/>
                  </a:lnTo>
                  <a:lnTo>
                    <a:pt x="241" y="396"/>
                  </a:lnTo>
                  <a:lnTo>
                    <a:pt x="238" y="394"/>
                  </a:lnTo>
                  <a:lnTo>
                    <a:pt x="234" y="388"/>
                  </a:lnTo>
                  <a:lnTo>
                    <a:pt x="224" y="378"/>
                  </a:lnTo>
                  <a:lnTo>
                    <a:pt x="210" y="360"/>
                  </a:lnTo>
                  <a:lnTo>
                    <a:pt x="205" y="351"/>
                  </a:lnTo>
                  <a:lnTo>
                    <a:pt x="204" y="350"/>
                  </a:lnTo>
                  <a:lnTo>
                    <a:pt x="204" y="348"/>
                  </a:lnTo>
                  <a:lnTo>
                    <a:pt x="205" y="346"/>
                  </a:lnTo>
                  <a:lnTo>
                    <a:pt x="206" y="343"/>
                  </a:lnTo>
                  <a:lnTo>
                    <a:pt x="207" y="342"/>
                  </a:lnTo>
                  <a:lnTo>
                    <a:pt x="206" y="339"/>
                  </a:lnTo>
                  <a:lnTo>
                    <a:pt x="203" y="334"/>
                  </a:lnTo>
                  <a:lnTo>
                    <a:pt x="188" y="316"/>
                  </a:lnTo>
                  <a:lnTo>
                    <a:pt x="180" y="311"/>
                  </a:lnTo>
                  <a:lnTo>
                    <a:pt x="178" y="309"/>
                  </a:lnTo>
                  <a:lnTo>
                    <a:pt x="174" y="304"/>
                  </a:lnTo>
                  <a:lnTo>
                    <a:pt x="170" y="297"/>
                  </a:lnTo>
                  <a:lnTo>
                    <a:pt x="165" y="291"/>
                  </a:lnTo>
                  <a:lnTo>
                    <a:pt x="158" y="280"/>
                  </a:lnTo>
                  <a:lnTo>
                    <a:pt x="157" y="275"/>
                  </a:lnTo>
                  <a:lnTo>
                    <a:pt x="156" y="271"/>
                  </a:lnTo>
                  <a:lnTo>
                    <a:pt x="156" y="265"/>
                  </a:lnTo>
                  <a:lnTo>
                    <a:pt x="155" y="261"/>
                  </a:lnTo>
                  <a:lnTo>
                    <a:pt x="153" y="259"/>
                  </a:lnTo>
                  <a:lnTo>
                    <a:pt x="148" y="252"/>
                  </a:lnTo>
                  <a:lnTo>
                    <a:pt x="144" y="247"/>
                  </a:lnTo>
                  <a:lnTo>
                    <a:pt x="141" y="236"/>
                  </a:lnTo>
                  <a:lnTo>
                    <a:pt x="137" y="231"/>
                  </a:lnTo>
                  <a:lnTo>
                    <a:pt x="135" y="229"/>
                  </a:lnTo>
                  <a:lnTo>
                    <a:pt x="132" y="228"/>
                  </a:lnTo>
                  <a:lnTo>
                    <a:pt x="131" y="228"/>
                  </a:lnTo>
                  <a:lnTo>
                    <a:pt x="130" y="226"/>
                  </a:lnTo>
                  <a:lnTo>
                    <a:pt x="129" y="224"/>
                  </a:lnTo>
                  <a:lnTo>
                    <a:pt x="128" y="221"/>
                  </a:lnTo>
                  <a:lnTo>
                    <a:pt x="127" y="214"/>
                  </a:lnTo>
                  <a:lnTo>
                    <a:pt x="125" y="212"/>
                  </a:lnTo>
                  <a:lnTo>
                    <a:pt x="116" y="202"/>
                  </a:lnTo>
                  <a:lnTo>
                    <a:pt x="113" y="198"/>
                  </a:lnTo>
                  <a:lnTo>
                    <a:pt x="113" y="196"/>
                  </a:lnTo>
                  <a:lnTo>
                    <a:pt x="109" y="194"/>
                  </a:lnTo>
                  <a:lnTo>
                    <a:pt x="101" y="188"/>
                  </a:lnTo>
                  <a:lnTo>
                    <a:pt x="101" y="190"/>
                  </a:lnTo>
                  <a:lnTo>
                    <a:pt x="100" y="190"/>
                  </a:lnTo>
                  <a:lnTo>
                    <a:pt x="98" y="187"/>
                  </a:lnTo>
                  <a:lnTo>
                    <a:pt x="100" y="185"/>
                  </a:lnTo>
                  <a:lnTo>
                    <a:pt x="105" y="183"/>
                  </a:lnTo>
                  <a:lnTo>
                    <a:pt x="107" y="182"/>
                  </a:lnTo>
                  <a:lnTo>
                    <a:pt x="109" y="182"/>
                  </a:lnTo>
                  <a:lnTo>
                    <a:pt x="109" y="182"/>
                  </a:lnTo>
                  <a:lnTo>
                    <a:pt x="107" y="178"/>
                  </a:lnTo>
                  <a:lnTo>
                    <a:pt x="106" y="178"/>
                  </a:lnTo>
                  <a:lnTo>
                    <a:pt x="102" y="176"/>
                  </a:lnTo>
                  <a:lnTo>
                    <a:pt x="100" y="176"/>
                  </a:lnTo>
                  <a:lnTo>
                    <a:pt x="99" y="176"/>
                  </a:lnTo>
                  <a:lnTo>
                    <a:pt x="99" y="177"/>
                  </a:lnTo>
                  <a:lnTo>
                    <a:pt x="98" y="177"/>
                  </a:lnTo>
                  <a:lnTo>
                    <a:pt x="97" y="175"/>
                  </a:lnTo>
                  <a:lnTo>
                    <a:pt x="95" y="174"/>
                  </a:lnTo>
                  <a:lnTo>
                    <a:pt x="94" y="174"/>
                  </a:lnTo>
                  <a:lnTo>
                    <a:pt x="91" y="174"/>
                  </a:lnTo>
                  <a:lnTo>
                    <a:pt x="90" y="174"/>
                  </a:lnTo>
                  <a:lnTo>
                    <a:pt x="88" y="171"/>
                  </a:lnTo>
                  <a:lnTo>
                    <a:pt x="80" y="166"/>
                  </a:lnTo>
                  <a:lnTo>
                    <a:pt x="78" y="167"/>
                  </a:lnTo>
                  <a:lnTo>
                    <a:pt x="75" y="167"/>
                  </a:lnTo>
                  <a:lnTo>
                    <a:pt x="75" y="167"/>
                  </a:lnTo>
                  <a:lnTo>
                    <a:pt x="75" y="169"/>
                  </a:lnTo>
                  <a:lnTo>
                    <a:pt x="73" y="167"/>
                  </a:lnTo>
                  <a:lnTo>
                    <a:pt x="70" y="167"/>
                  </a:lnTo>
                  <a:lnTo>
                    <a:pt x="68" y="167"/>
                  </a:lnTo>
                  <a:lnTo>
                    <a:pt x="67" y="169"/>
                  </a:lnTo>
                  <a:lnTo>
                    <a:pt x="62" y="170"/>
                  </a:lnTo>
                  <a:lnTo>
                    <a:pt x="60" y="171"/>
                  </a:lnTo>
                  <a:lnTo>
                    <a:pt x="60" y="172"/>
                  </a:lnTo>
                  <a:lnTo>
                    <a:pt x="59" y="174"/>
                  </a:lnTo>
                  <a:lnTo>
                    <a:pt x="58" y="174"/>
                  </a:lnTo>
                  <a:lnTo>
                    <a:pt x="58" y="173"/>
                  </a:lnTo>
                  <a:lnTo>
                    <a:pt x="57" y="173"/>
                  </a:lnTo>
                  <a:lnTo>
                    <a:pt x="54" y="173"/>
                  </a:lnTo>
                  <a:lnTo>
                    <a:pt x="51" y="172"/>
                  </a:lnTo>
                  <a:lnTo>
                    <a:pt x="47" y="173"/>
                  </a:lnTo>
                  <a:lnTo>
                    <a:pt x="45" y="175"/>
                  </a:lnTo>
                  <a:lnTo>
                    <a:pt x="45" y="174"/>
                  </a:lnTo>
                  <a:lnTo>
                    <a:pt x="44" y="174"/>
                  </a:lnTo>
                  <a:lnTo>
                    <a:pt x="44" y="173"/>
                  </a:lnTo>
                  <a:lnTo>
                    <a:pt x="45" y="173"/>
                  </a:lnTo>
                  <a:lnTo>
                    <a:pt x="45" y="171"/>
                  </a:lnTo>
                  <a:lnTo>
                    <a:pt x="45" y="169"/>
                  </a:lnTo>
                  <a:lnTo>
                    <a:pt x="45" y="168"/>
                  </a:lnTo>
                  <a:lnTo>
                    <a:pt x="49" y="167"/>
                  </a:lnTo>
                  <a:lnTo>
                    <a:pt x="47" y="167"/>
                  </a:lnTo>
                  <a:lnTo>
                    <a:pt x="45" y="166"/>
                  </a:lnTo>
                  <a:lnTo>
                    <a:pt x="44" y="167"/>
                  </a:lnTo>
                  <a:lnTo>
                    <a:pt x="42" y="167"/>
                  </a:lnTo>
                  <a:lnTo>
                    <a:pt x="42" y="168"/>
                  </a:lnTo>
                  <a:lnTo>
                    <a:pt x="43" y="168"/>
                  </a:lnTo>
                  <a:lnTo>
                    <a:pt x="43" y="169"/>
                  </a:lnTo>
                  <a:lnTo>
                    <a:pt x="41" y="170"/>
                  </a:lnTo>
                  <a:lnTo>
                    <a:pt x="40" y="172"/>
                  </a:lnTo>
                  <a:lnTo>
                    <a:pt x="38" y="175"/>
                  </a:lnTo>
                  <a:lnTo>
                    <a:pt x="37" y="175"/>
                  </a:lnTo>
                  <a:lnTo>
                    <a:pt x="37" y="174"/>
                  </a:lnTo>
                  <a:lnTo>
                    <a:pt x="37" y="171"/>
                  </a:lnTo>
                  <a:lnTo>
                    <a:pt x="39" y="170"/>
                  </a:lnTo>
                  <a:lnTo>
                    <a:pt x="41" y="169"/>
                  </a:lnTo>
                  <a:lnTo>
                    <a:pt x="41" y="167"/>
                  </a:lnTo>
                  <a:lnTo>
                    <a:pt x="38" y="167"/>
                  </a:lnTo>
                  <a:lnTo>
                    <a:pt x="37" y="167"/>
                  </a:lnTo>
                  <a:lnTo>
                    <a:pt x="35" y="168"/>
                  </a:lnTo>
                  <a:lnTo>
                    <a:pt x="35" y="171"/>
                  </a:lnTo>
                  <a:lnTo>
                    <a:pt x="34" y="170"/>
                  </a:lnTo>
                  <a:lnTo>
                    <a:pt x="33" y="171"/>
                  </a:lnTo>
                  <a:lnTo>
                    <a:pt x="33" y="168"/>
                  </a:lnTo>
                  <a:lnTo>
                    <a:pt x="31" y="168"/>
                  </a:lnTo>
                  <a:lnTo>
                    <a:pt x="31" y="169"/>
                  </a:lnTo>
                  <a:lnTo>
                    <a:pt x="30" y="169"/>
                  </a:lnTo>
                  <a:lnTo>
                    <a:pt x="30" y="168"/>
                  </a:lnTo>
                  <a:lnTo>
                    <a:pt x="29" y="167"/>
                  </a:lnTo>
                  <a:lnTo>
                    <a:pt x="28" y="167"/>
                  </a:lnTo>
                  <a:lnTo>
                    <a:pt x="27" y="168"/>
                  </a:lnTo>
                  <a:lnTo>
                    <a:pt x="25" y="167"/>
                  </a:lnTo>
                  <a:lnTo>
                    <a:pt x="23" y="164"/>
                  </a:lnTo>
                  <a:lnTo>
                    <a:pt x="22" y="162"/>
                  </a:lnTo>
                  <a:lnTo>
                    <a:pt x="21" y="164"/>
                  </a:lnTo>
                  <a:lnTo>
                    <a:pt x="20" y="164"/>
                  </a:lnTo>
                  <a:lnTo>
                    <a:pt x="18" y="163"/>
                  </a:lnTo>
                  <a:lnTo>
                    <a:pt x="17" y="164"/>
                  </a:lnTo>
                  <a:lnTo>
                    <a:pt x="17" y="166"/>
                  </a:lnTo>
                  <a:lnTo>
                    <a:pt x="16" y="167"/>
                  </a:lnTo>
                  <a:lnTo>
                    <a:pt x="13" y="169"/>
                  </a:lnTo>
                  <a:lnTo>
                    <a:pt x="12" y="169"/>
                  </a:lnTo>
                  <a:lnTo>
                    <a:pt x="12" y="171"/>
                  </a:lnTo>
                  <a:lnTo>
                    <a:pt x="15" y="174"/>
                  </a:lnTo>
                  <a:lnTo>
                    <a:pt x="15" y="175"/>
                  </a:lnTo>
                  <a:lnTo>
                    <a:pt x="15" y="175"/>
                  </a:lnTo>
                  <a:lnTo>
                    <a:pt x="14" y="176"/>
                  </a:lnTo>
                  <a:lnTo>
                    <a:pt x="12" y="175"/>
                  </a:lnTo>
                  <a:lnTo>
                    <a:pt x="11" y="178"/>
                  </a:lnTo>
                  <a:lnTo>
                    <a:pt x="11" y="181"/>
                  </a:lnTo>
                  <a:lnTo>
                    <a:pt x="10" y="182"/>
                  </a:lnTo>
                  <a:lnTo>
                    <a:pt x="7" y="182"/>
                  </a:lnTo>
                  <a:lnTo>
                    <a:pt x="7" y="182"/>
                  </a:lnTo>
                  <a:lnTo>
                    <a:pt x="7" y="182"/>
                  </a:lnTo>
                  <a:lnTo>
                    <a:pt x="7" y="180"/>
                  </a:lnTo>
                  <a:lnTo>
                    <a:pt x="6" y="177"/>
                  </a:lnTo>
                  <a:lnTo>
                    <a:pt x="5" y="175"/>
                  </a:lnTo>
                  <a:lnTo>
                    <a:pt x="5" y="170"/>
                  </a:lnTo>
                  <a:lnTo>
                    <a:pt x="4" y="169"/>
                  </a:lnTo>
                  <a:lnTo>
                    <a:pt x="0" y="171"/>
                  </a:lnTo>
                  <a:lnTo>
                    <a:pt x="0" y="168"/>
                  </a:lnTo>
                  <a:lnTo>
                    <a:pt x="0" y="167"/>
                  </a:lnTo>
                  <a:lnTo>
                    <a:pt x="2" y="164"/>
                  </a:lnTo>
                  <a:lnTo>
                    <a:pt x="3" y="162"/>
                  </a:lnTo>
                  <a:lnTo>
                    <a:pt x="5" y="161"/>
                  </a:lnTo>
                  <a:lnTo>
                    <a:pt x="5" y="160"/>
                  </a:lnTo>
                  <a:lnTo>
                    <a:pt x="7" y="160"/>
                  </a:lnTo>
                  <a:lnTo>
                    <a:pt x="8" y="158"/>
                  </a:lnTo>
                  <a:lnTo>
                    <a:pt x="7" y="157"/>
                  </a:lnTo>
                  <a:lnTo>
                    <a:pt x="8" y="155"/>
                  </a:lnTo>
                  <a:lnTo>
                    <a:pt x="11" y="154"/>
                  </a:lnTo>
                  <a:lnTo>
                    <a:pt x="11" y="156"/>
                  </a:lnTo>
                  <a:lnTo>
                    <a:pt x="13" y="157"/>
                  </a:lnTo>
                  <a:lnTo>
                    <a:pt x="14" y="156"/>
                  </a:lnTo>
                  <a:lnTo>
                    <a:pt x="15" y="154"/>
                  </a:lnTo>
                  <a:lnTo>
                    <a:pt x="14" y="154"/>
                  </a:lnTo>
                  <a:lnTo>
                    <a:pt x="14" y="152"/>
                  </a:lnTo>
                  <a:lnTo>
                    <a:pt x="12" y="152"/>
                  </a:lnTo>
                  <a:lnTo>
                    <a:pt x="12" y="150"/>
                  </a:lnTo>
                  <a:lnTo>
                    <a:pt x="14" y="150"/>
                  </a:lnTo>
                  <a:lnTo>
                    <a:pt x="15" y="149"/>
                  </a:lnTo>
                  <a:lnTo>
                    <a:pt x="15" y="147"/>
                  </a:lnTo>
                  <a:lnTo>
                    <a:pt x="15" y="146"/>
                  </a:lnTo>
                  <a:lnTo>
                    <a:pt x="16" y="137"/>
                  </a:lnTo>
                  <a:lnTo>
                    <a:pt x="18" y="137"/>
                  </a:lnTo>
                  <a:lnTo>
                    <a:pt x="19" y="137"/>
                  </a:lnTo>
                  <a:lnTo>
                    <a:pt x="19" y="136"/>
                  </a:lnTo>
                  <a:lnTo>
                    <a:pt x="17" y="137"/>
                  </a:lnTo>
                  <a:lnTo>
                    <a:pt x="16" y="136"/>
                  </a:lnTo>
                  <a:lnTo>
                    <a:pt x="20" y="132"/>
                  </a:lnTo>
                  <a:lnTo>
                    <a:pt x="23" y="126"/>
                  </a:lnTo>
                  <a:lnTo>
                    <a:pt x="26" y="120"/>
                  </a:lnTo>
                  <a:lnTo>
                    <a:pt x="28" y="110"/>
                  </a:lnTo>
                  <a:lnTo>
                    <a:pt x="31" y="106"/>
                  </a:lnTo>
                  <a:lnTo>
                    <a:pt x="32" y="99"/>
                  </a:lnTo>
                  <a:lnTo>
                    <a:pt x="33" y="97"/>
                  </a:lnTo>
                  <a:lnTo>
                    <a:pt x="38" y="88"/>
                  </a:lnTo>
                  <a:lnTo>
                    <a:pt x="37" y="79"/>
                  </a:lnTo>
                  <a:lnTo>
                    <a:pt x="37" y="70"/>
                  </a:lnTo>
                  <a:lnTo>
                    <a:pt x="34" y="61"/>
                  </a:lnTo>
                  <a:lnTo>
                    <a:pt x="37" y="50"/>
                  </a:lnTo>
                  <a:lnTo>
                    <a:pt x="39" y="44"/>
                  </a:lnTo>
                  <a:lnTo>
                    <a:pt x="42" y="39"/>
                  </a:lnTo>
                  <a:lnTo>
                    <a:pt x="42" y="38"/>
                  </a:lnTo>
                  <a:lnTo>
                    <a:pt x="41" y="38"/>
                  </a:lnTo>
                  <a:lnTo>
                    <a:pt x="44" y="33"/>
                  </a:lnTo>
                  <a:lnTo>
                    <a:pt x="44" y="30"/>
                  </a:lnTo>
                  <a:lnTo>
                    <a:pt x="43" y="29"/>
                  </a:lnTo>
                  <a:lnTo>
                    <a:pt x="43" y="27"/>
                  </a:lnTo>
                  <a:lnTo>
                    <a:pt x="45" y="22"/>
                  </a:lnTo>
                  <a:lnTo>
                    <a:pt x="45" y="20"/>
                  </a:lnTo>
                  <a:lnTo>
                    <a:pt x="59" y="19"/>
                  </a:lnTo>
                  <a:lnTo>
                    <a:pt x="65" y="18"/>
                  </a:lnTo>
                  <a:lnTo>
                    <a:pt x="70" y="19"/>
                  </a:lnTo>
                  <a:lnTo>
                    <a:pt x="84" y="22"/>
                  </a:lnTo>
                  <a:lnTo>
                    <a:pt x="108" y="24"/>
                  </a:lnTo>
                  <a:lnTo>
                    <a:pt x="112" y="23"/>
                  </a:lnTo>
                  <a:lnTo>
                    <a:pt x="115" y="22"/>
                  </a:lnTo>
                  <a:lnTo>
                    <a:pt x="120" y="16"/>
                  </a:lnTo>
                  <a:lnTo>
                    <a:pt x="127" y="14"/>
                  </a:lnTo>
                  <a:lnTo>
                    <a:pt x="134" y="11"/>
                  </a:lnTo>
                  <a:lnTo>
                    <a:pt x="168" y="5"/>
                  </a:lnTo>
                  <a:lnTo>
                    <a:pt x="190" y="3"/>
                  </a:lnTo>
                  <a:lnTo>
                    <a:pt x="203" y="0"/>
                  </a:lnTo>
                  <a:lnTo>
                    <a:pt x="214" y="0"/>
                  </a:lnTo>
                  <a:lnTo>
                    <a:pt x="247" y="8"/>
                  </a:lnTo>
                  <a:lnTo>
                    <a:pt x="251" y="11"/>
                  </a:lnTo>
                  <a:lnTo>
                    <a:pt x="258" y="15"/>
                  </a:lnTo>
                  <a:lnTo>
                    <a:pt x="263" y="21"/>
                  </a:lnTo>
                  <a:lnTo>
                    <a:pt x="307" y="77"/>
                  </a:lnTo>
                  <a:lnTo>
                    <a:pt x="308" y="78"/>
                  </a:lnTo>
                  <a:lnTo>
                    <a:pt x="309" y="79"/>
                  </a:lnTo>
                  <a:lnTo>
                    <a:pt x="316" y="82"/>
                  </a:lnTo>
                  <a:lnTo>
                    <a:pt x="320" y="82"/>
                  </a:lnTo>
                  <a:lnTo>
                    <a:pt x="323" y="82"/>
                  </a:lnTo>
                  <a:lnTo>
                    <a:pt x="341" y="75"/>
                  </a:lnTo>
                  <a:lnTo>
                    <a:pt x="381" y="66"/>
                  </a:lnTo>
                  <a:lnTo>
                    <a:pt x="395" y="66"/>
                  </a:lnTo>
                  <a:lnTo>
                    <a:pt x="404" y="67"/>
                  </a:lnTo>
                  <a:lnTo>
                    <a:pt x="429" y="76"/>
                  </a:lnTo>
                  <a:lnTo>
                    <a:pt x="444" y="78"/>
                  </a:lnTo>
                  <a:lnTo>
                    <a:pt x="473" y="80"/>
                  </a:lnTo>
                  <a:lnTo>
                    <a:pt x="477" y="79"/>
                  </a:lnTo>
                  <a:lnTo>
                    <a:pt x="481" y="77"/>
                  </a:lnTo>
                  <a:lnTo>
                    <a:pt x="483" y="74"/>
                  </a:lnTo>
                  <a:lnTo>
                    <a:pt x="486" y="70"/>
                  </a:lnTo>
                  <a:lnTo>
                    <a:pt x="492" y="53"/>
                  </a:lnTo>
                  <a:lnTo>
                    <a:pt x="494" y="48"/>
                  </a:lnTo>
                  <a:lnTo>
                    <a:pt x="497" y="45"/>
                  </a:lnTo>
                  <a:lnTo>
                    <a:pt x="500" y="42"/>
                  </a:lnTo>
                  <a:lnTo>
                    <a:pt x="512" y="35"/>
                  </a:lnTo>
                  <a:lnTo>
                    <a:pt x="522" y="24"/>
                  </a:lnTo>
                  <a:lnTo>
                    <a:pt x="526" y="23"/>
                  </a:lnTo>
                  <a:lnTo>
                    <a:pt x="529" y="24"/>
                  </a:lnTo>
                  <a:lnTo>
                    <a:pt x="532" y="26"/>
                  </a:lnTo>
                  <a:lnTo>
                    <a:pt x="534" y="30"/>
                  </a:lnTo>
                  <a:lnTo>
                    <a:pt x="534" y="35"/>
                  </a:lnTo>
                  <a:lnTo>
                    <a:pt x="533" y="65"/>
                  </a:lnTo>
                  <a:lnTo>
                    <a:pt x="534" y="83"/>
                  </a:lnTo>
                  <a:lnTo>
                    <a:pt x="534" y="93"/>
                  </a:lnTo>
                  <a:lnTo>
                    <a:pt x="536" y="101"/>
                  </a:lnTo>
                  <a:lnTo>
                    <a:pt x="539" y="107"/>
                  </a:lnTo>
                  <a:lnTo>
                    <a:pt x="542" y="112"/>
                  </a:lnTo>
                  <a:lnTo>
                    <a:pt x="543" y="116"/>
                  </a:lnTo>
                  <a:lnTo>
                    <a:pt x="547" y="120"/>
                  </a:lnTo>
                  <a:lnTo>
                    <a:pt x="557" y="129"/>
                  </a:lnTo>
                  <a:lnTo>
                    <a:pt x="565" y="133"/>
                  </a:lnTo>
                  <a:lnTo>
                    <a:pt x="584" y="139"/>
                  </a:lnTo>
                  <a:lnTo>
                    <a:pt x="594" y="142"/>
                  </a:lnTo>
                  <a:lnTo>
                    <a:pt x="628" y="145"/>
                  </a:lnTo>
                  <a:lnTo>
                    <a:pt x="633" y="144"/>
                  </a:lnTo>
                  <a:lnTo>
                    <a:pt x="640" y="143"/>
                  </a:lnTo>
                  <a:lnTo>
                    <a:pt x="644" y="141"/>
                  </a:lnTo>
                  <a:lnTo>
                    <a:pt x="649" y="139"/>
                  </a:lnTo>
                  <a:lnTo>
                    <a:pt x="653" y="140"/>
                  </a:lnTo>
                  <a:lnTo>
                    <a:pt x="659" y="144"/>
                  </a:lnTo>
                  <a:lnTo>
                    <a:pt x="662" y="145"/>
                  </a:lnTo>
                  <a:lnTo>
                    <a:pt x="665" y="145"/>
                  </a:lnTo>
                  <a:lnTo>
                    <a:pt x="672" y="145"/>
                  </a:lnTo>
                  <a:lnTo>
                    <a:pt x="677" y="157"/>
                  </a:lnTo>
                  <a:lnTo>
                    <a:pt x="680" y="160"/>
                  </a:lnTo>
                  <a:lnTo>
                    <a:pt x="684" y="162"/>
                  </a:lnTo>
                  <a:lnTo>
                    <a:pt x="688" y="162"/>
                  </a:lnTo>
                  <a:lnTo>
                    <a:pt x="692" y="162"/>
                  </a:lnTo>
                  <a:lnTo>
                    <a:pt x="696" y="160"/>
                  </a:lnTo>
                  <a:lnTo>
                    <a:pt x="714" y="152"/>
                  </a:lnTo>
                  <a:lnTo>
                    <a:pt x="718" y="150"/>
                  </a:lnTo>
                  <a:lnTo>
                    <a:pt x="724" y="149"/>
                  </a:lnTo>
                  <a:lnTo>
                    <a:pt x="729" y="149"/>
                  </a:lnTo>
                  <a:lnTo>
                    <a:pt x="731" y="150"/>
                  </a:lnTo>
                  <a:lnTo>
                    <a:pt x="734" y="152"/>
                  </a:lnTo>
                  <a:lnTo>
                    <a:pt x="740" y="157"/>
                  </a:lnTo>
                  <a:lnTo>
                    <a:pt x="740" y="157"/>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99" name="Freeform 13">
              <a:extLst>
                <a:ext uri="{FF2B5EF4-FFF2-40B4-BE49-F238E27FC236}"/>
              </a:extLst>
            </p:cNvPr>
            <p:cNvSpPr>
              <a:spLocks/>
            </p:cNvSpPr>
            <p:nvPr/>
          </p:nvSpPr>
          <p:spPr bwMode="auto">
            <a:xfrm>
              <a:off x="2568611" y="1851025"/>
              <a:ext cx="2277196" cy="1431602"/>
            </a:xfrm>
            <a:custGeom>
              <a:avLst/>
              <a:gdLst>
                <a:gd name="T0" fmla="*/ 1329 w 1433"/>
                <a:gd name="T1" fmla="*/ 639 h 901"/>
                <a:gd name="T2" fmla="*/ 1230 w 1433"/>
                <a:gd name="T3" fmla="*/ 795 h 901"/>
                <a:gd name="T4" fmla="*/ 1186 w 1433"/>
                <a:gd name="T5" fmla="*/ 859 h 901"/>
                <a:gd name="T6" fmla="*/ 1185 w 1433"/>
                <a:gd name="T7" fmla="*/ 875 h 901"/>
                <a:gd name="T8" fmla="*/ 1186 w 1433"/>
                <a:gd name="T9" fmla="*/ 897 h 901"/>
                <a:gd name="T10" fmla="*/ 1171 w 1433"/>
                <a:gd name="T11" fmla="*/ 899 h 901"/>
                <a:gd name="T12" fmla="*/ 1159 w 1433"/>
                <a:gd name="T13" fmla="*/ 884 h 901"/>
                <a:gd name="T14" fmla="*/ 1115 w 1433"/>
                <a:gd name="T15" fmla="*/ 846 h 901"/>
                <a:gd name="T16" fmla="*/ 1048 w 1433"/>
                <a:gd name="T17" fmla="*/ 832 h 901"/>
                <a:gd name="T18" fmla="*/ 1019 w 1433"/>
                <a:gd name="T19" fmla="*/ 779 h 901"/>
                <a:gd name="T20" fmla="*/ 980 w 1433"/>
                <a:gd name="T21" fmla="*/ 719 h 901"/>
                <a:gd name="T22" fmla="*/ 943 w 1433"/>
                <a:gd name="T23" fmla="*/ 738 h 901"/>
                <a:gd name="T24" fmla="*/ 911 w 1433"/>
                <a:gd name="T25" fmla="*/ 726 h 901"/>
                <a:gd name="T26" fmla="*/ 880 w 1433"/>
                <a:gd name="T27" fmla="*/ 726 h 901"/>
                <a:gd name="T28" fmla="*/ 863 w 1433"/>
                <a:gd name="T29" fmla="*/ 710 h 901"/>
                <a:gd name="T30" fmla="*/ 860 w 1433"/>
                <a:gd name="T31" fmla="*/ 688 h 901"/>
                <a:gd name="T32" fmla="*/ 844 w 1433"/>
                <a:gd name="T33" fmla="*/ 686 h 901"/>
                <a:gd name="T34" fmla="*/ 816 w 1433"/>
                <a:gd name="T35" fmla="*/ 698 h 901"/>
                <a:gd name="T36" fmla="*/ 791 w 1433"/>
                <a:gd name="T37" fmla="*/ 691 h 901"/>
                <a:gd name="T38" fmla="*/ 758 w 1433"/>
                <a:gd name="T39" fmla="*/ 656 h 901"/>
                <a:gd name="T40" fmla="*/ 670 w 1433"/>
                <a:gd name="T41" fmla="*/ 641 h 901"/>
                <a:gd name="T42" fmla="*/ 636 w 1433"/>
                <a:gd name="T43" fmla="*/ 646 h 901"/>
                <a:gd name="T44" fmla="*/ 571 w 1433"/>
                <a:gd name="T45" fmla="*/ 632 h 901"/>
                <a:gd name="T46" fmla="*/ 450 w 1433"/>
                <a:gd name="T47" fmla="*/ 643 h 901"/>
                <a:gd name="T48" fmla="*/ 478 w 1433"/>
                <a:gd name="T49" fmla="*/ 608 h 901"/>
                <a:gd name="T50" fmla="*/ 487 w 1433"/>
                <a:gd name="T51" fmla="*/ 532 h 901"/>
                <a:gd name="T52" fmla="*/ 652 w 1433"/>
                <a:gd name="T53" fmla="*/ 422 h 901"/>
                <a:gd name="T54" fmla="*/ 678 w 1433"/>
                <a:gd name="T55" fmla="*/ 396 h 901"/>
                <a:gd name="T56" fmla="*/ 640 w 1433"/>
                <a:gd name="T57" fmla="*/ 360 h 901"/>
                <a:gd name="T58" fmla="*/ 622 w 1433"/>
                <a:gd name="T59" fmla="*/ 327 h 901"/>
                <a:gd name="T60" fmla="*/ 603 w 1433"/>
                <a:gd name="T61" fmla="*/ 313 h 901"/>
                <a:gd name="T62" fmla="*/ 556 w 1433"/>
                <a:gd name="T63" fmla="*/ 306 h 901"/>
                <a:gd name="T64" fmla="*/ 505 w 1433"/>
                <a:gd name="T65" fmla="*/ 273 h 901"/>
                <a:gd name="T66" fmla="*/ 372 w 1433"/>
                <a:gd name="T67" fmla="*/ 268 h 901"/>
                <a:gd name="T68" fmla="*/ 346 w 1433"/>
                <a:gd name="T69" fmla="*/ 250 h 901"/>
                <a:gd name="T70" fmla="*/ 201 w 1433"/>
                <a:gd name="T71" fmla="*/ 228 h 901"/>
                <a:gd name="T72" fmla="*/ 60 w 1433"/>
                <a:gd name="T73" fmla="*/ 241 h 901"/>
                <a:gd name="T74" fmla="*/ 45 w 1433"/>
                <a:gd name="T75" fmla="*/ 230 h 901"/>
                <a:gd name="T76" fmla="*/ 26 w 1433"/>
                <a:gd name="T77" fmla="*/ 198 h 901"/>
                <a:gd name="T78" fmla="*/ 3 w 1433"/>
                <a:gd name="T79" fmla="*/ 175 h 901"/>
                <a:gd name="T80" fmla="*/ 1 w 1433"/>
                <a:gd name="T81" fmla="*/ 147 h 901"/>
                <a:gd name="T82" fmla="*/ 191 w 1433"/>
                <a:gd name="T83" fmla="*/ 23 h 901"/>
                <a:gd name="T84" fmla="*/ 250 w 1433"/>
                <a:gd name="T85" fmla="*/ 5 h 901"/>
                <a:gd name="T86" fmla="*/ 429 w 1433"/>
                <a:gd name="T87" fmla="*/ 39 h 901"/>
                <a:gd name="T88" fmla="*/ 515 w 1433"/>
                <a:gd name="T89" fmla="*/ 91 h 901"/>
                <a:gd name="T90" fmla="*/ 706 w 1433"/>
                <a:gd name="T91" fmla="*/ 205 h 901"/>
                <a:gd name="T92" fmla="*/ 821 w 1433"/>
                <a:gd name="T93" fmla="*/ 305 h 901"/>
                <a:gd name="T94" fmla="*/ 933 w 1433"/>
                <a:gd name="T95" fmla="*/ 397 h 901"/>
                <a:gd name="T96" fmla="*/ 1099 w 1433"/>
                <a:gd name="T97" fmla="*/ 533 h 901"/>
                <a:gd name="T98" fmla="*/ 1147 w 1433"/>
                <a:gd name="T99" fmla="*/ 571 h 901"/>
                <a:gd name="T100" fmla="*/ 1433 w 1433"/>
                <a:gd name="T101" fmla="*/ 59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3" h="901">
                  <a:moveTo>
                    <a:pt x="1433" y="593"/>
                  </a:moveTo>
                  <a:lnTo>
                    <a:pt x="1431" y="595"/>
                  </a:lnTo>
                  <a:lnTo>
                    <a:pt x="1352" y="625"/>
                  </a:lnTo>
                  <a:lnTo>
                    <a:pt x="1329" y="639"/>
                  </a:lnTo>
                  <a:lnTo>
                    <a:pt x="1312" y="654"/>
                  </a:lnTo>
                  <a:lnTo>
                    <a:pt x="1299" y="669"/>
                  </a:lnTo>
                  <a:lnTo>
                    <a:pt x="1289" y="684"/>
                  </a:lnTo>
                  <a:lnTo>
                    <a:pt x="1230" y="795"/>
                  </a:lnTo>
                  <a:lnTo>
                    <a:pt x="1222" y="808"/>
                  </a:lnTo>
                  <a:lnTo>
                    <a:pt x="1194" y="841"/>
                  </a:lnTo>
                  <a:lnTo>
                    <a:pt x="1190" y="848"/>
                  </a:lnTo>
                  <a:lnTo>
                    <a:pt x="1186" y="859"/>
                  </a:lnTo>
                  <a:lnTo>
                    <a:pt x="1185" y="864"/>
                  </a:lnTo>
                  <a:lnTo>
                    <a:pt x="1184" y="868"/>
                  </a:lnTo>
                  <a:lnTo>
                    <a:pt x="1184" y="870"/>
                  </a:lnTo>
                  <a:lnTo>
                    <a:pt x="1185" y="875"/>
                  </a:lnTo>
                  <a:lnTo>
                    <a:pt x="1187" y="878"/>
                  </a:lnTo>
                  <a:lnTo>
                    <a:pt x="1191" y="884"/>
                  </a:lnTo>
                  <a:lnTo>
                    <a:pt x="1193" y="887"/>
                  </a:lnTo>
                  <a:lnTo>
                    <a:pt x="1186" y="897"/>
                  </a:lnTo>
                  <a:lnTo>
                    <a:pt x="1182" y="899"/>
                  </a:lnTo>
                  <a:lnTo>
                    <a:pt x="1179" y="901"/>
                  </a:lnTo>
                  <a:lnTo>
                    <a:pt x="1174" y="901"/>
                  </a:lnTo>
                  <a:lnTo>
                    <a:pt x="1171" y="899"/>
                  </a:lnTo>
                  <a:lnTo>
                    <a:pt x="1168" y="897"/>
                  </a:lnTo>
                  <a:lnTo>
                    <a:pt x="1165" y="892"/>
                  </a:lnTo>
                  <a:lnTo>
                    <a:pt x="1161" y="890"/>
                  </a:lnTo>
                  <a:lnTo>
                    <a:pt x="1159" y="884"/>
                  </a:lnTo>
                  <a:lnTo>
                    <a:pt x="1154" y="878"/>
                  </a:lnTo>
                  <a:lnTo>
                    <a:pt x="1127" y="853"/>
                  </a:lnTo>
                  <a:lnTo>
                    <a:pt x="1123" y="851"/>
                  </a:lnTo>
                  <a:lnTo>
                    <a:pt x="1115" y="846"/>
                  </a:lnTo>
                  <a:lnTo>
                    <a:pt x="1110" y="845"/>
                  </a:lnTo>
                  <a:lnTo>
                    <a:pt x="1058" y="837"/>
                  </a:lnTo>
                  <a:lnTo>
                    <a:pt x="1054" y="835"/>
                  </a:lnTo>
                  <a:lnTo>
                    <a:pt x="1048" y="832"/>
                  </a:lnTo>
                  <a:lnTo>
                    <a:pt x="1043" y="829"/>
                  </a:lnTo>
                  <a:lnTo>
                    <a:pt x="1039" y="825"/>
                  </a:lnTo>
                  <a:lnTo>
                    <a:pt x="1033" y="816"/>
                  </a:lnTo>
                  <a:lnTo>
                    <a:pt x="1019" y="779"/>
                  </a:lnTo>
                  <a:lnTo>
                    <a:pt x="991" y="728"/>
                  </a:lnTo>
                  <a:lnTo>
                    <a:pt x="988" y="724"/>
                  </a:lnTo>
                  <a:lnTo>
                    <a:pt x="985" y="721"/>
                  </a:lnTo>
                  <a:lnTo>
                    <a:pt x="980" y="719"/>
                  </a:lnTo>
                  <a:lnTo>
                    <a:pt x="974" y="720"/>
                  </a:lnTo>
                  <a:lnTo>
                    <a:pt x="970" y="722"/>
                  </a:lnTo>
                  <a:lnTo>
                    <a:pt x="950" y="735"/>
                  </a:lnTo>
                  <a:lnTo>
                    <a:pt x="943" y="738"/>
                  </a:lnTo>
                  <a:lnTo>
                    <a:pt x="940" y="739"/>
                  </a:lnTo>
                  <a:lnTo>
                    <a:pt x="935" y="738"/>
                  </a:lnTo>
                  <a:lnTo>
                    <a:pt x="928" y="736"/>
                  </a:lnTo>
                  <a:lnTo>
                    <a:pt x="911" y="726"/>
                  </a:lnTo>
                  <a:lnTo>
                    <a:pt x="906" y="725"/>
                  </a:lnTo>
                  <a:lnTo>
                    <a:pt x="901" y="724"/>
                  </a:lnTo>
                  <a:lnTo>
                    <a:pt x="884" y="726"/>
                  </a:lnTo>
                  <a:lnTo>
                    <a:pt x="880" y="726"/>
                  </a:lnTo>
                  <a:lnTo>
                    <a:pt x="875" y="724"/>
                  </a:lnTo>
                  <a:lnTo>
                    <a:pt x="869" y="721"/>
                  </a:lnTo>
                  <a:lnTo>
                    <a:pt x="866" y="716"/>
                  </a:lnTo>
                  <a:lnTo>
                    <a:pt x="863" y="710"/>
                  </a:lnTo>
                  <a:lnTo>
                    <a:pt x="861" y="707"/>
                  </a:lnTo>
                  <a:lnTo>
                    <a:pt x="861" y="704"/>
                  </a:lnTo>
                  <a:lnTo>
                    <a:pt x="860" y="690"/>
                  </a:lnTo>
                  <a:lnTo>
                    <a:pt x="860" y="688"/>
                  </a:lnTo>
                  <a:lnTo>
                    <a:pt x="858" y="686"/>
                  </a:lnTo>
                  <a:lnTo>
                    <a:pt x="855" y="685"/>
                  </a:lnTo>
                  <a:lnTo>
                    <a:pt x="849" y="685"/>
                  </a:lnTo>
                  <a:lnTo>
                    <a:pt x="844" y="686"/>
                  </a:lnTo>
                  <a:lnTo>
                    <a:pt x="840" y="687"/>
                  </a:lnTo>
                  <a:lnTo>
                    <a:pt x="826" y="695"/>
                  </a:lnTo>
                  <a:lnTo>
                    <a:pt x="821" y="697"/>
                  </a:lnTo>
                  <a:lnTo>
                    <a:pt x="816" y="698"/>
                  </a:lnTo>
                  <a:lnTo>
                    <a:pt x="811" y="699"/>
                  </a:lnTo>
                  <a:lnTo>
                    <a:pt x="805" y="698"/>
                  </a:lnTo>
                  <a:lnTo>
                    <a:pt x="797" y="694"/>
                  </a:lnTo>
                  <a:lnTo>
                    <a:pt x="791" y="691"/>
                  </a:lnTo>
                  <a:lnTo>
                    <a:pt x="786" y="686"/>
                  </a:lnTo>
                  <a:lnTo>
                    <a:pt x="766" y="663"/>
                  </a:lnTo>
                  <a:lnTo>
                    <a:pt x="762" y="659"/>
                  </a:lnTo>
                  <a:lnTo>
                    <a:pt x="758" y="656"/>
                  </a:lnTo>
                  <a:lnTo>
                    <a:pt x="750" y="654"/>
                  </a:lnTo>
                  <a:lnTo>
                    <a:pt x="693" y="640"/>
                  </a:lnTo>
                  <a:lnTo>
                    <a:pt x="689" y="640"/>
                  </a:lnTo>
                  <a:lnTo>
                    <a:pt x="670" y="641"/>
                  </a:lnTo>
                  <a:lnTo>
                    <a:pt x="651" y="647"/>
                  </a:lnTo>
                  <a:lnTo>
                    <a:pt x="647" y="647"/>
                  </a:lnTo>
                  <a:lnTo>
                    <a:pt x="642" y="647"/>
                  </a:lnTo>
                  <a:lnTo>
                    <a:pt x="636" y="646"/>
                  </a:lnTo>
                  <a:lnTo>
                    <a:pt x="595" y="632"/>
                  </a:lnTo>
                  <a:lnTo>
                    <a:pt x="590" y="632"/>
                  </a:lnTo>
                  <a:lnTo>
                    <a:pt x="583" y="632"/>
                  </a:lnTo>
                  <a:lnTo>
                    <a:pt x="571" y="632"/>
                  </a:lnTo>
                  <a:lnTo>
                    <a:pt x="482" y="654"/>
                  </a:lnTo>
                  <a:lnTo>
                    <a:pt x="478" y="654"/>
                  </a:lnTo>
                  <a:lnTo>
                    <a:pt x="468" y="651"/>
                  </a:lnTo>
                  <a:lnTo>
                    <a:pt x="450" y="643"/>
                  </a:lnTo>
                  <a:lnTo>
                    <a:pt x="473" y="619"/>
                  </a:lnTo>
                  <a:lnTo>
                    <a:pt x="476" y="615"/>
                  </a:lnTo>
                  <a:lnTo>
                    <a:pt x="477" y="611"/>
                  </a:lnTo>
                  <a:lnTo>
                    <a:pt x="478" y="608"/>
                  </a:lnTo>
                  <a:lnTo>
                    <a:pt x="482" y="544"/>
                  </a:lnTo>
                  <a:lnTo>
                    <a:pt x="483" y="540"/>
                  </a:lnTo>
                  <a:lnTo>
                    <a:pt x="484" y="535"/>
                  </a:lnTo>
                  <a:lnTo>
                    <a:pt x="487" y="532"/>
                  </a:lnTo>
                  <a:lnTo>
                    <a:pt x="490" y="527"/>
                  </a:lnTo>
                  <a:lnTo>
                    <a:pt x="494" y="524"/>
                  </a:lnTo>
                  <a:lnTo>
                    <a:pt x="512" y="510"/>
                  </a:lnTo>
                  <a:lnTo>
                    <a:pt x="652" y="422"/>
                  </a:lnTo>
                  <a:lnTo>
                    <a:pt x="666" y="411"/>
                  </a:lnTo>
                  <a:lnTo>
                    <a:pt x="673" y="403"/>
                  </a:lnTo>
                  <a:lnTo>
                    <a:pt x="676" y="399"/>
                  </a:lnTo>
                  <a:lnTo>
                    <a:pt x="678" y="396"/>
                  </a:lnTo>
                  <a:lnTo>
                    <a:pt x="676" y="391"/>
                  </a:lnTo>
                  <a:lnTo>
                    <a:pt x="673" y="388"/>
                  </a:lnTo>
                  <a:lnTo>
                    <a:pt x="648" y="368"/>
                  </a:lnTo>
                  <a:lnTo>
                    <a:pt x="640" y="360"/>
                  </a:lnTo>
                  <a:lnTo>
                    <a:pt x="637" y="356"/>
                  </a:lnTo>
                  <a:lnTo>
                    <a:pt x="632" y="348"/>
                  </a:lnTo>
                  <a:lnTo>
                    <a:pt x="625" y="330"/>
                  </a:lnTo>
                  <a:lnTo>
                    <a:pt x="622" y="327"/>
                  </a:lnTo>
                  <a:lnTo>
                    <a:pt x="617" y="321"/>
                  </a:lnTo>
                  <a:lnTo>
                    <a:pt x="615" y="318"/>
                  </a:lnTo>
                  <a:lnTo>
                    <a:pt x="609" y="314"/>
                  </a:lnTo>
                  <a:lnTo>
                    <a:pt x="603" y="313"/>
                  </a:lnTo>
                  <a:lnTo>
                    <a:pt x="584" y="309"/>
                  </a:lnTo>
                  <a:lnTo>
                    <a:pt x="570" y="309"/>
                  </a:lnTo>
                  <a:lnTo>
                    <a:pt x="561" y="308"/>
                  </a:lnTo>
                  <a:lnTo>
                    <a:pt x="556" y="306"/>
                  </a:lnTo>
                  <a:lnTo>
                    <a:pt x="550" y="304"/>
                  </a:lnTo>
                  <a:lnTo>
                    <a:pt x="518" y="277"/>
                  </a:lnTo>
                  <a:lnTo>
                    <a:pt x="512" y="275"/>
                  </a:lnTo>
                  <a:lnTo>
                    <a:pt x="505" y="273"/>
                  </a:lnTo>
                  <a:lnTo>
                    <a:pt x="489" y="273"/>
                  </a:lnTo>
                  <a:lnTo>
                    <a:pt x="479" y="274"/>
                  </a:lnTo>
                  <a:lnTo>
                    <a:pt x="388" y="272"/>
                  </a:lnTo>
                  <a:lnTo>
                    <a:pt x="372" y="268"/>
                  </a:lnTo>
                  <a:lnTo>
                    <a:pt x="367" y="267"/>
                  </a:lnTo>
                  <a:lnTo>
                    <a:pt x="362" y="264"/>
                  </a:lnTo>
                  <a:lnTo>
                    <a:pt x="350" y="252"/>
                  </a:lnTo>
                  <a:lnTo>
                    <a:pt x="346" y="250"/>
                  </a:lnTo>
                  <a:lnTo>
                    <a:pt x="342" y="247"/>
                  </a:lnTo>
                  <a:lnTo>
                    <a:pt x="337" y="246"/>
                  </a:lnTo>
                  <a:lnTo>
                    <a:pt x="223" y="229"/>
                  </a:lnTo>
                  <a:lnTo>
                    <a:pt x="201" y="228"/>
                  </a:lnTo>
                  <a:lnTo>
                    <a:pt x="150" y="236"/>
                  </a:lnTo>
                  <a:lnTo>
                    <a:pt x="76" y="244"/>
                  </a:lnTo>
                  <a:lnTo>
                    <a:pt x="67" y="243"/>
                  </a:lnTo>
                  <a:lnTo>
                    <a:pt x="60" y="241"/>
                  </a:lnTo>
                  <a:lnTo>
                    <a:pt x="56" y="239"/>
                  </a:lnTo>
                  <a:lnTo>
                    <a:pt x="53" y="237"/>
                  </a:lnTo>
                  <a:lnTo>
                    <a:pt x="49" y="234"/>
                  </a:lnTo>
                  <a:lnTo>
                    <a:pt x="45" y="230"/>
                  </a:lnTo>
                  <a:lnTo>
                    <a:pt x="40" y="221"/>
                  </a:lnTo>
                  <a:lnTo>
                    <a:pt x="37" y="214"/>
                  </a:lnTo>
                  <a:lnTo>
                    <a:pt x="32" y="205"/>
                  </a:lnTo>
                  <a:lnTo>
                    <a:pt x="26" y="198"/>
                  </a:lnTo>
                  <a:lnTo>
                    <a:pt x="22" y="192"/>
                  </a:lnTo>
                  <a:lnTo>
                    <a:pt x="7" y="182"/>
                  </a:lnTo>
                  <a:lnTo>
                    <a:pt x="5" y="178"/>
                  </a:lnTo>
                  <a:lnTo>
                    <a:pt x="3" y="175"/>
                  </a:lnTo>
                  <a:lnTo>
                    <a:pt x="3" y="173"/>
                  </a:lnTo>
                  <a:lnTo>
                    <a:pt x="1" y="166"/>
                  </a:lnTo>
                  <a:lnTo>
                    <a:pt x="0" y="154"/>
                  </a:lnTo>
                  <a:lnTo>
                    <a:pt x="1" y="147"/>
                  </a:lnTo>
                  <a:lnTo>
                    <a:pt x="22" y="72"/>
                  </a:lnTo>
                  <a:lnTo>
                    <a:pt x="91" y="53"/>
                  </a:lnTo>
                  <a:lnTo>
                    <a:pt x="185" y="24"/>
                  </a:lnTo>
                  <a:lnTo>
                    <a:pt x="191" y="23"/>
                  </a:lnTo>
                  <a:lnTo>
                    <a:pt x="211" y="3"/>
                  </a:lnTo>
                  <a:lnTo>
                    <a:pt x="214" y="0"/>
                  </a:lnTo>
                  <a:lnTo>
                    <a:pt x="218" y="0"/>
                  </a:lnTo>
                  <a:lnTo>
                    <a:pt x="250" y="5"/>
                  </a:lnTo>
                  <a:lnTo>
                    <a:pt x="316" y="16"/>
                  </a:lnTo>
                  <a:lnTo>
                    <a:pt x="363" y="24"/>
                  </a:lnTo>
                  <a:lnTo>
                    <a:pt x="421" y="36"/>
                  </a:lnTo>
                  <a:lnTo>
                    <a:pt x="429" y="39"/>
                  </a:lnTo>
                  <a:lnTo>
                    <a:pt x="439" y="45"/>
                  </a:lnTo>
                  <a:lnTo>
                    <a:pt x="471" y="64"/>
                  </a:lnTo>
                  <a:lnTo>
                    <a:pt x="485" y="73"/>
                  </a:lnTo>
                  <a:lnTo>
                    <a:pt x="515" y="91"/>
                  </a:lnTo>
                  <a:lnTo>
                    <a:pt x="558" y="116"/>
                  </a:lnTo>
                  <a:lnTo>
                    <a:pt x="602" y="143"/>
                  </a:lnTo>
                  <a:lnTo>
                    <a:pt x="662" y="178"/>
                  </a:lnTo>
                  <a:lnTo>
                    <a:pt x="706" y="205"/>
                  </a:lnTo>
                  <a:lnTo>
                    <a:pt x="716" y="214"/>
                  </a:lnTo>
                  <a:lnTo>
                    <a:pt x="759" y="252"/>
                  </a:lnTo>
                  <a:lnTo>
                    <a:pt x="773" y="264"/>
                  </a:lnTo>
                  <a:lnTo>
                    <a:pt x="821" y="305"/>
                  </a:lnTo>
                  <a:lnTo>
                    <a:pt x="836" y="319"/>
                  </a:lnTo>
                  <a:lnTo>
                    <a:pt x="869" y="345"/>
                  </a:lnTo>
                  <a:lnTo>
                    <a:pt x="898" y="370"/>
                  </a:lnTo>
                  <a:lnTo>
                    <a:pt x="933" y="397"/>
                  </a:lnTo>
                  <a:lnTo>
                    <a:pt x="990" y="444"/>
                  </a:lnTo>
                  <a:lnTo>
                    <a:pt x="1009" y="460"/>
                  </a:lnTo>
                  <a:lnTo>
                    <a:pt x="1067" y="507"/>
                  </a:lnTo>
                  <a:lnTo>
                    <a:pt x="1099" y="533"/>
                  </a:lnTo>
                  <a:lnTo>
                    <a:pt x="1114" y="546"/>
                  </a:lnTo>
                  <a:lnTo>
                    <a:pt x="1130" y="558"/>
                  </a:lnTo>
                  <a:lnTo>
                    <a:pt x="1144" y="569"/>
                  </a:lnTo>
                  <a:lnTo>
                    <a:pt x="1147" y="571"/>
                  </a:lnTo>
                  <a:lnTo>
                    <a:pt x="1250" y="579"/>
                  </a:lnTo>
                  <a:lnTo>
                    <a:pt x="1267" y="581"/>
                  </a:lnTo>
                  <a:lnTo>
                    <a:pt x="1422" y="595"/>
                  </a:lnTo>
                  <a:lnTo>
                    <a:pt x="1433" y="593"/>
                  </a:lnTo>
                  <a:lnTo>
                    <a:pt x="1433" y="593"/>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100" name="Freeform 14">
              <a:extLst>
                <a:ext uri="{FF2B5EF4-FFF2-40B4-BE49-F238E27FC236}"/>
              </a:extLst>
            </p:cNvPr>
            <p:cNvSpPr>
              <a:spLocks/>
            </p:cNvSpPr>
            <p:nvPr/>
          </p:nvSpPr>
          <p:spPr bwMode="auto">
            <a:xfrm>
              <a:off x="1766782" y="1967316"/>
              <a:ext cx="1880289" cy="1110797"/>
            </a:xfrm>
            <a:custGeom>
              <a:avLst/>
              <a:gdLst>
                <a:gd name="T0" fmla="*/ 879 w 1185"/>
                <a:gd name="T1" fmla="*/ 595 h 700"/>
                <a:gd name="T2" fmla="*/ 720 w 1185"/>
                <a:gd name="T3" fmla="*/ 672 h 700"/>
                <a:gd name="T4" fmla="*/ 689 w 1185"/>
                <a:gd name="T5" fmla="*/ 688 h 700"/>
                <a:gd name="T6" fmla="*/ 672 w 1185"/>
                <a:gd name="T7" fmla="*/ 690 h 700"/>
                <a:gd name="T8" fmla="*/ 642 w 1185"/>
                <a:gd name="T9" fmla="*/ 700 h 700"/>
                <a:gd name="T10" fmla="*/ 623 w 1185"/>
                <a:gd name="T11" fmla="*/ 683 h 700"/>
                <a:gd name="T12" fmla="*/ 607 w 1185"/>
                <a:gd name="T13" fmla="*/ 677 h 700"/>
                <a:gd name="T14" fmla="*/ 586 w 1185"/>
                <a:gd name="T15" fmla="*/ 683 h 700"/>
                <a:gd name="T16" fmla="*/ 515 w 1185"/>
                <a:gd name="T17" fmla="*/ 667 h 700"/>
                <a:gd name="T18" fmla="*/ 497 w 1185"/>
                <a:gd name="T19" fmla="*/ 645 h 700"/>
                <a:gd name="T20" fmla="*/ 491 w 1185"/>
                <a:gd name="T21" fmla="*/ 603 h 700"/>
                <a:gd name="T22" fmla="*/ 487 w 1185"/>
                <a:gd name="T23" fmla="*/ 562 h 700"/>
                <a:gd name="T24" fmla="*/ 458 w 1185"/>
                <a:gd name="T25" fmla="*/ 580 h 700"/>
                <a:gd name="T26" fmla="*/ 444 w 1185"/>
                <a:gd name="T27" fmla="*/ 608 h 700"/>
                <a:gd name="T28" fmla="*/ 431 w 1185"/>
                <a:gd name="T29" fmla="*/ 618 h 700"/>
                <a:gd name="T30" fmla="*/ 353 w 1185"/>
                <a:gd name="T31" fmla="*/ 604 h 700"/>
                <a:gd name="T32" fmla="*/ 278 w 1185"/>
                <a:gd name="T33" fmla="*/ 620 h 700"/>
                <a:gd name="T34" fmla="*/ 265 w 1185"/>
                <a:gd name="T35" fmla="*/ 615 h 700"/>
                <a:gd name="T36" fmla="*/ 205 w 1185"/>
                <a:gd name="T37" fmla="*/ 546 h 700"/>
                <a:gd name="T38" fmla="*/ 126 w 1185"/>
                <a:gd name="T39" fmla="*/ 543 h 700"/>
                <a:gd name="T40" fmla="*/ 73 w 1185"/>
                <a:gd name="T41" fmla="*/ 560 h 700"/>
                <a:gd name="T42" fmla="*/ 28 w 1185"/>
                <a:gd name="T43" fmla="*/ 557 h 700"/>
                <a:gd name="T44" fmla="*/ 3 w 1185"/>
                <a:gd name="T45" fmla="*/ 557 h 700"/>
                <a:gd name="T46" fmla="*/ 5 w 1185"/>
                <a:gd name="T47" fmla="*/ 543 h 700"/>
                <a:gd name="T48" fmla="*/ 6 w 1185"/>
                <a:gd name="T49" fmla="*/ 523 h 700"/>
                <a:gd name="T50" fmla="*/ 14 w 1185"/>
                <a:gd name="T51" fmla="*/ 495 h 700"/>
                <a:gd name="T52" fmla="*/ 19 w 1185"/>
                <a:gd name="T53" fmla="*/ 488 h 700"/>
                <a:gd name="T54" fmla="*/ 20 w 1185"/>
                <a:gd name="T55" fmla="*/ 478 h 700"/>
                <a:gd name="T56" fmla="*/ 20 w 1185"/>
                <a:gd name="T57" fmla="*/ 471 h 700"/>
                <a:gd name="T58" fmla="*/ 108 w 1185"/>
                <a:gd name="T59" fmla="*/ 484 h 700"/>
                <a:gd name="T60" fmla="*/ 204 w 1185"/>
                <a:gd name="T61" fmla="*/ 499 h 700"/>
                <a:gd name="T62" fmla="*/ 305 w 1185"/>
                <a:gd name="T63" fmla="*/ 392 h 700"/>
                <a:gd name="T64" fmla="*/ 352 w 1185"/>
                <a:gd name="T65" fmla="*/ 362 h 700"/>
                <a:gd name="T66" fmla="*/ 454 w 1185"/>
                <a:gd name="T67" fmla="*/ 323 h 700"/>
                <a:gd name="T68" fmla="*/ 476 w 1185"/>
                <a:gd name="T69" fmla="*/ 276 h 700"/>
                <a:gd name="T70" fmla="*/ 483 w 1185"/>
                <a:gd name="T71" fmla="*/ 193 h 700"/>
                <a:gd name="T72" fmla="*/ 357 w 1185"/>
                <a:gd name="T73" fmla="*/ 52 h 700"/>
                <a:gd name="T74" fmla="*/ 508 w 1185"/>
                <a:gd name="T75" fmla="*/ 75 h 700"/>
                <a:gd name="T76" fmla="*/ 510 w 1185"/>
                <a:gd name="T77" fmla="*/ 103 h 700"/>
                <a:gd name="T78" fmla="*/ 533 w 1185"/>
                <a:gd name="T79" fmla="*/ 126 h 700"/>
                <a:gd name="T80" fmla="*/ 552 w 1185"/>
                <a:gd name="T81" fmla="*/ 158 h 700"/>
                <a:gd name="T82" fmla="*/ 567 w 1185"/>
                <a:gd name="T83" fmla="*/ 169 h 700"/>
                <a:gd name="T84" fmla="*/ 708 w 1185"/>
                <a:gd name="T85" fmla="*/ 156 h 700"/>
                <a:gd name="T86" fmla="*/ 853 w 1185"/>
                <a:gd name="T87" fmla="*/ 178 h 700"/>
                <a:gd name="T88" fmla="*/ 879 w 1185"/>
                <a:gd name="T89" fmla="*/ 196 h 700"/>
                <a:gd name="T90" fmla="*/ 1012 w 1185"/>
                <a:gd name="T91" fmla="*/ 201 h 700"/>
                <a:gd name="T92" fmla="*/ 1063 w 1185"/>
                <a:gd name="T93" fmla="*/ 234 h 700"/>
                <a:gd name="T94" fmla="*/ 1110 w 1185"/>
                <a:gd name="T95" fmla="*/ 241 h 700"/>
                <a:gd name="T96" fmla="*/ 1129 w 1185"/>
                <a:gd name="T97" fmla="*/ 255 h 700"/>
                <a:gd name="T98" fmla="*/ 1147 w 1185"/>
                <a:gd name="T99" fmla="*/ 288 h 700"/>
                <a:gd name="T100" fmla="*/ 1185 w 1185"/>
                <a:gd name="T101" fmla="*/ 324 h 700"/>
                <a:gd name="T102" fmla="*/ 1159 w 1185"/>
                <a:gd name="T103" fmla="*/ 350 h 700"/>
                <a:gd name="T104" fmla="*/ 994 w 1185"/>
                <a:gd name="T105" fmla="*/ 460 h 700"/>
                <a:gd name="T106" fmla="*/ 985 w 1185"/>
                <a:gd name="T107" fmla="*/ 536 h 700"/>
                <a:gd name="T108" fmla="*/ 957 w 1185"/>
                <a:gd name="T109" fmla="*/ 57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5" h="700">
                  <a:moveTo>
                    <a:pt x="957" y="571"/>
                  </a:moveTo>
                  <a:lnTo>
                    <a:pt x="946" y="568"/>
                  </a:lnTo>
                  <a:lnTo>
                    <a:pt x="943" y="568"/>
                  </a:lnTo>
                  <a:lnTo>
                    <a:pt x="879" y="595"/>
                  </a:lnTo>
                  <a:lnTo>
                    <a:pt x="817" y="630"/>
                  </a:lnTo>
                  <a:lnTo>
                    <a:pt x="787" y="638"/>
                  </a:lnTo>
                  <a:lnTo>
                    <a:pt x="725" y="669"/>
                  </a:lnTo>
                  <a:lnTo>
                    <a:pt x="720" y="672"/>
                  </a:lnTo>
                  <a:lnTo>
                    <a:pt x="717" y="675"/>
                  </a:lnTo>
                  <a:lnTo>
                    <a:pt x="698" y="695"/>
                  </a:lnTo>
                  <a:lnTo>
                    <a:pt x="692" y="690"/>
                  </a:lnTo>
                  <a:lnTo>
                    <a:pt x="689" y="688"/>
                  </a:lnTo>
                  <a:lnTo>
                    <a:pt x="687" y="687"/>
                  </a:lnTo>
                  <a:lnTo>
                    <a:pt x="682" y="687"/>
                  </a:lnTo>
                  <a:lnTo>
                    <a:pt x="676" y="688"/>
                  </a:lnTo>
                  <a:lnTo>
                    <a:pt x="672" y="690"/>
                  </a:lnTo>
                  <a:lnTo>
                    <a:pt x="654" y="698"/>
                  </a:lnTo>
                  <a:lnTo>
                    <a:pt x="650" y="700"/>
                  </a:lnTo>
                  <a:lnTo>
                    <a:pt x="646" y="700"/>
                  </a:lnTo>
                  <a:lnTo>
                    <a:pt x="642" y="700"/>
                  </a:lnTo>
                  <a:lnTo>
                    <a:pt x="638" y="698"/>
                  </a:lnTo>
                  <a:lnTo>
                    <a:pt x="635" y="695"/>
                  </a:lnTo>
                  <a:lnTo>
                    <a:pt x="630" y="683"/>
                  </a:lnTo>
                  <a:lnTo>
                    <a:pt x="623" y="683"/>
                  </a:lnTo>
                  <a:lnTo>
                    <a:pt x="620" y="683"/>
                  </a:lnTo>
                  <a:lnTo>
                    <a:pt x="617" y="682"/>
                  </a:lnTo>
                  <a:lnTo>
                    <a:pt x="611" y="678"/>
                  </a:lnTo>
                  <a:lnTo>
                    <a:pt x="607" y="677"/>
                  </a:lnTo>
                  <a:lnTo>
                    <a:pt x="602" y="679"/>
                  </a:lnTo>
                  <a:lnTo>
                    <a:pt x="598" y="681"/>
                  </a:lnTo>
                  <a:lnTo>
                    <a:pt x="591" y="682"/>
                  </a:lnTo>
                  <a:lnTo>
                    <a:pt x="586" y="683"/>
                  </a:lnTo>
                  <a:lnTo>
                    <a:pt x="552" y="680"/>
                  </a:lnTo>
                  <a:lnTo>
                    <a:pt x="542" y="677"/>
                  </a:lnTo>
                  <a:lnTo>
                    <a:pt x="523" y="671"/>
                  </a:lnTo>
                  <a:lnTo>
                    <a:pt x="515" y="667"/>
                  </a:lnTo>
                  <a:lnTo>
                    <a:pt x="505" y="658"/>
                  </a:lnTo>
                  <a:lnTo>
                    <a:pt x="501" y="654"/>
                  </a:lnTo>
                  <a:lnTo>
                    <a:pt x="500" y="650"/>
                  </a:lnTo>
                  <a:lnTo>
                    <a:pt x="497" y="645"/>
                  </a:lnTo>
                  <a:lnTo>
                    <a:pt x="494" y="639"/>
                  </a:lnTo>
                  <a:lnTo>
                    <a:pt x="492" y="631"/>
                  </a:lnTo>
                  <a:lnTo>
                    <a:pt x="492" y="621"/>
                  </a:lnTo>
                  <a:lnTo>
                    <a:pt x="491" y="603"/>
                  </a:lnTo>
                  <a:lnTo>
                    <a:pt x="492" y="573"/>
                  </a:lnTo>
                  <a:lnTo>
                    <a:pt x="492" y="568"/>
                  </a:lnTo>
                  <a:lnTo>
                    <a:pt x="490" y="564"/>
                  </a:lnTo>
                  <a:lnTo>
                    <a:pt x="487" y="562"/>
                  </a:lnTo>
                  <a:lnTo>
                    <a:pt x="484" y="561"/>
                  </a:lnTo>
                  <a:lnTo>
                    <a:pt x="480" y="562"/>
                  </a:lnTo>
                  <a:lnTo>
                    <a:pt x="470" y="573"/>
                  </a:lnTo>
                  <a:lnTo>
                    <a:pt x="458" y="580"/>
                  </a:lnTo>
                  <a:lnTo>
                    <a:pt x="455" y="583"/>
                  </a:lnTo>
                  <a:lnTo>
                    <a:pt x="452" y="586"/>
                  </a:lnTo>
                  <a:lnTo>
                    <a:pt x="450" y="591"/>
                  </a:lnTo>
                  <a:lnTo>
                    <a:pt x="444" y="608"/>
                  </a:lnTo>
                  <a:lnTo>
                    <a:pt x="441" y="612"/>
                  </a:lnTo>
                  <a:lnTo>
                    <a:pt x="439" y="615"/>
                  </a:lnTo>
                  <a:lnTo>
                    <a:pt x="435" y="617"/>
                  </a:lnTo>
                  <a:lnTo>
                    <a:pt x="431" y="618"/>
                  </a:lnTo>
                  <a:lnTo>
                    <a:pt x="402" y="616"/>
                  </a:lnTo>
                  <a:lnTo>
                    <a:pt x="387" y="614"/>
                  </a:lnTo>
                  <a:lnTo>
                    <a:pt x="362" y="605"/>
                  </a:lnTo>
                  <a:lnTo>
                    <a:pt x="353" y="604"/>
                  </a:lnTo>
                  <a:lnTo>
                    <a:pt x="339" y="604"/>
                  </a:lnTo>
                  <a:lnTo>
                    <a:pt x="299" y="613"/>
                  </a:lnTo>
                  <a:lnTo>
                    <a:pt x="281" y="620"/>
                  </a:lnTo>
                  <a:lnTo>
                    <a:pt x="278" y="620"/>
                  </a:lnTo>
                  <a:lnTo>
                    <a:pt x="274" y="620"/>
                  </a:lnTo>
                  <a:lnTo>
                    <a:pt x="267" y="617"/>
                  </a:lnTo>
                  <a:lnTo>
                    <a:pt x="266" y="616"/>
                  </a:lnTo>
                  <a:lnTo>
                    <a:pt x="265" y="615"/>
                  </a:lnTo>
                  <a:lnTo>
                    <a:pt x="221" y="559"/>
                  </a:lnTo>
                  <a:lnTo>
                    <a:pt x="216" y="553"/>
                  </a:lnTo>
                  <a:lnTo>
                    <a:pt x="209" y="549"/>
                  </a:lnTo>
                  <a:lnTo>
                    <a:pt x="205" y="546"/>
                  </a:lnTo>
                  <a:lnTo>
                    <a:pt x="172" y="538"/>
                  </a:lnTo>
                  <a:lnTo>
                    <a:pt x="161" y="538"/>
                  </a:lnTo>
                  <a:lnTo>
                    <a:pt x="148" y="541"/>
                  </a:lnTo>
                  <a:lnTo>
                    <a:pt x="126" y="543"/>
                  </a:lnTo>
                  <a:lnTo>
                    <a:pt x="92" y="549"/>
                  </a:lnTo>
                  <a:lnTo>
                    <a:pt x="85" y="552"/>
                  </a:lnTo>
                  <a:lnTo>
                    <a:pt x="78" y="554"/>
                  </a:lnTo>
                  <a:lnTo>
                    <a:pt x="73" y="560"/>
                  </a:lnTo>
                  <a:lnTo>
                    <a:pt x="70" y="561"/>
                  </a:lnTo>
                  <a:lnTo>
                    <a:pt x="66" y="562"/>
                  </a:lnTo>
                  <a:lnTo>
                    <a:pt x="42" y="560"/>
                  </a:lnTo>
                  <a:lnTo>
                    <a:pt x="28" y="557"/>
                  </a:lnTo>
                  <a:lnTo>
                    <a:pt x="23" y="556"/>
                  </a:lnTo>
                  <a:lnTo>
                    <a:pt x="17" y="557"/>
                  </a:lnTo>
                  <a:lnTo>
                    <a:pt x="3" y="558"/>
                  </a:lnTo>
                  <a:lnTo>
                    <a:pt x="3" y="557"/>
                  </a:lnTo>
                  <a:lnTo>
                    <a:pt x="0" y="556"/>
                  </a:lnTo>
                  <a:lnTo>
                    <a:pt x="0" y="555"/>
                  </a:lnTo>
                  <a:lnTo>
                    <a:pt x="3" y="551"/>
                  </a:lnTo>
                  <a:lnTo>
                    <a:pt x="5" y="543"/>
                  </a:lnTo>
                  <a:lnTo>
                    <a:pt x="6" y="534"/>
                  </a:lnTo>
                  <a:lnTo>
                    <a:pt x="4" y="530"/>
                  </a:lnTo>
                  <a:lnTo>
                    <a:pt x="4" y="527"/>
                  </a:lnTo>
                  <a:lnTo>
                    <a:pt x="6" y="523"/>
                  </a:lnTo>
                  <a:lnTo>
                    <a:pt x="8" y="519"/>
                  </a:lnTo>
                  <a:lnTo>
                    <a:pt x="11" y="502"/>
                  </a:lnTo>
                  <a:lnTo>
                    <a:pt x="12" y="500"/>
                  </a:lnTo>
                  <a:lnTo>
                    <a:pt x="14" y="495"/>
                  </a:lnTo>
                  <a:lnTo>
                    <a:pt x="14" y="494"/>
                  </a:lnTo>
                  <a:lnTo>
                    <a:pt x="14" y="492"/>
                  </a:lnTo>
                  <a:lnTo>
                    <a:pt x="16" y="490"/>
                  </a:lnTo>
                  <a:lnTo>
                    <a:pt x="19" y="488"/>
                  </a:lnTo>
                  <a:lnTo>
                    <a:pt x="18" y="484"/>
                  </a:lnTo>
                  <a:lnTo>
                    <a:pt x="18" y="480"/>
                  </a:lnTo>
                  <a:lnTo>
                    <a:pt x="18" y="477"/>
                  </a:lnTo>
                  <a:lnTo>
                    <a:pt x="20" y="478"/>
                  </a:lnTo>
                  <a:lnTo>
                    <a:pt x="21" y="477"/>
                  </a:lnTo>
                  <a:lnTo>
                    <a:pt x="21" y="477"/>
                  </a:lnTo>
                  <a:lnTo>
                    <a:pt x="20" y="474"/>
                  </a:lnTo>
                  <a:lnTo>
                    <a:pt x="20" y="471"/>
                  </a:lnTo>
                  <a:lnTo>
                    <a:pt x="20" y="469"/>
                  </a:lnTo>
                  <a:lnTo>
                    <a:pt x="39" y="471"/>
                  </a:lnTo>
                  <a:lnTo>
                    <a:pt x="59" y="475"/>
                  </a:lnTo>
                  <a:lnTo>
                    <a:pt x="108" y="484"/>
                  </a:lnTo>
                  <a:lnTo>
                    <a:pt x="133" y="488"/>
                  </a:lnTo>
                  <a:lnTo>
                    <a:pt x="162" y="493"/>
                  </a:lnTo>
                  <a:lnTo>
                    <a:pt x="199" y="500"/>
                  </a:lnTo>
                  <a:lnTo>
                    <a:pt x="204" y="499"/>
                  </a:lnTo>
                  <a:lnTo>
                    <a:pt x="208" y="497"/>
                  </a:lnTo>
                  <a:lnTo>
                    <a:pt x="226" y="483"/>
                  </a:lnTo>
                  <a:lnTo>
                    <a:pt x="276" y="440"/>
                  </a:lnTo>
                  <a:lnTo>
                    <a:pt x="305" y="392"/>
                  </a:lnTo>
                  <a:lnTo>
                    <a:pt x="314" y="376"/>
                  </a:lnTo>
                  <a:lnTo>
                    <a:pt x="318" y="371"/>
                  </a:lnTo>
                  <a:lnTo>
                    <a:pt x="323" y="369"/>
                  </a:lnTo>
                  <a:lnTo>
                    <a:pt x="352" y="362"/>
                  </a:lnTo>
                  <a:lnTo>
                    <a:pt x="401" y="353"/>
                  </a:lnTo>
                  <a:lnTo>
                    <a:pt x="442" y="344"/>
                  </a:lnTo>
                  <a:lnTo>
                    <a:pt x="446" y="341"/>
                  </a:lnTo>
                  <a:lnTo>
                    <a:pt x="454" y="323"/>
                  </a:lnTo>
                  <a:lnTo>
                    <a:pt x="465" y="294"/>
                  </a:lnTo>
                  <a:lnTo>
                    <a:pt x="470" y="282"/>
                  </a:lnTo>
                  <a:lnTo>
                    <a:pt x="472" y="279"/>
                  </a:lnTo>
                  <a:lnTo>
                    <a:pt x="476" y="276"/>
                  </a:lnTo>
                  <a:lnTo>
                    <a:pt x="514" y="254"/>
                  </a:lnTo>
                  <a:lnTo>
                    <a:pt x="526" y="247"/>
                  </a:lnTo>
                  <a:lnTo>
                    <a:pt x="528" y="246"/>
                  </a:lnTo>
                  <a:lnTo>
                    <a:pt x="483" y="193"/>
                  </a:lnTo>
                  <a:lnTo>
                    <a:pt x="464" y="172"/>
                  </a:lnTo>
                  <a:lnTo>
                    <a:pt x="444" y="147"/>
                  </a:lnTo>
                  <a:lnTo>
                    <a:pt x="401" y="99"/>
                  </a:lnTo>
                  <a:lnTo>
                    <a:pt x="357" y="52"/>
                  </a:lnTo>
                  <a:lnTo>
                    <a:pt x="439" y="27"/>
                  </a:lnTo>
                  <a:lnTo>
                    <a:pt x="522" y="2"/>
                  </a:lnTo>
                  <a:lnTo>
                    <a:pt x="529" y="0"/>
                  </a:lnTo>
                  <a:lnTo>
                    <a:pt x="508" y="75"/>
                  </a:lnTo>
                  <a:lnTo>
                    <a:pt x="507" y="82"/>
                  </a:lnTo>
                  <a:lnTo>
                    <a:pt x="508" y="94"/>
                  </a:lnTo>
                  <a:lnTo>
                    <a:pt x="510" y="101"/>
                  </a:lnTo>
                  <a:lnTo>
                    <a:pt x="510" y="103"/>
                  </a:lnTo>
                  <a:lnTo>
                    <a:pt x="512" y="106"/>
                  </a:lnTo>
                  <a:lnTo>
                    <a:pt x="514" y="110"/>
                  </a:lnTo>
                  <a:lnTo>
                    <a:pt x="529" y="120"/>
                  </a:lnTo>
                  <a:lnTo>
                    <a:pt x="533" y="126"/>
                  </a:lnTo>
                  <a:lnTo>
                    <a:pt x="539" y="133"/>
                  </a:lnTo>
                  <a:lnTo>
                    <a:pt x="544" y="142"/>
                  </a:lnTo>
                  <a:lnTo>
                    <a:pt x="547" y="149"/>
                  </a:lnTo>
                  <a:lnTo>
                    <a:pt x="552" y="158"/>
                  </a:lnTo>
                  <a:lnTo>
                    <a:pt x="556" y="162"/>
                  </a:lnTo>
                  <a:lnTo>
                    <a:pt x="560" y="165"/>
                  </a:lnTo>
                  <a:lnTo>
                    <a:pt x="563" y="167"/>
                  </a:lnTo>
                  <a:lnTo>
                    <a:pt x="567" y="169"/>
                  </a:lnTo>
                  <a:lnTo>
                    <a:pt x="574" y="171"/>
                  </a:lnTo>
                  <a:lnTo>
                    <a:pt x="583" y="172"/>
                  </a:lnTo>
                  <a:lnTo>
                    <a:pt x="657" y="164"/>
                  </a:lnTo>
                  <a:lnTo>
                    <a:pt x="708" y="156"/>
                  </a:lnTo>
                  <a:lnTo>
                    <a:pt x="730" y="157"/>
                  </a:lnTo>
                  <a:lnTo>
                    <a:pt x="844" y="174"/>
                  </a:lnTo>
                  <a:lnTo>
                    <a:pt x="849" y="175"/>
                  </a:lnTo>
                  <a:lnTo>
                    <a:pt x="853" y="178"/>
                  </a:lnTo>
                  <a:lnTo>
                    <a:pt x="857" y="180"/>
                  </a:lnTo>
                  <a:lnTo>
                    <a:pt x="869" y="192"/>
                  </a:lnTo>
                  <a:lnTo>
                    <a:pt x="874" y="195"/>
                  </a:lnTo>
                  <a:lnTo>
                    <a:pt x="879" y="196"/>
                  </a:lnTo>
                  <a:lnTo>
                    <a:pt x="895" y="200"/>
                  </a:lnTo>
                  <a:lnTo>
                    <a:pt x="986" y="202"/>
                  </a:lnTo>
                  <a:lnTo>
                    <a:pt x="996" y="201"/>
                  </a:lnTo>
                  <a:lnTo>
                    <a:pt x="1012" y="201"/>
                  </a:lnTo>
                  <a:lnTo>
                    <a:pt x="1019" y="203"/>
                  </a:lnTo>
                  <a:lnTo>
                    <a:pt x="1025" y="205"/>
                  </a:lnTo>
                  <a:lnTo>
                    <a:pt x="1057" y="232"/>
                  </a:lnTo>
                  <a:lnTo>
                    <a:pt x="1063" y="234"/>
                  </a:lnTo>
                  <a:lnTo>
                    <a:pt x="1068" y="236"/>
                  </a:lnTo>
                  <a:lnTo>
                    <a:pt x="1077" y="237"/>
                  </a:lnTo>
                  <a:lnTo>
                    <a:pt x="1091" y="237"/>
                  </a:lnTo>
                  <a:lnTo>
                    <a:pt x="1110" y="241"/>
                  </a:lnTo>
                  <a:lnTo>
                    <a:pt x="1116" y="242"/>
                  </a:lnTo>
                  <a:lnTo>
                    <a:pt x="1122" y="246"/>
                  </a:lnTo>
                  <a:lnTo>
                    <a:pt x="1124" y="249"/>
                  </a:lnTo>
                  <a:lnTo>
                    <a:pt x="1129" y="255"/>
                  </a:lnTo>
                  <a:lnTo>
                    <a:pt x="1132" y="258"/>
                  </a:lnTo>
                  <a:lnTo>
                    <a:pt x="1139" y="276"/>
                  </a:lnTo>
                  <a:lnTo>
                    <a:pt x="1144" y="284"/>
                  </a:lnTo>
                  <a:lnTo>
                    <a:pt x="1147" y="288"/>
                  </a:lnTo>
                  <a:lnTo>
                    <a:pt x="1155" y="296"/>
                  </a:lnTo>
                  <a:lnTo>
                    <a:pt x="1180" y="316"/>
                  </a:lnTo>
                  <a:lnTo>
                    <a:pt x="1183" y="319"/>
                  </a:lnTo>
                  <a:lnTo>
                    <a:pt x="1185" y="324"/>
                  </a:lnTo>
                  <a:lnTo>
                    <a:pt x="1183" y="327"/>
                  </a:lnTo>
                  <a:lnTo>
                    <a:pt x="1180" y="331"/>
                  </a:lnTo>
                  <a:lnTo>
                    <a:pt x="1173" y="339"/>
                  </a:lnTo>
                  <a:lnTo>
                    <a:pt x="1159" y="350"/>
                  </a:lnTo>
                  <a:lnTo>
                    <a:pt x="1019" y="438"/>
                  </a:lnTo>
                  <a:lnTo>
                    <a:pt x="1001" y="452"/>
                  </a:lnTo>
                  <a:lnTo>
                    <a:pt x="997" y="455"/>
                  </a:lnTo>
                  <a:lnTo>
                    <a:pt x="994" y="460"/>
                  </a:lnTo>
                  <a:lnTo>
                    <a:pt x="991" y="463"/>
                  </a:lnTo>
                  <a:lnTo>
                    <a:pt x="990" y="468"/>
                  </a:lnTo>
                  <a:lnTo>
                    <a:pt x="989" y="472"/>
                  </a:lnTo>
                  <a:lnTo>
                    <a:pt x="985" y="536"/>
                  </a:lnTo>
                  <a:lnTo>
                    <a:pt x="984" y="539"/>
                  </a:lnTo>
                  <a:lnTo>
                    <a:pt x="983" y="543"/>
                  </a:lnTo>
                  <a:lnTo>
                    <a:pt x="980" y="547"/>
                  </a:lnTo>
                  <a:lnTo>
                    <a:pt x="957" y="571"/>
                  </a:lnTo>
                  <a:lnTo>
                    <a:pt x="957" y="571"/>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101" name="Freeform 15">
              <a:extLst>
                <a:ext uri="{FF2B5EF4-FFF2-40B4-BE49-F238E27FC236}"/>
              </a:extLst>
            </p:cNvPr>
            <p:cNvSpPr>
              <a:spLocks/>
            </p:cNvSpPr>
            <p:nvPr/>
          </p:nvSpPr>
          <p:spPr bwMode="auto">
            <a:xfrm>
              <a:off x="3350394" y="5235543"/>
              <a:ext cx="328750" cy="396998"/>
            </a:xfrm>
            <a:custGeom>
              <a:avLst/>
              <a:gdLst>
                <a:gd name="T0" fmla="*/ 198 w 207"/>
                <a:gd name="T1" fmla="*/ 52 h 249"/>
                <a:gd name="T2" fmla="*/ 200 w 207"/>
                <a:gd name="T3" fmla="*/ 61 h 249"/>
                <a:gd name="T4" fmla="*/ 206 w 207"/>
                <a:gd name="T5" fmla="*/ 69 h 249"/>
                <a:gd name="T6" fmla="*/ 206 w 207"/>
                <a:gd name="T7" fmla="*/ 78 h 249"/>
                <a:gd name="T8" fmla="*/ 198 w 207"/>
                <a:gd name="T9" fmla="*/ 87 h 249"/>
                <a:gd name="T10" fmla="*/ 175 w 207"/>
                <a:gd name="T11" fmla="*/ 104 h 249"/>
                <a:gd name="T12" fmla="*/ 171 w 207"/>
                <a:gd name="T13" fmla="*/ 114 h 249"/>
                <a:gd name="T14" fmla="*/ 168 w 207"/>
                <a:gd name="T15" fmla="*/ 135 h 249"/>
                <a:gd name="T16" fmla="*/ 146 w 207"/>
                <a:gd name="T17" fmla="*/ 174 h 249"/>
                <a:gd name="T18" fmla="*/ 125 w 207"/>
                <a:gd name="T19" fmla="*/ 175 h 249"/>
                <a:gd name="T20" fmla="*/ 118 w 207"/>
                <a:gd name="T21" fmla="*/ 177 h 249"/>
                <a:gd name="T22" fmla="*/ 115 w 207"/>
                <a:gd name="T23" fmla="*/ 181 h 249"/>
                <a:gd name="T24" fmla="*/ 99 w 207"/>
                <a:gd name="T25" fmla="*/ 217 h 249"/>
                <a:gd name="T26" fmla="*/ 94 w 207"/>
                <a:gd name="T27" fmla="*/ 240 h 249"/>
                <a:gd name="T28" fmla="*/ 88 w 207"/>
                <a:gd name="T29" fmla="*/ 245 h 249"/>
                <a:gd name="T30" fmla="*/ 82 w 207"/>
                <a:gd name="T31" fmla="*/ 248 h 249"/>
                <a:gd name="T32" fmla="*/ 74 w 207"/>
                <a:gd name="T33" fmla="*/ 249 h 249"/>
                <a:gd name="T34" fmla="*/ 65 w 207"/>
                <a:gd name="T35" fmla="*/ 246 h 249"/>
                <a:gd name="T36" fmla="*/ 51 w 207"/>
                <a:gd name="T37" fmla="*/ 229 h 249"/>
                <a:gd name="T38" fmla="*/ 35 w 207"/>
                <a:gd name="T39" fmla="*/ 218 h 249"/>
                <a:gd name="T40" fmla="*/ 30 w 207"/>
                <a:gd name="T41" fmla="*/ 214 h 249"/>
                <a:gd name="T42" fmla="*/ 28 w 207"/>
                <a:gd name="T43" fmla="*/ 207 h 249"/>
                <a:gd name="T44" fmla="*/ 28 w 207"/>
                <a:gd name="T45" fmla="*/ 189 h 249"/>
                <a:gd name="T46" fmla="*/ 25 w 207"/>
                <a:gd name="T47" fmla="*/ 174 h 249"/>
                <a:gd name="T48" fmla="*/ 27 w 207"/>
                <a:gd name="T49" fmla="*/ 152 h 249"/>
                <a:gd name="T50" fmla="*/ 26 w 207"/>
                <a:gd name="T51" fmla="*/ 144 h 249"/>
                <a:gd name="T52" fmla="*/ 21 w 207"/>
                <a:gd name="T53" fmla="*/ 137 h 249"/>
                <a:gd name="T54" fmla="*/ 7 w 207"/>
                <a:gd name="T55" fmla="*/ 132 h 249"/>
                <a:gd name="T56" fmla="*/ 1 w 207"/>
                <a:gd name="T57" fmla="*/ 128 h 249"/>
                <a:gd name="T58" fmla="*/ 0 w 207"/>
                <a:gd name="T59" fmla="*/ 121 h 249"/>
                <a:gd name="T60" fmla="*/ 16 w 207"/>
                <a:gd name="T61" fmla="*/ 104 h 249"/>
                <a:gd name="T62" fmla="*/ 24 w 207"/>
                <a:gd name="T63" fmla="*/ 99 h 249"/>
                <a:gd name="T64" fmla="*/ 45 w 207"/>
                <a:gd name="T65" fmla="*/ 95 h 249"/>
                <a:gd name="T66" fmla="*/ 53 w 207"/>
                <a:gd name="T67" fmla="*/ 92 h 249"/>
                <a:gd name="T68" fmla="*/ 59 w 207"/>
                <a:gd name="T69" fmla="*/ 85 h 249"/>
                <a:gd name="T70" fmla="*/ 75 w 207"/>
                <a:gd name="T71" fmla="*/ 52 h 249"/>
                <a:gd name="T72" fmla="*/ 77 w 207"/>
                <a:gd name="T73" fmla="*/ 46 h 249"/>
                <a:gd name="T74" fmla="*/ 73 w 207"/>
                <a:gd name="T75" fmla="*/ 30 h 249"/>
                <a:gd name="T76" fmla="*/ 72 w 207"/>
                <a:gd name="T77" fmla="*/ 18 h 249"/>
                <a:gd name="T78" fmla="*/ 73 w 207"/>
                <a:gd name="T79" fmla="*/ 11 h 249"/>
                <a:gd name="T80" fmla="*/ 75 w 207"/>
                <a:gd name="T81" fmla="*/ 7 h 249"/>
                <a:gd name="T82" fmla="*/ 81 w 207"/>
                <a:gd name="T83" fmla="*/ 1 h 249"/>
                <a:gd name="T84" fmla="*/ 89 w 207"/>
                <a:gd name="T85" fmla="*/ 0 h 249"/>
                <a:gd name="T86" fmla="*/ 98 w 207"/>
                <a:gd name="T87" fmla="*/ 2 h 249"/>
                <a:gd name="T88" fmla="*/ 104 w 207"/>
                <a:gd name="T89" fmla="*/ 9 h 249"/>
                <a:gd name="T90" fmla="*/ 111 w 207"/>
                <a:gd name="T91" fmla="*/ 27 h 249"/>
                <a:gd name="T92" fmla="*/ 117 w 207"/>
                <a:gd name="T93" fmla="*/ 32 h 249"/>
                <a:gd name="T94" fmla="*/ 122 w 207"/>
                <a:gd name="T95" fmla="*/ 33 h 249"/>
                <a:gd name="T96" fmla="*/ 135 w 207"/>
                <a:gd name="T97" fmla="*/ 29 h 249"/>
                <a:gd name="T98" fmla="*/ 145 w 207"/>
                <a:gd name="T99" fmla="*/ 27 h 249"/>
                <a:gd name="T100" fmla="*/ 167 w 207"/>
                <a:gd name="T101" fmla="*/ 25 h 249"/>
                <a:gd name="T102" fmla="*/ 186 w 207"/>
                <a:gd name="T103" fmla="*/ 15 h 249"/>
                <a:gd name="T104" fmla="*/ 193 w 207"/>
                <a:gd name="T105" fmla="*/ 15 h 249"/>
                <a:gd name="T106" fmla="*/ 207 w 207"/>
                <a:gd name="T107" fmla="*/ 2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249">
                  <a:moveTo>
                    <a:pt x="207" y="24"/>
                  </a:moveTo>
                  <a:lnTo>
                    <a:pt x="198" y="52"/>
                  </a:lnTo>
                  <a:lnTo>
                    <a:pt x="199" y="56"/>
                  </a:lnTo>
                  <a:lnTo>
                    <a:pt x="200" y="61"/>
                  </a:lnTo>
                  <a:lnTo>
                    <a:pt x="204" y="66"/>
                  </a:lnTo>
                  <a:lnTo>
                    <a:pt x="206" y="69"/>
                  </a:lnTo>
                  <a:lnTo>
                    <a:pt x="207" y="73"/>
                  </a:lnTo>
                  <a:lnTo>
                    <a:pt x="206" y="78"/>
                  </a:lnTo>
                  <a:lnTo>
                    <a:pt x="201" y="84"/>
                  </a:lnTo>
                  <a:lnTo>
                    <a:pt x="198" y="87"/>
                  </a:lnTo>
                  <a:lnTo>
                    <a:pt x="178" y="100"/>
                  </a:lnTo>
                  <a:lnTo>
                    <a:pt x="175" y="104"/>
                  </a:lnTo>
                  <a:lnTo>
                    <a:pt x="172" y="108"/>
                  </a:lnTo>
                  <a:lnTo>
                    <a:pt x="171" y="114"/>
                  </a:lnTo>
                  <a:lnTo>
                    <a:pt x="170" y="126"/>
                  </a:lnTo>
                  <a:lnTo>
                    <a:pt x="168" y="135"/>
                  </a:lnTo>
                  <a:lnTo>
                    <a:pt x="150" y="172"/>
                  </a:lnTo>
                  <a:lnTo>
                    <a:pt x="146" y="174"/>
                  </a:lnTo>
                  <a:lnTo>
                    <a:pt x="141" y="175"/>
                  </a:lnTo>
                  <a:lnTo>
                    <a:pt x="125" y="175"/>
                  </a:lnTo>
                  <a:lnTo>
                    <a:pt x="121" y="175"/>
                  </a:lnTo>
                  <a:lnTo>
                    <a:pt x="118" y="177"/>
                  </a:lnTo>
                  <a:lnTo>
                    <a:pt x="117" y="178"/>
                  </a:lnTo>
                  <a:lnTo>
                    <a:pt x="115" y="181"/>
                  </a:lnTo>
                  <a:lnTo>
                    <a:pt x="110" y="189"/>
                  </a:lnTo>
                  <a:lnTo>
                    <a:pt x="99" y="217"/>
                  </a:lnTo>
                  <a:lnTo>
                    <a:pt x="95" y="236"/>
                  </a:lnTo>
                  <a:lnTo>
                    <a:pt x="94" y="240"/>
                  </a:lnTo>
                  <a:lnTo>
                    <a:pt x="92" y="243"/>
                  </a:lnTo>
                  <a:lnTo>
                    <a:pt x="88" y="245"/>
                  </a:lnTo>
                  <a:lnTo>
                    <a:pt x="86" y="247"/>
                  </a:lnTo>
                  <a:lnTo>
                    <a:pt x="82" y="248"/>
                  </a:lnTo>
                  <a:lnTo>
                    <a:pt x="78" y="249"/>
                  </a:lnTo>
                  <a:lnTo>
                    <a:pt x="74" y="249"/>
                  </a:lnTo>
                  <a:lnTo>
                    <a:pt x="70" y="248"/>
                  </a:lnTo>
                  <a:lnTo>
                    <a:pt x="65" y="246"/>
                  </a:lnTo>
                  <a:lnTo>
                    <a:pt x="62" y="244"/>
                  </a:lnTo>
                  <a:lnTo>
                    <a:pt x="51" y="229"/>
                  </a:lnTo>
                  <a:lnTo>
                    <a:pt x="48" y="225"/>
                  </a:lnTo>
                  <a:lnTo>
                    <a:pt x="35" y="218"/>
                  </a:lnTo>
                  <a:lnTo>
                    <a:pt x="33" y="217"/>
                  </a:lnTo>
                  <a:lnTo>
                    <a:pt x="30" y="214"/>
                  </a:lnTo>
                  <a:lnTo>
                    <a:pt x="28" y="211"/>
                  </a:lnTo>
                  <a:lnTo>
                    <a:pt x="28" y="207"/>
                  </a:lnTo>
                  <a:lnTo>
                    <a:pt x="28" y="204"/>
                  </a:lnTo>
                  <a:lnTo>
                    <a:pt x="28" y="189"/>
                  </a:lnTo>
                  <a:lnTo>
                    <a:pt x="28" y="185"/>
                  </a:lnTo>
                  <a:lnTo>
                    <a:pt x="25" y="174"/>
                  </a:lnTo>
                  <a:lnTo>
                    <a:pt x="25" y="170"/>
                  </a:lnTo>
                  <a:lnTo>
                    <a:pt x="27" y="152"/>
                  </a:lnTo>
                  <a:lnTo>
                    <a:pt x="27" y="148"/>
                  </a:lnTo>
                  <a:lnTo>
                    <a:pt x="26" y="144"/>
                  </a:lnTo>
                  <a:lnTo>
                    <a:pt x="24" y="140"/>
                  </a:lnTo>
                  <a:lnTo>
                    <a:pt x="21" y="137"/>
                  </a:lnTo>
                  <a:lnTo>
                    <a:pt x="20" y="136"/>
                  </a:lnTo>
                  <a:lnTo>
                    <a:pt x="7" y="132"/>
                  </a:lnTo>
                  <a:lnTo>
                    <a:pt x="4" y="130"/>
                  </a:lnTo>
                  <a:lnTo>
                    <a:pt x="1" y="128"/>
                  </a:lnTo>
                  <a:lnTo>
                    <a:pt x="0" y="124"/>
                  </a:lnTo>
                  <a:lnTo>
                    <a:pt x="0" y="121"/>
                  </a:lnTo>
                  <a:lnTo>
                    <a:pt x="3" y="117"/>
                  </a:lnTo>
                  <a:lnTo>
                    <a:pt x="16" y="104"/>
                  </a:lnTo>
                  <a:lnTo>
                    <a:pt x="20" y="101"/>
                  </a:lnTo>
                  <a:lnTo>
                    <a:pt x="24" y="99"/>
                  </a:lnTo>
                  <a:lnTo>
                    <a:pt x="28" y="98"/>
                  </a:lnTo>
                  <a:lnTo>
                    <a:pt x="45" y="95"/>
                  </a:lnTo>
                  <a:lnTo>
                    <a:pt x="49" y="94"/>
                  </a:lnTo>
                  <a:lnTo>
                    <a:pt x="53" y="92"/>
                  </a:lnTo>
                  <a:lnTo>
                    <a:pt x="57" y="89"/>
                  </a:lnTo>
                  <a:lnTo>
                    <a:pt x="59" y="85"/>
                  </a:lnTo>
                  <a:lnTo>
                    <a:pt x="64" y="73"/>
                  </a:lnTo>
                  <a:lnTo>
                    <a:pt x="75" y="52"/>
                  </a:lnTo>
                  <a:lnTo>
                    <a:pt x="77" y="47"/>
                  </a:lnTo>
                  <a:lnTo>
                    <a:pt x="77" y="46"/>
                  </a:lnTo>
                  <a:lnTo>
                    <a:pt x="76" y="40"/>
                  </a:lnTo>
                  <a:lnTo>
                    <a:pt x="73" y="30"/>
                  </a:lnTo>
                  <a:lnTo>
                    <a:pt x="72" y="22"/>
                  </a:lnTo>
                  <a:lnTo>
                    <a:pt x="72" y="18"/>
                  </a:lnTo>
                  <a:lnTo>
                    <a:pt x="73" y="15"/>
                  </a:lnTo>
                  <a:lnTo>
                    <a:pt x="73" y="11"/>
                  </a:lnTo>
                  <a:lnTo>
                    <a:pt x="74" y="9"/>
                  </a:lnTo>
                  <a:lnTo>
                    <a:pt x="75" y="7"/>
                  </a:lnTo>
                  <a:lnTo>
                    <a:pt x="78" y="4"/>
                  </a:lnTo>
                  <a:lnTo>
                    <a:pt x="81" y="1"/>
                  </a:lnTo>
                  <a:lnTo>
                    <a:pt x="85" y="0"/>
                  </a:lnTo>
                  <a:lnTo>
                    <a:pt x="89" y="0"/>
                  </a:lnTo>
                  <a:lnTo>
                    <a:pt x="93" y="0"/>
                  </a:lnTo>
                  <a:lnTo>
                    <a:pt x="98" y="2"/>
                  </a:lnTo>
                  <a:lnTo>
                    <a:pt x="102" y="6"/>
                  </a:lnTo>
                  <a:lnTo>
                    <a:pt x="104" y="9"/>
                  </a:lnTo>
                  <a:lnTo>
                    <a:pt x="110" y="23"/>
                  </a:lnTo>
                  <a:lnTo>
                    <a:pt x="111" y="27"/>
                  </a:lnTo>
                  <a:lnTo>
                    <a:pt x="114" y="30"/>
                  </a:lnTo>
                  <a:lnTo>
                    <a:pt x="117" y="32"/>
                  </a:lnTo>
                  <a:lnTo>
                    <a:pt x="118" y="33"/>
                  </a:lnTo>
                  <a:lnTo>
                    <a:pt x="122" y="33"/>
                  </a:lnTo>
                  <a:lnTo>
                    <a:pt x="127" y="32"/>
                  </a:lnTo>
                  <a:lnTo>
                    <a:pt x="135" y="29"/>
                  </a:lnTo>
                  <a:lnTo>
                    <a:pt x="140" y="27"/>
                  </a:lnTo>
                  <a:lnTo>
                    <a:pt x="145" y="27"/>
                  </a:lnTo>
                  <a:lnTo>
                    <a:pt x="163" y="27"/>
                  </a:lnTo>
                  <a:lnTo>
                    <a:pt x="167" y="25"/>
                  </a:lnTo>
                  <a:lnTo>
                    <a:pt x="171" y="23"/>
                  </a:lnTo>
                  <a:lnTo>
                    <a:pt x="186" y="15"/>
                  </a:lnTo>
                  <a:lnTo>
                    <a:pt x="189" y="14"/>
                  </a:lnTo>
                  <a:lnTo>
                    <a:pt x="193" y="15"/>
                  </a:lnTo>
                  <a:lnTo>
                    <a:pt x="197" y="16"/>
                  </a:lnTo>
                  <a:lnTo>
                    <a:pt x="207" y="24"/>
                  </a:lnTo>
                  <a:lnTo>
                    <a:pt x="207" y="24"/>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102" name="Freeform 16">
              <a:extLst>
                <a:ext uri="{FF2B5EF4-FFF2-40B4-BE49-F238E27FC236}"/>
              </a:extLst>
            </p:cNvPr>
            <p:cNvSpPr>
              <a:spLocks/>
            </p:cNvSpPr>
            <p:nvPr/>
          </p:nvSpPr>
          <p:spPr bwMode="auto">
            <a:xfrm>
              <a:off x="3506752" y="5175390"/>
              <a:ext cx="829892" cy="998514"/>
            </a:xfrm>
            <a:custGeom>
              <a:avLst/>
              <a:gdLst>
                <a:gd name="T0" fmla="*/ 522 w 524"/>
                <a:gd name="T1" fmla="*/ 294 h 628"/>
                <a:gd name="T2" fmla="*/ 502 w 524"/>
                <a:gd name="T3" fmla="*/ 307 h 628"/>
                <a:gd name="T4" fmla="*/ 503 w 524"/>
                <a:gd name="T5" fmla="*/ 345 h 628"/>
                <a:gd name="T6" fmla="*/ 502 w 524"/>
                <a:gd name="T7" fmla="*/ 371 h 628"/>
                <a:gd name="T8" fmla="*/ 494 w 524"/>
                <a:gd name="T9" fmla="*/ 385 h 628"/>
                <a:gd name="T10" fmla="*/ 459 w 524"/>
                <a:gd name="T11" fmla="*/ 399 h 628"/>
                <a:gd name="T12" fmla="*/ 446 w 524"/>
                <a:gd name="T13" fmla="*/ 412 h 628"/>
                <a:gd name="T14" fmla="*/ 432 w 524"/>
                <a:gd name="T15" fmla="*/ 434 h 628"/>
                <a:gd name="T16" fmla="*/ 379 w 524"/>
                <a:gd name="T17" fmla="*/ 490 h 628"/>
                <a:gd name="T18" fmla="*/ 381 w 524"/>
                <a:gd name="T19" fmla="*/ 515 h 628"/>
                <a:gd name="T20" fmla="*/ 378 w 524"/>
                <a:gd name="T21" fmla="*/ 576 h 628"/>
                <a:gd name="T22" fmla="*/ 381 w 524"/>
                <a:gd name="T23" fmla="*/ 605 h 628"/>
                <a:gd name="T24" fmla="*/ 366 w 524"/>
                <a:gd name="T25" fmla="*/ 621 h 628"/>
                <a:gd name="T26" fmla="*/ 344 w 524"/>
                <a:gd name="T27" fmla="*/ 614 h 628"/>
                <a:gd name="T28" fmla="*/ 313 w 524"/>
                <a:gd name="T29" fmla="*/ 600 h 628"/>
                <a:gd name="T30" fmla="*/ 291 w 524"/>
                <a:gd name="T31" fmla="*/ 586 h 628"/>
                <a:gd name="T32" fmla="*/ 277 w 524"/>
                <a:gd name="T33" fmla="*/ 564 h 628"/>
                <a:gd name="T34" fmla="*/ 261 w 524"/>
                <a:gd name="T35" fmla="*/ 537 h 628"/>
                <a:gd name="T36" fmla="*/ 250 w 524"/>
                <a:gd name="T37" fmla="*/ 530 h 628"/>
                <a:gd name="T38" fmla="*/ 230 w 524"/>
                <a:gd name="T39" fmla="*/ 546 h 628"/>
                <a:gd name="T40" fmla="*/ 215 w 524"/>
                <a:gd name="T41" fmla="*/ 588 h 628"/>
                <a:gd name="T42" fmla="*/ 201 w 524"/>
                <a:gd name="T43" fmla="*/ 585 h 628"/>
                <a:gd name="T44" fmla="*/ 178 w 524"/>
                <a:gd name="T45" fmla="*/ 557 h 628"/>
                <a:gd name="T46" fmla="*/ 164 w 524"/>
                <a:gd name="T47" fmla="*/ 546 h 628"/>
                <a:gd name="T48" fmla="*/ 127 w 524"/>
                <a:gd name="T49" fmla="*/ 539 h 628"/>
                <a:gd name="T50" fmla="*/ 120 w 524"/>
                <a:gd name="T51" fmla="*/ 524 h 628"/>
                <a:gd name="T52" fmla="*/ 96 w 524"/>
                <a:gd name="T53" fmla="*/ 522 h 628"/>
                <a:gd name="T54" fmla="*/ 89 w 524"/>
                <a:gd name="T55" fmla="*/ 510 h 628"/>
                <a:gd name="T56" fmla="*/ 92 w 524"/>
                <a:gd name="T57" fmla="*/ 477 h 628"/>
                <a:gd name="T58" fmla="*/ 71 w 524"/>
                <a:gd name="T59" fmla="*/ 451 h 628"/>
                <a:gd name="T60" fmla="*/ 58 w 524"/>
                <a:gd name="T61" fmla="*/ 402 h 628"/>
                <a:gd name="T62" fmla="*/ 47 w 524"/>
                <a:gd name="T63" fmla="*/ 392 h 628"/>
                <a:gd name="T64" fmla="*/ 12 w 524"/>
                <a:gd name="T65" fmla="*/ 389 h 628"/>
                <a:gd name="T66" fmla="*/ 2 w 524"/>
                <a:gd name="T67" fmla="*/ 378 h 628"/>
                <a:gd name="T68" fmla="*/ 2 w 524"/>
                <a:gd name="T69" fmla="*/ 322 h 628"/>
                <a:gd name="T70" fmla="*/ 12 w 524"/>
                <a:gd name="T71" fmla="*/ 326 h 628"/>
                <a:gd name="T72" fmla="*/ 35 w 524"/>
                <a:gd name="T73" fmla="*/ 313 h 628"/>
                <a:gd name="T74" fmla="*/ 64 w 524"/>
                <a:gd name="T75" fmla="*/ 313 h 628"/>
                <a:gd name="T76" fmla="*/ 75 w 524"/>
                <a:gd name="T77" fmla="*/ 309 h 628"/>
                <a:gd name="T78" fmla="*/ 84 w 524"/>
                <a:gd name="T79" fmla="*/ 280 h 628"/>
                <a:gd name="T80" fmla="*/ 75 w 524"/>
                <a:gd name="T81" fmla="*/ 255 h 628"/>
                <a:gd name="T82" fmla="*/ 80 w 524"/>
                <a:gd name="T83" fmla="*/ 222 h 628"/>
                <a:gd name="T84" fmla="*/ 73 w 524"/>
                <a:gd name="T85" fmla="*/ 209 h 628"/>
                <a:gd name="T86" fmla="*/ 52 w 524"/>
                <a:gd name="T87" fmla="*/ 211 h 628"/>
                <a:gd name="T88" fmla="*/ 74 w 524"/>
                <a:gd name="T89" fmla="*/ 147 h 628"/>
                <a:gd name="T90" fmla="*/ 103 w 524"/>
                <a:gd name="T91" fmla="*/ 123 h 628"/>
                <a:gd name="T92" fmla="*/ 106 w 524"/>
                <a:gd name="T93" fmla="*/ 105 h 628"/>
                <a:gd name="T94" fmla="*/ 109 w 524"/>
                <a:gd name="T95" fmla="*/ 63 h 628"/>
                <a:gd name="T96" fmla="*/ 134 w 524"/>
                <a:gd name="T97" fmla="*/ 110 h 628"/>
                <a:gd name="T98" fmla="*/ 152 w 524"/>
                <a:gd name="T99" fmla="*/ 111 h 628"/>
                <a:gd name="T100" fmla="*/ 242 w 524"/>
                <a:gd name="T101" fmla="*/ 45 h 628"/>
                <a:gd name="T102" fmla="*/ 262 w 524"/>
                <a:gd name="T103" fmla="*/ 30 h 628"/>
                <a:gd name="T104" fmla="*/ 284 w 524"/>
                <a:gd name="T105" fmla="*/ 27 h 628"/>
                <a:gd name="T106" fmla="*/ 312 w 524"/>
                <a:gd name="T107" fmla="*/ 20 h 628"/>
                <a:gd name="T108" fmla="*/ 338 w 524"/>
                <a:gd name="T109" fmla="*/ 23 h 628"/>
                <a:gd name="T110" fmla="*/ 416 w 524"/>
                <a:gd name="T111" fmla="*/ 32 h 628"/>
                <a:gd name="T112" fmla="*/ 447 w 524"/>
                <a:gd name="T113" fmla="*/ 75 h 628"/>
                <a:gd name="T114" fmla="*/ 447 w 524"/>
                <a:gd name="T115" fmla="*/ 90 h 628"/>
                <a:gd name="T116" fmla="*/ 426 w 524"/>
                <a:gd name="T117" fmla="*/ 146 h 628"/>
                <a:gd name="T118" fmla="*/ 439 w 524"/>
                <a:gd name="T119" fmla="*/ 171 h 628"/>
                <a:gd name="T120" fmla="*/ 524 w 524"/>
                <a:gd name="T121" fmla="*/ 26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628">
                  <a:moveTo>
                    <a:pt x="524" y="261"/>
                  </a:moveTo>
                  <a:lnTo>
                    <a:pt x="524" y="284"/>
                  </a:lnTo>
                  <a:lnTo>
                    <a:pt x="524" y="290"/>
                  </a:lnTo>
                  <a:lnTo>
                    <a:pt x="522" y="294"/>
                  </a:lnTo>
                  <a:lnTo>
                    <a:pt x="520" y="296"/>
                  </a:lnTo>
                  <a:lnTo>
                    <a:pt x="518" y="298"/>
                  </a:lnTo>
                  <a:lnTo>
                    <a:pt x="507" y="304"/>
                  </a:lnTo>
                  <a:lnTo>
                    <a:pt x="502" y="307"/>
                  </a:lnTo>
                  <a:lnTo>
                    <a:pt x="499" y="313"/>
                  </a:lnTo>
                  <a:lnTo>
                    <a:pt x="498" y="319"/>
                  </a:lnTo>
                  <a:lnTo>
                    <a:pt x="498" y="322"/>
                  </a:lnTo>
                  <a:lnTo>
                    <a:pt x="503" y="345"/>
                  </a:lnTo>
                  <a:lnTo>
                    <a:pt x="504" y="353"/>
                  </a:lnTo>
                  <a:lnTo>
                    <a:pt x="504" y="359"/>
                  </a:lnTo>
                  <a:lnTo>
                    <a:pt x="504" y="366"/>
                  </a:lnTo>
                  <a:lnTo>
                    <a:pt x="502" y="371"/>
                  </a:lnTo>
                  <a:lnTo>
                    <a:pt x="501" y="375"/>
                  </a:lnTo>
                  <a:lnTo>
                    <a:pt x="499" y="379"/>
                  </a:lnTo>
                  <a:lnTo>
                    <a:pt x="496" y="382"/>
                  </a:lnTo>
                  <a:lnTo>
                    <a:pt x="494" y="385"/>
                  </a:lnTo>
                  <a:lnTo>
                    <a:pt x="486" y="390"/>
                  </a:lnTo>
                  <a:lnTo>
                    <a:pt x="478" y="394"/>
                  </a:lnTo>
                  <a:lnTo>
                    <a:pt x="471" y="397"/>
                  </a:lnTo>
                  <a:lnTo>
                    <a:pt x="459" y="399"/>
                  </a:lnTo>
                  <a:lnTo>
                    <a:pt x="456" y="401"/>
                  </a:lnTo>
                  <a:lnTo>
                    <a:pt x="451" y="404"/>
                  </a:lnTo>
                  <a:lnTo>
                    <a:pt x="448" y="407"/>
                  </a:lnTo>
                  <a:lnTo>
                    <a:pt x="446" y="412"/>
                  </a:lnTo>
                  <a:lnTo>
                    <a:pt x="441" y="421"/>
                  </a:lnTo>
                  <a:lnTo>
                    <a:pt x="440" y="425"/>
                  </a:lnTo>
                  <a:lnTo>
                    <a:pt x="437" y="427"/>
                  </a:lnTo>
                  <a:lnTo>
                    <a:pt x="432" y="434"/>
                  </a:lnTo>
                  <a:lnTo>
                    <a:pt x="413" y="450"/>
                  </a:lnTo>
                  <a:lnTo>
                    <a:pt x="386" y="478"/>
                  </a:lnTo>
                  <a:lnTo>
                    <a:pt x="382" y="484"/>
                  </a:lnTo>
                  <a:lnTo>
                    <a:pt x="379" y="490"/>
                  </a:lnTo>
                  <a:lnTo>
                    <a:pt x="377" y="496"/>
                  </a:lnTo>
                  <a:lnTo>
                    <a:pt x="377" y="500"/>
                  </a:lnTo>
                  <a:lnTo>
                    <a:pt x="379" y="508"/>
                  </a:lnTo>
                  <a:lnTo>
                    <a:pt x="381" y="515"/>
                  </a:lnTo>
                  <a:lnTo>
                    <a:pt x="383" y="522"/>
                  </a:lnTo>
                  <a:lnTo>
                    <a:pt x="383" y="530"/>
                  </a:lnTo>
                  <a:lnTo>
                    <a:pt x="379" y="569"/>
                  </a:lnTo>
                  <a:lnTo>
                    <a:pt x="378" y="576"/>
                  </a:lnTo>
                  <a:lnTo>
                    <a:pt x="377" y="580"/>
                  </a:lnTo>
                  <a:lnTo>
                    <a:pt x="378" y="585"/>
                  </a:lnTo>
                  <a:lnTo>
                    <a:pt x="381" y="596"/>
                  </a:lnTo>
                  <a:lnTo>
                    <a:pt x="381" y="605"/>
                  </a:lnTo>
                  <a:lnTo>
                    <a:pt x="377" y="623"/>
                  </a:lnTo>
                  <a:lnTo>
                    <a:pt x="377" y="628"/>
                  </a:lnTo>
                  <a:lnTo>
                    <a:pt x="374" y="625"/>
                  </a:lnTo>
                  <a:lnTo>
                    <a:pt x="366" y="621"/>
                  </a:lnTo>
                  <a:lnTo>
                    <a:pt x="354" y="615"/>
                  </a:lnTo>
                  <a:lnTo>
                    <a:pt x="351" y="614"/>
                  </a:lnTo>
                  <a:lnTo>
                    <a:pt x="346" y="614"/>
                  </a:lnTo>
                  <a:lnTo>
                    <a:pt x="344" y="614"/>
                  </a:lnTo>
                  <a:lnTo>
                    <a:pt x="339" y="614"/>
                  </a:lnTo>
                  <a:lnTo>
                    <a:pt x="336" y="616"/>
                  </a:lnTo>
                  <a:lnTo>
                    <a:pt x="328" y="621"/>
                  </a:lnTo>
                  <a:lnTo>
                    <a:pt x="313" y="600"/>
                  </a:lnTo>
                  <a:lnTo>
                    <a:pt x="311" y="596"/>
                  </a:lnTo>
                  <a:lnTo>
                    <a:pt x="307" y="593"/>
                  </a:lnTo>
                  <a:lnTo>
                    <a:pt x="294" y="588"/>
                  </a:lnTo>
                  <a:lnTo>
                    <a:pt x="291" y="586"/>
                  </a:lnTo>
                  <a:lnTo>
                    <a:pt x="289" y="582"/>
                  </a:lnTo>
                  <a:lnTo>
                    <a:pt x="283" y="572"/>
                  </a:lnTo>
                  <a:lnTo>
                    <a:pt x="281" y="568"/>
                  </a:lnTo>
                  <a:lnTo>
                    <a:pt x="277" y="564"/>
                  </a:lnTo>
                  <a:lnTo>
                    <a:pt x="264" y="553"/>
                  </a:lnTo>
                  <a:lnTo>
                    <a:pt x="261" y="549"/>
                  </a:lnTo>
                  <a:lnTo>
                    <a:pt x="261" y="544"/>
                  </a:lnTo>
                  <a:lnTo>
                    <a:pt x="261" y="537"/>
                  </a:lnTo>
                  <a:lnTo>
                    <a:pt x="260" y="534"/>
                  </a:lnTo>
                  <a:lnTo>
                    <a:pt x="258" y="531"/>
                  </a:lnTo>
                  <a:lnTo>
                    <a:pt x="252" y="529"/>
                  </a:lnTo>
                  <a:lnTo>
                    <a:pt x="250" y="530"/>
                  </a:lnTo>
                  <a:lnTo>
                    <a:pt x="242" y="534"/>
                  </a:lnTo>
                  <a:lnTo>
                    <a:pt x="235" y="540"/>
                  </a:lnTo>
                  <a:lnTo>
                    <a:pt x="232" y="542"/>
                  </a:lnTo>
                  <a:lnTo>
                    <a:pt x="230" y="546"/>
                  </a:lnTo>
                  <a:lnTo>
                    <a:pt x="226" y="553"/>
                  </a:lnTo>
                  <a:lnTo>
                    <a:pt x="218" y="582"/>
                  </a:lnTo>
                  <a:lnTo>
                    <a:pt x="217" y="586"/>
                  </a:lnTo>
                  <a:lnTo>
                    <a:pt x="215" y="588"/>
                  </a:lnTo>
                  <a:lnTo>
                    <a:pt x="212" y="589"/>
                  </a:lnTo>
                  <a:lnTo>
                    <a:pt x="208" y="589"/>
                  </a:lnTo>
                  <a:lnTo>
                    <a:pt x="204" y="587"/>
                  </a:lnTo>
                  <a:lnTo>
                    <a:pt x="201" y="585"/>
                  </a:lnTo>
                  <a:lnTo>
                    <a:pt x="185" y="569"/>
                  </a:lnTo>
                  <a:lnTo>
                    <a:pt x="182" y="564"/>
                  </a:lnTo>
                  <a:lnTo>
                    <a:pt x="180" y="561"/>
                  </a:lnTo>
                  <a:lnTo>
                    <a:pt x="178" y="557"/>
                  </a:lnTo>
                  <a:lnTo>
                    <a:pt x="177" y="553"/>
                  </a:lnTo>
                  <a:lnTo>
                    <a:pt x="173" y="549"/>
                  </a:lnTo>
                  <a:lnTo>
                    <a:pt x="169" y="547"/>
                  </a:lnTo>
                  <a:lnTo>
                    <a:pt x="164" y="546"/>
                  </a:lnTo>
                  <a:lnTo>
                    <a:pt x="139" y="546"/>
                  </a:lnTo>
                  <a:lnTo>
                    <a:pt x="134" y="545"/>
                  </a:lnTo>
                  <a:lnTo>
                    <a:pt x="131" y="543"/>
                  </a:lnTo>
                  <a:lnTo>
                    <a:pt x="127" y="539"/>
                  </a:lnTo>
                  <a:lnTo>
                    <a:pt x="125" y="535"/>
                  </a:lnTo>
                  <a:lnTo>
                    <a:pt x="124" y="529"/>
                  </a:lnTo>
                  <a:lnTo>
                    <a:pt x="123" y="526"/>
                  </a:lnTo>
                  <a:lnTo>
                    <a:pt x="120" y="524"/>
                  </a:lnTo>
                  <a:lnTo>
                    <a:pt x="116" y="521"/>
                  </a:lnTo>
                  <a:lnTo>
                    <a:pt x="111" y="520"/>
                  </a:lnTo>
                  <a:lnTo>
                    <a:pt x="108" y="520"/>
                  </a:lnTo>
                  <a:lnTo>
                    <a:pt x="96" y="522"/>
                  </a:lnTo>
                  <a:lnTo>
                    <a:pt x="94" y="520"/>
                  </a:lnTo>
                  <a:lnTo>
                    <a:pt x="91" y="519"/>
                  </a:lnTo>
                  <a:lnTo>
                    <a:pt x="89" y="513"/>
                  </a:lnTo>
                  <a:lnTo>
                    <a:pt x="89" y="510"/>
                  </a:lnTo>
                  <a:lnTo>
                    <a:pt x="89" y="505"/>
                  </a:lnTo>
                  <a:lnTo>
                    <a:pt x="93" y="484"/>
                  </a:lnTo>
                  <a:lnTo>
                    <a:pt x="93" y="481"/>
                  </a:lnTo>
                  <a:lnTo>
                    <a:pt x="92" y="477"/>
                  </a:lnTo>
                  <a:lnTo>
                    <a:pt x="90" y="474"/>
                  </a:lnTo>
                  <a:lnTo>
                    <a:pt x="84" y="473"/>
                  </a:lnTo>
                  <a:lnTo>
                    <a:pt x="65" y="474"/>
                  </a:lnTo>
                  <a:lnTo>
                    <a:pt x="71" y="451"/>
                  </a:lnTo>
                  <a:lnTo>
                    <a:pt x="72" y="447"/>
                  </a:lnTo>
                  <a:lnTo>
                    <a:pt x="72" y="443"/>
                  </a:lnTo>
                  <a:lnTo>
                    <a:pt x="70" y="437"/>
                  </a:lnTo>
                  <a:lnTo>
                    <a:pt x="58" y="402"/>
                  </a:lnTo>
                  <a:lnTo>
                    <a:pt x="57" y="398"/>
                  </a:lnTo>
                  <a:lnTo>
                    <a:pt x="54" y="396"/>
                  </a:lnTo>
                  <a:lnTo>
                    <a:pt x="50" y="394"/>
                  </a:lnTo>
                  <a:lnTo>
                    <a:pt x="47" y="392"/>
                  </a:lnTo>
                  <a:lnTo>
                    <a:pt x="40" y="391"/>
                  </a:lnTo>
                  <a:lnTo>
                    <a:pt x="33" y="390"/>
                  </a:lnTo>
                  <a:lnTo>
                    <a:pt x="14" y="390"/>
                  </a:lnTo>
                  <a:lnTo>
                    <a:pt x="12" y="389"/>
                  </a:lnTo>
                  <a:lnTo>
                    <a:pt x="8" y="388"/>
                  </a:lnTo>
                  <a:lnTo>
                    <a:pt x="5" y="385"/>
                  </a:lnTo>
                  <a:lnTo>
                    <a:pt x="3" y="382"/>
                  </a:lnTo>
                  <a:lnTo>
                    <a:pt x="2" y="378"/>
                  </a:lnTo>
                  <a:lnTo>
                    <a:pt x="1" y="374"/>
                  </a:lnTo>
                  <a:lnTo>
                    <a:pt x="0" y="366"/>
                  </a:lnTo>
                  <a:lnTo>
                    <a:pt x="1" y="326"/>
                  </a:lnTo>
                  <a:lnTo>
                    <a:pt x="2" y="322"/>
                  </a:lnTo>
                  <a:lnTo>
                    <a:pt x="3" y="321"/>
                  </a:lnTo>
                  <a:lnTo>
                    <a:pt x="5" y="322"/>
                  </a:lnTo>
                  <a:lnTo>
                    <a:pt x="8" y="324"/>
                  </a:lnTo>
                  <a:lnTo>
                    <a:pt x="12" y="326"/>
                  </a:lnTo>
                  <a:lnTo>
                    <a:pt x="15" y="326"/>
                  </a:lnTo>
                  <a:lnTo>
                    <a:pt x="19" y="324"/>
                  </a:lnTo>
                  <a:lnTo>
                    <a:pt x="27" y="318"/>
                  </a:lnTo>
                  <a:lnTo>
                    <a:pt x="35" y="313"/>
                  </a:lnTo>
                  <a:lnTo>
                    <a:pt x="38" y="313"/>
                  </a:lnTo>
                  <a:lnTo>
                    <a:pt x="42" y="312"/>
                  </a:lnTo>
                  <a:lnTo>
                    <a:pt x="45" y="312"/>
                  </a:lnTo>
                  <a:lnTo>
                    <a:pt x="64" y="313"/>
                  </a:lnTo>
                  <a:lnTo>
                    <a:pt x="66" y="313"/>
                  </a:lnTo>
                  <a:lnTo>
                    <a:pt x="69" y="313"/>
                  </a:lnTo>
                  <a:lnTo>
                    <a:pt x="72" y="312"/>
                  </a:lnTo>
                  <a:lnTo>
                    <a:pt x="75" y="309"/>
                  </a:lnTo>
                  <a:lnTo>
                    <a:pt x="77" y="306"/>
                  </a:lnTo>
                  <a:lnTo>
                    <a:pt x="79" y="303"/>
                  </a:lnTo>
                  <a:lnTo>
                    <a:pt x="84" y="284"/>
                  </a:lnTo>
                  <a:lnTo>
                    <a:pt x="84" y="280"/>
                  </a:lnTo>
                  <a:lnTo>
                    <a:pt x="83" y="276"/>
                  </a:lnTo>
                  <a:lnTo>
                    <a:pt x="76" y="264"/>
                  </a:lnTo>
                  <a:lnTo>
                    <a:pt x="75" y="260"/>
                  </a:lnTo>
                  <a:lnTo>
                    <a:pt x="75" y="255"/>
                  </a:lnTo>
                  <a:lnTo>
                    <a:pt x="75" y="252"/>
                  </a:lnTo>
                  <a:lnTo>
                    <a:pt x="80" y="229"/>
                  </a:lnTo>
                  <a:lnTo>
                    <a:pt x="80" y="225"/>
                  </a:lnTo>
                  <a:lnTo>
                    <a:pt x="80" y="222"/>
                  </a:lnTo>
                  <a:lnTo>
                    <a:pt x="80" y="217"/>
                  </a:lnTo>
                  <a:lnTo>
                    <a:pt x="77" y="214"/>
                  </a:lnTo>
                  <a:lnTo>
                    <a:pt x="75" y="211"/>
                  </a:lnTo>
                  <a:lnTo>
                    <a:pt x="73" y="209"/>
                  </a:lnTo>
                  <a:lnTo>
                    <a:pt x="70" y="208"/>
                  </a:lnTo>
                  <a:lnTo>
                    <a:pt x="67" y="207"/>
                  </a:lnTo>
                  <a:lnTo>
                    <a:pt x="60" y="208"/>
                  </a:lnTo>
                  <a:lnTo>
                    <a:pt x="52" y="211"/>
                  </a:lnTo>
                  <a:lnTo>
                    <a:pt x="70" y="174"/>
                  </a:lnTo>
                  <a:lnTo>
                    <a:pt x="72" y="165"/>
                  </a:lnTo>
                  <a:lnTo>
                    <a:pt x="73" y="153"/>
                  </a:lnTo>
                  <a:lnTo>
                    <a:pt x="74" y="147"/>
                  </a:lnTo>
                  <a:lnTo>
                    <a:pt x="77" y="143"/>
                  </a:lnTo>
                  <a:lnTo>
                    <a:pt x="80" y="139"/>
                  </a:lnTo>
                  <a:lnTo>
                    <a:pt x="100" y="126"/>
                  </a:lnTo>
                  <a:lnTo>
                    <a:pt x="103" y="123"/>
                  </a:lnTo>
                  <a:lnTo>
                    <a:pt x="108" y="117"/>
                  </a:lnTo>
                  <a:lnTo>
                    <a:pt x="109" y="112"/>
                  </a:lnTo>
                  <a:lnTo>
                    <a:pt x="108" y="108"/>
                  </a:lnTo>
                  <a:lnTo>
                    <a:pt x="106" y="105"/>
                  </a:lnTo>
                  <a:lnTo>
                    <a:pt x="102" y="100"/>
                  </a:lnTo>
                  <a:lnTo>
                    <a:pt x="101" y="95"/>
                  </a:lnTo>
                  <a:lnTo>
                    <a:pt x="100" y="91"/>
                  </a:lnTo>
                  <a:lnTo>
                    <a:pt x="109" y="63"/>
                  </a:lnTo>
                  <a:lnTo>
                    <a:pt x="111" y="68"/>
                  </a:lnTo>
                  <a:lnTo>
                    <a:pt x="128" y="103"/>
                  </a:lnTo>
                  <a:lnTo>
                    <a:pt x="132" y="107"/>
                  </a:lnTo>
                  <a:lnTo>
                    <a:pt x="134" y="110"/>
                  </a:lnTo>
                  <a:lnTo>
                    <a:pt x="138" y="112"/>
                  </a:lnTo>
                  <a:lnTo>
                    <a:pt x="141" y="114"/>
                  </a:lnTo>
                  <a:lnTo>
                    <a:pt x="147" y="113"/>
                  </a:lnTo>
                  <a:lnTo>
                    <a:pt x="152" y="111"/>
                  </a:lnTo>
                  <a:lnTo>
                    <a:pt x="161" y="106"/>
                  </a:lnTo>
                  <a:lnTo>
                    <a:pt x="167" y="102"/>
                  </a:lnTo>
                  <a:lnTo>
                    <a:pt x="209" y="63"/>
                  </a:lnTo>
                  <a:lnTo>
                    <a:pt x="242" y="45"/>
                  </a:lnTo>
                  <a:lnTo>
                    <a:pt x="247" y="41"/>
                  </a:lnTo>
                  <a:lnTo>
                    <a:pt x="253" y="34"/>
                  </a:lnTo>
                  <a:lnTo>
                    <a:pt x="258" y="31"/>
                  </a:lnTo>
                  <a:lnTo>
                    <a:pt x="262" y="30"/>
                  </a:lnTo>
                  <a:lnTo>
                    <a:pt x="268" y="29"/>
                  </a:lnTo>
                  <a:lnTo>
                    <a:pt x="278" y="29"/>
                  </a:lnTo>
                  <a:lnTo>
                    <a:pt x="282" y="28"/>
                  </a:lnTo>
                  <a:lnTo>
                    <a:pt x="284" y="27"/>
                  </a:lnTo>
                  <a:lnTo>
                    <a:pt x="295" y="23"/>
                  </a:lnTo>
                  <a:lnTo>
                    <a:pt x="300" y="21"/>
                  </a:lnTo>
                  <a:lnTo>
                    <a:pt x="307" y="20"/>
                  </a:lnTo>
                  <a:lnTo>
                    <a:pt x="312" y="20"/>
                  </a:lnTo>
                  <a:lnTo>
                    <a:pt x="316" y="21"/>
                  </a:lnTo>
                  <a:lnTo>
                    <a:pt x="328" y="25"/>
                  </a:lnTo>
                  <a:lnTo>
                    <a:pt x="332" y="24"/>
                  </a:lnTo>
                  <a:lnTo>
                    <a:pt x="338" y="23"/>
                  </a:lnTo>
                  <a:lnTo>
                    <a:pt x="365" y="7"/>
                  </a:lnTo>
                  <a:lnTo>
                    <a:pt x="382" y="0"/>
                  </a:lnTo>
                  <a:lnTo>
                    <a:pt x="406" y="22"/>
                  </a:lnTo>
                  <a:lnTo>
                    <a:pt x="416" y="32"/>
                  </a:lnTo>
                  <a:lnTo>
                    <a:pt x="421" y="41"/>
                  </a:lnTo>
                  <a:lnTo>
                    <a:pt x="431" y="55"/>
                  </a:lnTo>
                  <a:lnTo>
                    <a:pt x="445" y="70"/>
                  </a:lnTo>
                  <a:lnTo>
                    <a:pt x="447" y="75"/>
                  </a:lnTo>
                  <a:lnTo>
                    <a:pt x="448" y="78"/>
                  </a:lnTo>
                  <a:lnTo>
                    <a:pt x="449" y="82"/>
                  </a:lnTo>
                  <a:lnTo>
                    <a:pt x="448" y="85"/>
                  </a:lnTo>
                  <a:lnTo>
                    <a:pt x="447" y="90"/>
                  </a:lnTo>
                  <a:lnTo>
                    <a:pt x="446" y="92"/>
                  </a:lnTo>
                  <a:lnTo>
                    <a:pt x="435" y="108"/>
                  </a:lnTo>
                  <a:lnTo>
                    <a:pt x="433" y="115"/>
                  </a:lnTo>
                  <a:lnTo>
                    <a:pt x="426" y="146"/>
                  </a:lnTo>
                  <a:lnTo>
                    <a:pt x="426" y="150"/>
                  </a:lnTo>
                  <a:lnTo>
                    <a:pt x="426" y="156"/>
                  </a:lnTo>
                  <a:lnTo>
                    <a:pt x="430" y="160"/>
                  </a:lnTo>
                  <a:lnTo>
                    <a:pt x="439" y="171"/>
                  </a:lnTo>
                  <a:lnTo>
                    <a:pt x="456" y="199"/>
                  </a:lnTo>
                  <a:lnTo>
                    <a:pt x="521" y="260"/>
                  </a:lnTo>
                  <a:lnTo>
                    <a:pt x="524" y="261"/>
                  </a:lnTo>
                  <a:lnTo>
                    <a:pt x="524" y="261"/>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103" name="Freeform 17">
              <a:extLst>
                <a:ext uri="{FF2B5EF4-FFF2-40B4-BE49-F238E27FC236}"/>
              </a:extLst>
            </p:cNvPr>
            <p:cNvSpPr>
              <a:spLocks noEditPoints="1"/>
            </p:cNvSpPr>
            <p:nvPr/>
          </p:nvSpPr>
          <p:spPr bwMode="auto">
            <a:xfrm>
              <a:off x="3562880" y="5925278"/>
              <a:ext cx="465061" cy="545373"/>
            </a:xfrm>
            <a:custGeom>
              <a:avLst/>
              <a:gdLst>
                <a:gd name="T0" fmla="*/ 67 w 293"/>
                <a:gd name="T1" fmla="*/ 278 h 343"/>
                <a:gd name="T2" fmla="*/ 74 w 293"/>
                <a:gd name="T3" fmla="*/ 279 h 343"/>
                <a:gd name="T4" fmla="*/ 81 w 293"/>
                <a:gd name="T5" fmla="*/ 266 h 343"/>
                <a:gd name="T6" fmla="*/ 93 w 293"/>
                <a:gd name="T7" fmla="*/ 282 h 343"/>
                <a:gd name="T8" fmla="*/ 99 w 293"/>
                <a:gd name="T9" fmla="*/ 302 h 343"/>
                <a:gd name="T10" fmla="*/ 83 w 293"/>
                <a:gd name="T11" fmla="*/ 297 h 343"/>
                <a:gd name="T12" fmla="*/ 78 w 293"/>
                <a:gd name="T13" fmla="*/ 287 h 343"/>
                <a:gd name="T14" fmla="*/ 51 w 293"/>
                <a:gd name="T15" fmla="*/ 283 h 343"/>
                <a:gd name="T16" fmla="*/ 33 w 293"/>
                <a:gd name="T17" fmla="*/ 266 h 343"/>
                <a:gd name="T18" fmla="*/ 28 w 293"/>
                <a:gd name="T19" fmla="*/ 251 h 343"/>
                <a:gd name="T20" fmla="*/ 45 w 293"/>
                <a:gd name="T21" fmla="*/ 264 h 343"/>
                <a:gd name="T22" fmla="*/ 59 w 293"/>
                <a:gd name="T23" fmla="*/ 243 h 343"/>
                <a:gd name="T24" fmla="*/ 59 w 293"/>
                <a:gd name="T25" fmla="*/ 258 h 343"/>
                <a:gd name="T26" fmla="*/ 68 w 293"/>
                <a:gd name="T27" fmla="*/ 272 h 343"/>
                <a:gd name="T28" fmla="*/ 45 w 293"/>
                <a:gd name="T29" fmla="*/ 259 h 343"/>
                <a:gd name="T30" fmla="*/ 53 w 293"/>
                <a:gd name="T31" fmla="*/ 244 h 343"/>
                <a:gd name="T32" fmla="*/ 45 w 293"/>
                <a:gd name="T33" fmla="*/ 233 h 343"/>
                <a:gd name="T34" fmla="*/ 51 w 293"/>
                <a:gd name="T35" fmla="*/ 232 h 343"/>
                <a:gd name="T36" fmla="*/ 286 w 293"/>
                <a:gd name="T37" fmla="*/ 152 h 343"/>
                <a:gd name="T38" fmla="*/ 278 w 293"/>
                <a:gd name="T39" fmla="*/ 185 h 343"/>
                <a:gd name="T40" fmla="*/ 261 w 293"/>
                <a:gd name="T41" fmla="*/ 199 h 343"/>
                <a:gd name="T42" fmla="*/ 257 w 293"/>
                <a:gd name="T43" fmla="*/ 223 h 343"/>
                <a:gd name="T44" fmla="*/ 254 w 293"/>
                <a:gd name="T45" fmla="*/ 248 h 343"/>
                <a:gd name="T46" fmla="*/ 271 w 293"/>
                <a:gd name="T47" fmla="*/ 268 h 343"/>
                <a:gd name="T48" fmla="*/ 263 w 293"/>
                <a:gd name="T49" fmla="*/ 279 h 343"/>
                <a:gd name="T50" fmla="*/ 256 w 293"/>
                <a:gd name="T51" fmla="*/ 289 h 343"/>
                <a:gd name="T52" fmla="*/ 243 w 293"/>
                <a:gd name="T53" fmla="*/ 311 h 343"/>
                <a:gd name="T54" fmla="*/ 219 w 293"/>
                <a:gd name="T55" fmla="*/ 323 h 343"/>
                <a:gd name="T56" fmla="*/ 208 w 293"/>
                <a:gd name="T57" fmla="*/ 340 h 343"/>
                <a:gd name="T58" fmla="*/ 200 w 293"/>
                <a:gd name="T59" fmla="*/ 325 h 343"/>
                <a:gd name="T60" fmla="*/ 191 w 293"/>
                <a:gd name="T61" fmla="*/ 289 h 343"/>
                <a:gd name="T62" fmla="*/ 187 w 293"/>
                <a:gd name="T63" fmla="*/ 280 h 343"/>
                <a:gd name="T64" fmla="*/ 173 w 293"/>
                <a:gd name="T65" fmla="*/ 264 h 343"/>
                <a:gd name="T66" fmla="*/ 160 w 293"/>
                <a:gd name="T67" fmla="*/ 244 h 343"/>
                <a:gd name="T68" fmla="*/ 151 w 293"/>
                <a:gd name="T69" fmla="*/ 226 h 343"/>
                <a:gd name="T70" fmla="*/ 138 w 293"/>
                <a:gd name="T71" fmla="*/ 213 h 343"/>
                <a:gd name="T72" fmla="*/ 129 w 293"/>
                <a:gd name="T73" fmla="*/ 206 h 343"/>
                <a:gd name="T74" fmla="*/ 128 w 293"/>
                <a:gd name="T75" fmla="*/ 213 h 343"/>
                <a:gd name="T76" fmla="*/ 120 w 293"/>
                <a:gd name="T77" fmla="*/ 159 h 343"/>
                <a:gd name="T78" fmla="*/ 113 w 293"/>
                <a:gd name="T79" fmla="*/ 149 h 343"/>
                <a:gd name="T80" fmla="*/ 89 w 293"/>
                <a:gd name="T81" fmla="*/ 127 h 343"/>
                <a:gd name="T82" fmla="*/ 77 w 293"/>
                <a:gd name="T83" fmla="*/ 118 h 343"/>
                <a:gd name="T84" fmla="*/ 63 w 293"/>
                <a:gd name="T85" fmla="*/ 106 h 343"/>
                <a:gd name="T86" fmla="*/ 32 w 293"/>
                <a:gd name="T87" fmla="*/ 86 h 343"/>
                <a:gd name="T88" fmla="*/ 13 w 293"/>
                <a:gd name="T89" fmla="*/ 61 h 343"/>
                <a:gd name="T90" fmla="*/ 3 w 293"/>
                <a:gd name="T91" fmla="*/ 44 h 343"/>
                <a:gd name="T92" fmla="*/ 8 w 293"/>
                <a:gd name="T93" fmla="*/ 22 h 343"/>
                <a:gd name="T94" fmla="*/ 49 w 293"/>
                <a:gd name="T95" fmla="*/ 0 h 343"/>
                <a:gd name="T96" fmla="*/ 54 w 293"/>
                <a:gd name="T97" fmla="*/ 37 h 343"/>
                <a:gd name="T98" fmla="*/ 76 w 293"/>
                <a:gd name="T99" fmla="*/ 47 h 343"/>
                <a:gd name="T100" fmla="*/ 92 w 293"/>
                <a:gd name="T101" fmla="*/ 66 h 343"/>
                <a:gd name="T102" fmla="*/ 138 w 293"/>
                <a:gd name="T103" fmla="*/ 76 h 343"/>
                <a:gd name="T104" fmla="*/ 166 w 293"/>
                <a:gd name="T105" fmla="*/ 112 h 343"/>
                <a:gd name="T106" fmla="*/ 183 w 293"/>
                <a:gd name="T107" fmla="*/ 109 h 343"/>
                <a:gd name="T108" fmla="*/ 215 w 293"/>
                <a:gd name="T109" fmla="*/ 57 h 343"/>
                <a:gd name="T110" fmla="*/ 226 w 293"/>
                <a:gd name="T111" fmla="*/ 76 h 343"/>
                <a:gd name="T112" fmla="*/ 256 w 293"/>
                <a:gd name="T113" fmla="*/ 113 h 343"/>
                <a:gd name="T114" fmla="*/ 293 w 293"/>
                <a:gd name="T115" fmla="*/ 1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3" h="343">
                  <a:moveTo>
                    <a:pt x="51" y="276"/>
                  </a:moveTo>
                  <a:lnTo>
                    <a:pt x="53" y="277"/>
                  </a:lnTo>
                  <a:lnTo>
                    <a:pt x="58" y="276"/>
                  </a:lnTo>
                  <a:lnTo>
                    <a:pt x="60" y="279"/>
                  </a:lnTo>
                  <a:lnTo>
                    <a:pt x="63" y="279"/>
                  </a:lnTo>
                  <a:lnTo>
                    <a:pt x="67" y="278"/>
                  </a:lnTo>
                  <a:lnTo>
                    <a:pt x="70" y="278"/>
                  </a:lnTo>
                  <a:lnTo>
                    <a:pt x="72" y="281"/>
                  </a:lnTo>
                  <a:lnTo>
                    <a:pt x="72" y="282"/>
                  </a:lnTo>
                  <a:lnTo>
                    <a:pt x="74" y="282"/>
                  </a:lnTo>
                  <a:lnTo>
                    <a:pt x="79" y="280"/>
                  </a:lnTo>
                  <a:lnTo>
                    <a:pt x="74" y="279"/>
                  </a:lnTo>
                  <a:lnTo>
                    <a:pt x="72" y="275"/>
                  </a:lnTo>
                  <a:lnTo>
                    <a:pt x="74" y="272"/>
                  </a:lnTo>
                  <a:lnTo>
                    <a:pt x="75" y="267"/>
                  </a:lnTo>
                  <a:lnTo>
                    <a:pt x="76" y="266"/>
                  </a:lnTo>
                  <a:lnTo>
                    <a:pt x="78" y="265"/>
                  </a:lnTo>
                  <a:lnTo>
                    <a:pt x="81" y="266"/>
                  </a:lnTo>
                  <a:lnTo>
                    <a:pt x="85" y="268"/>
                  </a:lnTo>
                  <a:lnTo>
                    <a:pt x="86" y="272"/>
                  </a:lnTo>
                  <a:lnTo>
                    <a:pt x="88" y="275"/>
                  </a:lnTo>
                  <a:lnTo>
                    <a:pt x="88" y="277"/>
                  </a:lnTo>
                  <a:lnTo>
                    <a:pt x="91" y="278"/>
                  </a:lnTo>
                  <a:lnTo>
                    <a:pt x="93" y="282"/>
                  </a:lnTo>
                  <a:lnTo>
                    <a:pt x="99" y="284"/>
                  </a:lnTo>
                  <a:lnTo>
                    <a:pt x="99" y="286"/>
                  </a:lnTo>
                  <a:lnTo>
                    <a:pt x="98" y="289"/>
                  </a:lnTo>
                  <a:lnTo>
                    <a:pt x="98" y="293"/>
                  </a:lnTo>
                  <a:lnTo>
                    <a:pt x="98" y="297"/>
                  </a:lnTo>
                  <a:lnTo>
                    <a:pt x="99" y="302"/>
                  </a:lnTo>
                  <a:lnTo>
                    <a:pt x="98" y="305"/>
                  </a:lnTo>
                  <a:lnTo>
                    <a:pt x="98" y="305"/>
                  </a:lnTo>
                  <a:lnTo>
                    <a:pt x="94" y="305"/>
                  </a:lnTo>
                  <a:lnTo>
                    <a:pt x="90" y="299"/>
                  </a:lnTo>
                  <a:lnTo>
                    <a:pt x="86" y="298"/>
                  </a:lnTo>
                  <a:lnTo>
                    <a:pt x="83" y="297"/>
                  </a:lnTo>
                  <a:lnTo>
                    <a:pt x="81" y="297"/>
                  </a:lnTo>
                  <a:lnTo>
                    <a:pt x="85" y="294"/>
                  </a:lnTo>
                  <a:lnTo>
                    <a:pt x="88" y="292"/>
                  </a:lnTo>
                  <a:lnTo>
                    <a:pt x="86" y="289"/>
                  </a:lnTo>
                  <a:lnTo>
                    <a:pt x="83" y="286"/>
                  </a:lnTo>
                  <a:lnTo>
                    <a:pt x="78" y="287"/>
                  </a:lnTo>
                  <a:lnTo>
                    <a:pt x="73" y="287"/>
                  </a:lnTo>
                  <a:lnTo>
                    <a:pt x="70" y="288"/>
                  </a:lnTo>
                  <a:lnTo>
                    <a:pt x="64" y="291"/>
                  </a:lnTo>
                  <a:lnTo>
                    <a:pt x="60" y="290"/>
                  </a:lnTo>
                  <a:lnTo>
                    <a:pt x="54" y="284"/>
                  </a:lnTo>
                  <a:lnTo>
                    <a:pt x="51" y="283"/>
                  </a:lnTo>
                  <a:lnTo>
                    <a:pt x="45" y="280"/>
                  </a:lnTo>
                  <a:lnTo>
                    <a:pt x="42" y="277"/>
                  </a:lnTo>
                  <a:lnTo>
                    <a:pt x="40" y="274"/>
                  </a:lnTo>
                  <a:lnTo>
                    <a:pt x="38" y="268"/>
                  </a:lnTo>
                  <a:lnTo>
                    <a:pt x="36" y="266"/>
                  </a:lnTo>
                  <a:lnTo>
                    <a:pt x="33" y="266"/>
                  </a:lnTo>
                  <a:lnTo>
                    <a:pt x="31" y="265"/>
                  </a:lnTo>
                  <a:lnTo>
                    <a:pt x="31" y="264"/>
                  </a:lnTo>
                  <a:lnTo>
                    <a:pt x="31" y="260"/>
                  </a:lnTo>
                  <a:lnTo>
                    <a:pt x="29" y="257"/>
                  </a:lnTo>
                  <a:lnTo>
                    <a:pt x="27" y="254"/>
                  </a:lnTo>
                  <a:lnTo>
                    <a:pt x="28" y="251"/>
                  </a:lnTo>
                  <a:lnTo>
                    <a:pt x="30" y="251"/>
                  </a:lnTo>
                  <a:lnTo>
                    <a:pt x="30" y="252"/>
                  </a:lnTo>
                  <a:lnTo>
                    <a:pt x="33" y="254"/>
                  </a:lnTo>
                  <a:lnTo>
                    <a:pt x="39" y="258"/>
                  </a:lnTo>
                  <a:lnTo>
                    <a:pt x="43" y="261"/>
                  </a:lnTo>
                  <a:lnTo>
                    <a:pt x="45" y="264"/>
                  </a:lnTo>
                  <a:lnTo>
                    <a:pt x="45" y="268"/>
                  </a:lnTo>
                  <a:lnTo>
                    <a:pt x="45" y="270"/>
                  </a:lnTo>
                  <a:lnTo>
                    <a:pt x="48" y="274"/>
                  </a:lnTo>
                  <a:lnTo>
                    <a:pt x="51" y="276"/>
                  </a:lnTo>
                  <a:lnTo>
                    <a:pt x="51" y="276"/>
                  </a:lnTo>
                  <a:close/>
                  <a:moveTo>
                    <a:pt x="59" y="243"/>
                  </a:moveTo>
                  <a:lnTo>
                    <a:pt x="59" y="246"/>
                  </a:lnTo>
                  <a:lnTo>
                    <a:pt x="58" y="250"/>
                  </a:lnTo>
                  <a:lnTo>
                    <a:pt x="59" y="252"/>
                  </a:lnTo>
                  <a:lnTo>
                    <a:pt x="64" y="254"/>
                  </a:lnTo>
                  <a:lnTo>
                    <a:pt x="66" y="258"/>
                  </a:lnTo>
                  <a:lnTo>
                    <a:pt x="59" y="258"/>
                  </a:lnTo>
                  <a:lnTo>
                    <a:pt x="57" y="261"/>
                  </a:lnTo>
                  <a:lnTo>
                    <a:pt x="58" y="264"/>
                  </a:lnTo>
                  <a:lnTo>
                    <a:pt x="61" y="265"/>
                  </a:lnTo>
                  <a:lnTo>
                    <a:pt x="64" y="267"/>
                  </a:lnTo>
                  <a:lnTo>
                    <a:pt x="68" y="268"/>
                  </a:lnTo>
                  <a:lnTo>
                    <a:pt x="68" y="272"/>
                  </a:lnTo>
                  <a:lnTo>
                    <a:pt x="68" y="274"/>
                  </a:lnTo>
                  <a:lnTo>
                    <a:pt x="63" y="272"/>
                  </a:lnTo>
                  <a:lnTo>
                    <a:pt x="58" y="269"/>
                  </a:lnTo>
                  <a:lnTo>
                    <a:pt x="54" y="269"/>
                  </a:lnTo>
                  <a:lnTo>
                    <a:pt x="52" y="267"/>
                  </a:lnTo>
                  <a:lnTo>
                    <a:pt x="45" y="259"/>
                  </a:lnTo>
                  <a:lnTo>
                    <a:pt x="40" y="251"/>
                  </a:lnTo>
                  <a:lnTo>
                    <a:pt x="42" y="250"/>
                  </a:lnTo>
                  <a:lnTo>
                    <a:pt x="46" y="250"/>
                  </a:lnTo>
                  <a:lnTo>
                    <a:pt x="49" y="249"/>
                  </a:lnTo>
                  <a:lnTo>
                    <a:pt x="52" y="247"/>
                  </a:lnTo>
                  <a:lnTo>
                    <a:pt x="53" y="244"/>
                  </a:lnTo>
                  <a:lnTo>
                    <a:pt x="55" y="244"/>
                  </a:lnTo>
                  <a:lnTo>
                    <a:pt x="56" y="240"/>
                  </a:lnTo>
                  <a:lnTo>
                    <a:pt x="54" y="236"/>
                  </a:lnTo>
                  <a:lnTo>
                    <a:pt x="51" y="234"/>
                  </a:lnTo>
                  <a:lnTo>
                    <a:pt x="48" y="234"/>
                  </a:lnTo>
                  <a:lnTo>
                    <a:pt x="45" y="233"/>
                  </a:lnTo>
                  <a:lnTo>
                    <a:pt x="42" y="233"/>
                  </a:lnTo>
                  <a:lnTo>
                    <a:pt x="42" y="232"/>
                  </a:lnTo>
                  <a:lnTo>
                    <a:pt x="43" y="231"/>
                  </a:lnTo>
                  <a:lnTo>
                    <a:pt x="45" y="230"/>
                  </a:lnTo>
                  <a:lnTo>
                    <a:pt x="45" y="231"/>
                  </a:lnTo>
                  <a:lnTo>
                    <a:pt x="51" y="232"/>
                  </a:lnTo>
                  <a:lnTo>
                    <a:pt x="54" y="234"/>
                  </a:lnTo>
                  <a:lnTo>
                    <a:pt x="58" y="237"/>
                  </a:lnTo>
                  <a:lnTo>
                    <a:pt x="59" y="243"/>
                  </a:lnTo>
                  <a:lnTo>
                    <a:pt x="59" y="243"/>
                  </a:lnTo>
                  <a:close/>
                  <a:moveTo>
                    <a:pt x="293" y="148"/>
                  </a:moveTo>
                  <a:lnTo>
                    <a:pt x="286" y="152"/>
                  </a:lnTo>
                  <a:lnTo>
                    <a:pt x="271" y="164"/>
                  </a:lnTo>
                  <a:lnTo>
                    <a:pt x="263" y="175"/>
                  </a:lnTo>
                  <a:lnTo>
                    <a:pt x="263" y="175"/>
                  </a:lnTo>
                  <a:lnTo>
                    <a:pt x="272" y="178"/>
                  </a:lnTo>
                  <a:lnTo>
                    <a:pt x="276" y="181"/>
                  </a:lnTo>
                  <a:lnTo>
                    <a:pt x="278" y="185"/>
                  </a:lnTo>
                  <a:lnTo>
                    <a:pt x="277" y="188"/>
                  </a:lnTo>
                  <a:lnTo>
                    <a:pt x="273" y="190"/>
                  </a:lnTo>
                  <a:lnTo>
                    <a:pt x="270" y="190"/>
                  </a:lnTo>
                  <a:lnTo>
                    <a:pt x="264" y="193"/>
                  </a:lnTo>
                  <a:lnTo>
                    <a:pt x="262" y="196"/>
                  </a:lnTo>
                  <a:lnTo>
                    <a:pt x="261" y="199"/>
                  </a:lnTo>
                  <a:lnTo>
                    <a:pt x="261" y="203"/>
                  </a:lnTo>
                  <a:lnTo>
                    <a:pt x="259" y="206"/>
                  </a:lnTo>
                  <a:lnTo>
                    <a:pt x="256" y="213"/>
                  </a:lnTo>
                  <a:lnTo>
                    <a:pt x="256" y="217"/>
                  </a:lnTo>
                  <a:lnTo>
                    <a:pt x="256" y="221"/>
                  </a:lnTo>
                  <a:lnTo>
                    <a:pt x="257" y="223"/>
                  </a:lnTo>
                  <a:lnTo>
                    <a:pt x="258" y="227"/>
                  </a:lnTo>
                  <a:lnTo>
                    <a:pt x="258" y="231"/>
                  </a:lnTo>
                  <a:lnTo>
                    <a:pt x="257" y="234"/>
                  </a:lnTo>
                  <a:lnTo>
                    <a:pt x="255" y="241"/>
                  </a:lnTo>
                  <a:lnTo>
                    <a:pt x="254" y="245"/>
                  </a:lnTo>
                  <a:lnTo>
                    <a:pt x="254" y="248"/>
                  </a:lnTo>
                  <a:lnTo>
                    <a:pt x="257" y="255"/>
                  </a:lnTo>
                  <a:lnTo>
                    <a:pt x="260" y="261"/>
                  </a:lnTo>
                  <a:lnTo>
                    <a:pt x="262" y="263"/>
                  </a:lnTo>
                  <a:lnTo>
                    <a:pt x="268" y="265"/>
                  </a:lnTo>
                  <a:lnTo>
                    <a:pt x="270" y="267"/>
                  </a:lnTo>
                  <a:lnTo>
                    <a:pt x="271" y="268"/>
                  </a:lnTo>
                  <a:lnTo>
                    <a:pt x="271" y="270"/>
                  </a:lnTo>
                  <a:lnTo>
                    <a:pt x="270" y="272"/>
                  </a:lnTo>
                  <a:lnTo>
                    <a:pt x="269" y="273"/>
                  </a:lnTo>
                  <a:lnTo>
                    <a:pt x="268" y="274"/>
                  </a:lnTo>
                  <a:lnTo>
                    <a:pt x="266" y="274"/>
                  </a:lnTo>
                  <a:lnTo>
                    <a:pt x="263" y="279"/>
                  </a:lnTo>
                  <a:lnTo>
                    <a:pt x="263" y="281"/>
                  </a:lnTo>
                  <a:lnTo>
                    <a:pt x="265" y="283"/>
                  </a:lnTo>
                  <a:lnTo>
                    <a:pt x="266" y="288"/>
                  </a:lnTo>
                  <a:lnTo>
                    <a:pt x="265" y="291"/>
                  </a:lnTo>
                  <a:lnTo>
                    <a:pt x="263" y="291"/>
                  </a:lnTo>
                  <a:lnTo>
                    <a:pt x="256" y="289"/>
                  </a:lnTo>
                  <a:lnTo>
                    <a:pt x="252" y="289"/>
                  </a:lnTo>
                  <a:lnTo>
                    <a:pt x="249" y="289"/>
                  </a:lnTo>
                  <a:lnTo>
                    <a:pt x="248" y="292"/>
                  </a:lnTo>
                  <a:lnTo>
                    <a:pt x="248" y="296"/>
                  </a:lnTo>
                  <a:lnTo>
                    <a:pt x="248" y="299"/>
                  </a:lnTo>
                  <a:lnTo>
                    <a:pt x="243" y="311"/>
                  </a:lnTo>
                  <a:lnTo>
                    <a:pt x="241" y="313"/>
                  </a:lnTo>
                  <a:lnTo>
                    <a:pt x="238" y="316"/>
                  </a:lnTo>
                  <a:lnTo>
                    <a:pt x="231" y="320"/>
                  </a:lnTo>
                  <a:lnTo>
                    <a:pt x="228" y="321"/>
                  </a:lnTo>
                  <a:lnTo>
                    <a:pt x="221" y="323"/>
                  </a:lnTo>
                  <a:lnTo>
                    <a:pt x="219" y="323"/>
                  </a:lnTo>
                  <a:lnTo>
                    <a:pt x="219" y="326"/>
                  </a:lnTo>
                  <a:lnTo>
                    <a:pt x="219" y="328"/>
                  </a:lnTo>
                  <a:lnTo>
                    <a:pt x="219" y="331"/>
                  </a:lnTo>
                  <a:lnTo>
                    <a:pt x="218" y="334"/>
                  </a:lnTo>
                  <a:lnTo>
                    <a:pt x="214" y="337"/>
                  </a:lnTo>
                  <a:lnTo>
                    <a:pt x="208" y="340"/>
                  </a:lnTo>
                  <a:lnTo>
                    <a:pt x="200" y="343"/>
                  </a:lnTo>
                  <a:lnTo>
                    <a:pt x="200" y="343"/>
                  </a:lnTo>
                  <a:lnTo>
                    <a:pt x="200" y="335"/>
                  </a:lnTo>
                  <a:lnTo>
                    <a:pt x="199" y="334"/>
                  </a:lnTo>
                  <a:lnTo>
                    <a:pt x="201" y="328"/>
                  </a:lnTo>
                  <a:lnTo>
                    <a:pt x="200" y="325"/>
                  </a:lnTo>
                  <a:lnTo>
                    <a:pt x="192" y="316"/>
                  </a:lnTo>
                  <a:lnTo>
                    <a:pt x="190" y="312"/>
                  </a:lnTo>
                  <a:lnTo>
                    <a:pt x="189" y="308"/>
                  </a:lnTo>
                  <a:lnTo>
                    <a:pt x="189" y="301"/>
                  </a:lnTo>
                  <a:lnTo>
                    <a:pt x="191" y="293"/>
                  </a:lnTo>
                  <a:lnTo>
                    <a:pt x="191" y="289"/>
                  </a:lnTo>
                  <a:lnTo>
                    <a:pt x="188" y="289"/>
                  </a:lnTo>
                  <a:lnTo>
                    <a:pt x="189" y="288"/>
                  </a:lnTo>
                  <a:lnTo>
                    <a:pt x="188" y="286"/>
                  </a:lnTo>
                  <a:lnTo>
                    <a:pt x="186" y="283"/>
                  </a:lnTo>
                  <a:lnTo>
                    <a:pt x="185" y="281"/>
                  </a:lnTo>
                  <a:lnTo>
                    <a:pt x="187" y="280"/>
                  </a:lnTo>
                  <a:lnTo>
                    <a:pt x="186" y="278"/>
                  </a:lnTo>
                  <a:lnTo>
                    <a:pt x="181" y="274"/>
                  </a:lnTo>
                  <a:lnTo>
                    <a:pt x="181" y="273"/>
                  </a:lnTo>
                  <a:lnTo>
                    <a:pt x="178" y="269"/>
                  </a:lnTo>
                  <a:lnTo>
                    <a:pt x="174" y="265"/>
                  </a:lnTo>
                  <a:lnTo>
                    <a:pt x="173" y="264"/>
                  </a:lnTo>
                  <a:lnTo>
                    <a:pt x="168" y="261"/>
                  </a:lnTo>
                  <a:lnTo>
                    <a:pt x="166" y="261"/>
                  </a:lnTo>
                  <a:lnTo>
                    <a:pt x="165" y="262"/>
                  </a:lnTo>
                  <a:lnTo>
                    <a:pt x="158" y="254"/>
                  </a:lnTo>
                  <a:lnTo>
                    <a:pt x="161" y="246"/>
                  </a:lnTo>
                  <a:lnTo>
                    <a:pt x="160" y="244"/>
                  </a:lnTo>
                  <a:lnTo>
                    <a:pt x="160" y="235"/>
                  </a:lnTo>
                  <a:lnTo>
                    <a:pt x="159" y="231"/>
                  </a:lnTo>
                  <a:lnTo>
                    <a:pt x="156" y="229"/>
                  </a:lnTo>
                  <a:lnTo>
                    <a:pt x="155" y="228"/>
                  </a:lnTo>
                  <a:lnTo>
                    <a:pt x="154" y="226"/>
                  </a:lnTo>
                  <a:lnTo>
                    <a:pt x="151" y="226"/>
                  </a:lnTo>
                  <a:lnTo>
                    <a:pt x="147" y="226"/>
                  </a:lnTo>
                  <a:lnTo>
                    <a:pt x="145" y="226"/>
                  </a:lnTo>
                  <a:lnTo>
                    <a:pt x="143" y="224"/>
                  </a:lnTo>
                  <a:lnTo>
                    <a:pt x="141" y="221"/>
                  </a:lnTo>
                  <a:lnTo>
                    <a:pt x="139" y="216"/>
                  </a:lnTo>
                  <a:lnTo>
                    <a:pt x="138" y="213"/>
                  </a:lnTo>
                  <a:lnTo>
                    <a:pt x="137" y="207"/>
                  </a:lnTo>
                  <a:lnTo>
                    <a:pt x="136" y="205"/>
                  </a:lnTo>
                  <a:lnTo>
                    <a:pt x="135" y="204"/>
                  </a:lnTo>
                  <a:lnTo>
                    <a:pt x="128" y="200"/>
                  </a:lnTo>
                  <a:lnTo>
                    <a:pt x="128" y="204"/>
                  </a:lnTo>
                  <a:lnTo>
                    <a:pt x="129" y="206"/>
                  </a:lnTo>
                  <a:lnTo>
                    <a:pt x="132" y="211"/>
                  </a:lnTo>
                  <a:lnTo>
                    <a:pt x="128" y="213"/>
                  </a:lnTo>
                  <a:lnTo>
                    <a:pt x="130" y="225"/>
                  </a:lnTo>
                  <a:lnTo>
                    <a:pt x="128" y="228"/>
                  </a:lnTo>
                  <a:lnTo>
                    <a:pt x="128" y="224"/>
                  </a:lnTo>
                  <a:lnTo>
                    <a:pt x="128" y="213"/>
                  </a:lnTo>
                  <a:lnTo>
                    <a:pt x="127" y="209"/>
                  </a:lnTo>
                  <a:lnTo>
                    <a:pt x="125" y="202"/>
                  </a:lnTo>
                  <a:lnTo>
                    <a:pt x="121" y="178"/>
                  </a:lnTo>
                  <a:lnTo>
                    <a:pt x="120" y="171"/>
                  </a:lnTo>
                  <a:lnTo>
                    <a:pt x="121" y="162"/>
                  </a:lnTo>
                  <a:lnTo>
                    <a:pt x="120" y="159"/>
                  </a:lnTo>
                  <a:lnTo>
                    <a:pt x="120" y="154"/>
                  </a:lnTo>
                  <a:lnTo>
                    <a:pt x="119" y="152"/>
                  </a:lnTo>
                  <a:lnTo>
                    <a:pt x="117" y="152"/>
                  </a:lnTo>
                  <a:lnTo>
                    <a:pt x="113" y="152"/>
                  </a:lnTo>
                  <a:lnTo>
                    <a:pt x="113" y="151"/>
                  </a:lnTo>
                  <a:lnTo>
                    <a:pt x="113" y="149"/>
                  </a:lnTo>
                  <a:lnTo>
                    <a:pt x="112" y="147"/>
                  </a:lnTo>
                  <a:lnTo>
                    <a:pt x="93" y="131"/>
                  </a:lnTo>
                  <a:lnTo>
                    <a:pt x="92" y="131"/>
                  </a:lnTo>
                  <a:lnTo>
                    <a:pt x="91" y="132"/>
                  </a:lnTo>
                  <a:lnTo>
                    <a:pt x="90" y="130"/>
                  </a:lnTo>
                  <a:lnTo>
                    <a:pt x="89" y="127"/>
                  </a:lnTo>
                  <a:lnTo>
                    <a:pt x="85" y="122"/>
                  </a:lnTo>
                  <a:lnTo>
                    <a:pt x="84" y="119"/>
                  </a:lnTo>
                  <a:lnTo>
                    <a:pt x="83" y="118"/>
                  </a:lnTo>
                  <a:lnTo>
                    <a:pt x="83" y="117"/>
                  </a:lnTo>
                  <a:lnTo>
                    <a:pt x="79" y="118"/>
                  </a:lnTo>
                  <a:lnTo>
                    <a:pt x="77" y="118"/>
                  </a:lnTo>
                  <a:lnTo>
                    <a:pt x="76" y="115"/>
                  </a:lnTo>
                  <a:lnTo>
                    <a:pt x="75" y="114"/>
                  </a:lnTo>
                  <a:lnTo>
                    <a:pt x="68" y="107"/>
                  </a:lnTo>
                  <a:lnTo>
                    <a:pt x="67" y="107"/>
                  </a:lnTo>
                  <a:lnTo>
                    <a:pt x="65" y="107"/>
                  </a:lnTo>
                  <a:lnTo>
                    <a:pt x="63" y="106"/>
                  </a:lnTo>
                  <a:lnTo>
                    <a:pt x="58" y="99"/>
                  </a:lnTo>
                  <a:lnTo>
                    <a:pt x="56" y="98"/>
                  </a:lnTo>
                  <a:lnTo>
                    <a:pt x="46" y="88"/>
                  </a:lnTo>
                  <a:lnTo>
                    <a:pt x="43" y="90"/>
                  </a:lnTo>
                  <a:lnTo>
                    <a:pt x="37" y="85"/>
                  </a:lnTo>
                  <a:lnTo>
                    <a:pt x="32" y="86"/>
                  </a:lnTo>
                  <a:lnTo>
                    <a:pt x="31" y="81"/>
                  </a:lnTo>
                  <a:lnTo>
                    <a:pt x="28" y="78"/>
                  </a:lnTo>
                  <a:lnTo>
                    <a:pt x="24" y="76"/>
                  </a:lnTo>
                  <a:lnTo>
                    <a:pt x="21" y="72"/>
                  </a:lnTo>
                  <a:lnTo>
                    <a:pt x="14" y="63"/>
                  </a:lnTo>
                  <a:lnTo>
                    <a:pt x="13" y="61"/>
                  </a:lnTo>
                  <a:lnTo>
                    <a:pt x="14" y="58"/>
                  </a:lnTo>
                  <a:lnTo>
                    <a:pt x="14" y="56"/>
                  </a:lnTo>
                  <a:lnTo>
                    <a:pt x="14" y="55"/>
                  </a:lnTo>
                  <a:lnTo>
                    <a:pt x="10" y="54"/>
                  </a:lnTo>
                  <a:lnTo>
                    <a:pt x="10" y="50"/>
                  </a:lnTo>
                  <a:lnTo>
                    <a:pt x="3" y="44"/>
                  </a:lnTo>
                  <a:lnTo>
                    <a:pt x="0" y="39"/>
                  </a:lnTo>
                  <a:lnTo>
                    <a:pt x="1" y="37"/>
                  </a:lnTo>
                  <a:lnTo>
                    <a:pt x="0" y="35"/>
                  </a:lnTo>
                  <a:lnTo>
                    <a:pt x="4" y="28"/>
                  </a:lnTo>
                  <a:lnTo>
                    <a:pt x="6" y="24"/>
                  </a:lnTo>
                  <a:lnTo>
                    <a:pt x="8" y="22"/>
                  </a:lnTo>
                  <a:lnTo>
                    <a:pt x="11" y="20"/>
                  </a:lnTo>
                  <a:lnTo>
                    <a:pt x="22" y="14"/>
                  </a:lnTo>
                  <a:lnTo>
                    <a:pt x="24" y="11"/>
                  </a:lnTo>
                  <a:lnTo>
                    <a:pt x="27" y="8"/>
                  </a:lnTo>
                  <a:lnTo>
                    <a:pt x="30" y="1"/>
                  </a:lnTo>
                  <a:lnTo>
                    <a:pt x="49" y="0"/>
                  </a:lnTo>
                  <a:lnTo>
                    <a:pt x="55" y="1"/>
                  </a:lnTo>
                  <a:lnTo>
                    <a:pt x="57" y="4"/>
                  </a:lnTo>
                  <a:lnTo>
                    <a:pt x="58" y="8"/>
                  </a:lnTo>
                  <a:lnTo>
                    <a:pt x="58" y="11"/>
                  </a:lnTo>
                  <a:lnTo>
                    <a:pt x="54" y="32"/>
                  </a:lnTo>
                  <a:lnTo>
                    <a:pt x="54" y="37"/>
                  </a:lnTo>
                  <a:lnTo>
                    <a:pt x="54" y="40"/>
                  </a:lnTo>
                  <a:lnTo>
                    <a:pt x="56" y="46"/>
                  </a:lnTo>
                  <a:lnTo>
                    <a:pt x="59" y="47"/>
                  </a:lnTo>
                  <a:lnTo>
                    <a:pt x="61" y="49"/>
                  </a:lnTo>
                  <a:lnTo>
                    <a:pt x="73" y="47"/>
                  </a:lnTo>
                  <a:lnTo>
                    <a:pt x="76" y="47"/>
                  </a:lnTo>
                  <a:lnTo>
                    <a:pt x="81" y="48"/>
                  </a:lnTo>
                  <a:lnTo>
                    <a:pt x="85" y="51"/>
                  </a:lnTo>
                  <a:lnTo>
                    <a:pt x="88" y="53"/>
                  </a:lnTo>
                  <a:lnTo>
                    <a:pt x="89" y="56"/>
                  </a:lnTo>
                  <a:lnTo>
                    <a:pt x="90" y="62"/>
                  </a:lnTo>
                  <a:lnTo>
                    <a:pt x="92" y="66"/>
                  </a:lnTo>
                  <a:lnTo>
                    <a:pt x="96" y="70"/>
                  </a:lnTo>
                  <a:lnTo>
                    <a:pt x="99" y="72"/>
                  </a:lnTo>
                  <a:lnTo>
                    <a:pt x="104" y="73"/>
                  </a:lnTo>
                  <a:lnTo>
                    <a:pt x="129" y="73"/>
                  </a:lnTo>
                  <a:lnTo>
                    <a:pt x="134" y="74"/>
                  </a:lnTo>
                  <a:lnTo>
                    <a:pt x="138" y="76"/>
                  </a:lnTo>
                  <a:lnTo>
                    <a:pt x="142" y="80"/>
                  </a:lnTo>
                  <a:lnTo>
                    <a:pt x="143" y="84"/>
                  </a:lnTo>
                  <a:lnTo>
                    <a:pt x="145" y="88"/>
                  </a:lnTo>
                  <a:lnTo>
                    <a:pt x="147" y="91"/>
                  </a:lnTo>
                  <a:lnTo>
                    <a:pt x="150" y="96"/>
                  </a:lnTo>
                  <a:lnTo>
                    <a:pt x="166" y="112"/>
                  </a:lnTo>
                  <a:lnTo>
                    <a:pt x="169" y="114"/>
                  </a:lnTo>
                  <a:lnTo>
                    <a:pt x="173" y="116"/>
                  </a:lnTo>
                  <a:lnTo>
                    <a:pt x="177" y="116"/>
                  </a:lnTo>
                  <a:lnTo>
                    <a:pt x="180" y="115"/>
                  </a:lnTo>
                  <a:lnTo>
                    <a:pt x="182" y="113"/>
                  </a:lnTo>
                  <a:lnTo>
                    <a:pt x="183" y="109"/>
                  </a:lnTo>
                  <a:lnTo>
                    <a:pt x="191" y="80"/>
                  </a:lnTo>
                  <a:lnTo>
                    <a:pt x="195" y="73"/>
                  </a:lnTo>
                  <a:lnTo>
                    <a:pt x="197" y="69"/>
                  </a:lnTo>
                  <a:lnTo>
                    <a:pt x="200" y="67"/>
                  </a:lnTo>
                  <a:lnTo>
                    <a:pt x="207" y="61"/>
                  </a:lnTo>
                  <a:lnTo>
                    <a:pt x="215" y="57"/>
                  </a:lnTo>
                  <a:lnTo>
                    <a:pt x="217" y="56"/>
                  </a:lnTo>
                  <a:lnTo>
                    <a:pt x="223" y="58"/>
                  </a:lnTo>
                  <a:lnTo>
                    <a:pt x="225" y="61"/>
                  </a:lnTo>
                  <a:lnTo>
                    <a:pt x="226" y="64"/>
                  </a:lnTo>
                  <a:lnTo>
                    <a:pt x="226" y="71"/>
                  </a:lnTo>
                  <a:lnTo>
                    <a:pt x="226" y="76"/>
                  </a:lnTo>
                  <a:lnTo>
                    <a:pt x="229" y="80"/>
                  </a:lnTo>
                  <a:lnTo>
                    <a:pt x="242" y="91"/>
                  </a:lnTo>
                  <a:lnTo>
                    <a:pt x="246" y="95"/>
                  </a:lnTo>
                  <a:lnTo>
                    <a:pt x="248" y="99"/>
                  </a:lnTo>
                  <a:lnTo>
                    <a:pt x="254" y="109"/>
                  </a:lnTo>
                  <a:lnTo>
                    <a:pt x="256" y="113"/>
                  </a:lnTo>
                  <a:lnTo>
                    <a:pt x="259" y="115"/>
                  </a:lnTo>
                  <a:lnTo>
                    <a:pt x="272" y="120"/>
                  </a:lnTo>
                  <a:lnTo>
                    <a:pt x="276" y="123"/>
                  </a:lnTo>
                  <a:lnTo>
                    <a:pt x="278" y="127"/>
                  </a:lnTo>
                  <a:lnTo>
                    <a:pt x="293" y="148"/>
                  </a:lnTo>
                  <a:lnTo>
                    <a:pt x="293" y="148"/>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a:solidFill>
                  <a:srgbClr val="000000"/>
                </a:solidFill>
                <a:latin typeface="Arial"/>
                <a:cs typeface="+mn-cs"/>
              </a:endParaRPr>
            </a:p>
          </p:txBody>
        </p:sp>
        <p:sp>
          <p:nvSpPr>
            <p:cNvPr id="104" name="Freeform 18">
              <a:extLst>
                <a:ext uri="{FF2B5EF4-FFF2-40B4-BE49-F238E27FC236}"/>
              </a:extLst>
            </p:cNvPr>
            <p:cNvSpPr>
              <a:spLocks/>
            </p:cNvSpPr>
            <p:nvPr/>
          </p:nvSpPr>
          <p:spPr bwMode="auto">
            <a:xfrm>
              <a:off x="2781095" y="4313221"/>
              <a:ext cx="1331037" cy="1668198"/>
            </a:xfrm>
            <a:custGeom>
              <a:avLst/>
              <a:gdLst>
                <a:gd name="T0" fmla="*/ 593 w 840"/>
                <a:gd name="T1" fmla="*/ 99 h 1051"/>
                <a:gd name="T2" fmla="*/ 719 w 840"/>
                <a:gd name="T3" fmla="*/ 197 h 1051"/>
                <a:gd name="T4" fmla="*/ 745 w 840"/>
                <a:gd name="T5" fmla="*/ 264 h 1051"/>
                <a:gd name="T6" fmla="*/ 813 w 840"/>
                <a:gd name="T7" fmla="*/ 363 h 1051"/>
                <a:gd name="T8" fmla="*/ 793 w 840"/>
                <a:gd name="T9" fmla="*/ 466 h 1051"/>
                <a:gd name="T10" fmla="*/ 753 w 840"/>
                <a:gd name="T11" fmla="*/ 566 h 1051"/>
                <a:gd name="T12" fmla="*/ 610 w 840"/>
                <a:gd name="T13" fmla="*/ 654 h 1051"/>
                <a:gd name="T14" fmla="*/ 531 w 840"/>
                <a:gd name="T15" fmla="*/ 605 h 1051"/>
                <a:gd name="T16" fmla="*/ 464 w 840"/>
                <a:gd name="T17" fmla="*/ 591 h 1051"/>
                <a:gd name="T18" fmla="*/ 432 w 840"/>
                <a:gd name="T19" fmla="*/ 604 h 1051"/>
                <a:gd name="T20" fmla="*/ 384 w 840"/>
                <a:gd name="T21" fmla="*/ 681 h 1051"/>
                <a:gd name="T22" fmla="*/ 387 w 840"/>
                <a:gd name="T23" fmla="*/ 730 h 1051"/>
                <a:gd name="T24" fmla="*/ 411 w 840"/>
                <a:gd name="T25" fmla="*/ 811 h 1051"/>
                <a:gd name="T26" fmla="*/ 470 w 840"/>
                <a:gd name="T27" fmla="*/ 771 h 1051"/>
                <a:gd name="T28" fmla="*/ 533 w 840"/>
                <a:gd name="T29" fmla="*/ 754 h 1051"/>
                <a:gd name="T30" fmla="*/ 537 w 840"/>
                <a:gd name="T31" fmla="*/ 846 h 1051"/>
                <a:gd name="T32" fmla="*/ 473 w 840"/>
                <a:gd name="T33" fmla="*/ 869 h 1051"/>
                <a:gd name="T34" fmla="*/ 470 w 840"/>
                <a:gd name="T35" fmla="*/ 932 h 1051"/>
                <a:gd name="T36" fmla="*/ 523 w 840"/>
                <a:gd name="T37" fmla="*/ 1017 h 1051"/>
                <a:gd name="T38" fmla="*/ 487 w 840"/>
                <a:gd name="T39" fmla="*/ 1043 h 1051"/>
                <a:gd name="T40" fmla="*/ 478 w 840"/>
                <a:gd name="T41" fmla="*/ 1027 h 1051"/>
                <a:gd name="T42" fmla="*/ 466 w 840"/>
                <a:gd name="T43" fmla="*/ 989 h 1051"/>
                <a:gd name="T44" fmla="*/ 446 w 840"/>
                <a:gd name="T45" fmla="*/ 971 h 1051"/>
                <a:gd name="T46" fmla="*/ 434 w 840"/>
                <a:gd name="T47" fmla="*/ 928 h 1051"/>
                <a:gd name="T48" fmla="*/ 417 w 840"/>
                <a:gd name="T49" fmla="*/ 905 h 1051"/>
                <a:gd name="T50" fmla="*/ 403 w 840"/>
                <a:gd name="T51" fmla="*/ 869 h 1051"/>
                <a:gd name="T52" fmla="*/ 391 w 840"/>
                <a:gd name="T53" fmla="*/ 839 h 1051"/>
                <a:gd name="T54" fmla="*/ 386 w 840"/>
                <a:gd name="T55" fmla="*/ 810 h 1051"/>
                <a:gd name="T56" fmla="*/ 351 w 840"/>
                <a:gd name="T57" fmla="*/ 757 h 1051"/>
                <a:gd name="T58" fmla="*/ 314 w 840"/>
                <a:gd name="T59" fmla="*/ 734 h 1051"/>
                <a:gd name="T60" fmla="*/ 285 w 840"/>
                <a:gd name="T61" fmla="*/ 704 h 1051"/>
                <a:gd name="T62" fmla="*/ 247 w 840"/>
                <a:gd name="T63" fmla="*/ 674 h 1051"/>
                <a:gd name="T64" fmla="*/ 214 w 840"/>
                <a:gd name="T65" fmla="*/ 668 h 1051"/>
                <a:gd name="T66" fmla="*/ 168 w 840"/>
                <a:gd name="T67" fmla="*/ 635 h 1051"/>
                <a:gd name="T68" fmla="*/ 147 w 840"/>
                <a:gd name="T69" fmla="*/ 598 h 1051"/>
                <a:gd name="T70" fmla="*/ 129 w 840"/>
                <a:gd name="T71" fmla="*/ 574 h 1051"/>
                <a:gd name="T72" fmla="*/ 124 w 840"/>
                <a:gd name="T73" fmla="*/ 567 h 1051"/>
                <a:gd name="T74" fmla="*/ 109 w 840"/>
                <a:gd name="T75" fmla="*/ 551 h 1051"/>
                <a:gd name="T76" fmla="*/ 87 w 840"/>
                <a:gd name="T77" fmla="*/ 514 h 1051"/>
                <a:gd name="T78" fmla="*/ 87 w 840"/>
                <a:gd name="T79" fmla="*/ 455 h 1051"/>
                <a:gd name="T80" fmla="*/ 74 w 840"/>
                <a:gd name="T81" fmla="*/ 424 h 1051"/>
                <a:gd name="T82" fmla="*/ 70 w 840"/>
                <a:gd name="T83" fmla="*/ 407 h 1051"/>
                <a:gd name="T84" fmla="*/ 48 w 840"/>
                <a:gd name="T85" fmla="*/ 354 h 1051"/>
                <a:gd name="T86" fmla="*/ 64 w 840"/>
                <a:gd name="T87" fmla="*/ 338 h 1051"/>
                <a:gd name="T88" fmla="*/ 83 w 840"/>
                <a:gd name="T89" fmla="*/ 289 h 1051"/>
                <a:gd name="T90" fmla="*/ 72 w 840"/>
                <a:gd name="T91" fmla="*/ 259 h 1051"/>
                <a:gd name="T92" fmla="*/ 49 w 840"/>
                <a:gd name="T93" fmla="*/ 209 h 1051"/>
                <a:gd name="T94" fmla="*/ 44 w 840"/>
                <a:gd name="T95" fmla="*/ 202 h 1051"/>
                <a:gd name="T96" fmla="*/ 38 w 840"/>
                <a:gd name="T97" fmla="*/ 182 h 1051"/>
                <a:gd name="T98" fmla="*/ 23 w 840"/>
                <a:gd name="T99" fmla="*/ 149 h 1051"/>
                <a:gd name="T100" fmla="*/ 0 w 840"/>
                <a:gd name="T101" fmla="*/ 103 h 1051"/>
                <a:gd name="T102" fmla="*/ 94 w 840"/>
                <a:gd name="T103" fmla="*/ 147 h 1051"/>
                <a:gd name="T104" fmla="*/ 205 w 840"/>
                <a:gd name="T105" fmla="*/ 149 h 1051"/>
                <a:gd name="T106" fmla="*/ 209 w 840"/>
                <a:gd name="T107" fmla="*/ 213 h 1051"/>
                <a:gd name="T108" fmla="*/ 238 w 840"/>
                <a:gd name="T109" fmla="*/ 262 h 1051"/>
                <a:gd name="T110" fmla="*/ 330 w 840"/>
                <a:gd name="T111" fmla="*/ 254 h 1051"/>
                <a:gd name="T112" fmla="*/ 470 w 840"/>
                <a:gd name="T113" fmla="*/ 134 h 1051"/>
                <a:gd name="T114" fmla="*/ 514 w 840"/>
                <a:gd name="T115" fmla="*/ 60 h 1051"/>
                <a:gd name="T116" fmla="*/ 537 w 840"/>
                <a:gd name="T117"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0" h="1051">
                  <a:moveTo>
                    <a:pt x="559" y="3"/>
                  </a:moveTo>
                  <a:lnTo>
                    <a:pt x="557" y="20"/>
                  </a:lnTo>
                  <a:lnTo>
                    <a:pt x="558" y="33"/>
                  </a:lnTo>
                  <a:lnTo>
                    <a:pt x="559" y="36"/>
                  </a:lnTo>
                  <a:lnTo>
                    <a:pt x="561" y="39"/>
                  </a:lnTo>
                  <a:lnTo>
                    <a:pt x="562" y="41"/>
                  </a:lnTo>
                  <a:lnTo>
                    <a:pt x="568" y="44"/>
                  </a:lnTo>
                  <a:lnTo>
                    <a:pt x="572" y="47"/>
                  </a:lnTo>
                  <a:lnTo>
                    <a:pt x="576" y="50"/>
                  </a:lnTo>
                  <a:lnTo>
                    <a:pt x="579" y="56"/>
                  </a:lnTo>
                  <a:lnTo>
                    <a:pt x="588" y="85"/>
                  </a:lnTo>
                  <a:lnTo>
                    <a:pt x="592" y="94"/>
                  </a:lnTo>
                  <a:lnTo>
                    <a:pt x="593" y="99"/>
                  </a:lnTo>
                  <a:lnTo>
                    <a:pt x="598" y="125"/>
                  </a:lnTo>
                  <a:lnTo>
                    <a:pt x="620" y="177"/>
                  </a:lnTo>
                  <a:lnTo>
                    <a:pt x="621" y="179"/>
                  </a:lnTo>
                  <a:lnTo>
                    <a:pt x="624" y="182"/>
                  </a:lnTo>
                  <a:lnTo>
                    <a:pt x="628" y="185"/>
                  </a:lnTo>
                  <a:lnTo>
                    <a:pt x="631" y="187"/>
                  </a:lnTo>
                  <a:lnTo>
                    <a:pt x="635" y="189"/>
                  </a:lnTo>
                  <a:lnTo>
                    <a:pt x="638" y="190"/>
                  </a:lnTo>
                  <a:lnTo>
                    <a:pt x="644" y="191"/>
                  </a:lnTo>
                  <a:lnTo>
                    <a:pt x="670" y="191"/>
                  </a:lnTo>
                  <a:lnTo>
                    <a:pt x="706" y="193"/>
                  </a:lnTo>
                  <a:lnTo>
                    <a:pt x="714" y="195"/>
                  </a:lnTo>
                  <a:lnTo>
                    <a:pt x="719" y="197"/>
                  </a:lnTo>
                  <a:lnTo>
                    <a:pt x="722" y="199"/>
                  </a:lnTo>
                  <a:lnTo>
                    <a:pt x="727" y="202"/>
                  </a:lnTo>
                  <a:lnTo>
                    <a:pt x="729" y="207"/>
                  </a:lnTo>
                  <a:lnTo>
                    <a:pt x="730" y="210"/>
                  </a:lnTo>
                  <a:lnTo>
                    <a:pt x="729" y="213"/>
                  </a:lnTo>
                  <a:lnTo>
                    <a:pt x="727" y="222"/>
                  </a:lnTo>
                  <a:lnTo>
                    <a:pt x="726" y="239"/>
                  </a:lnTo>
                  <a:lnTo>
                    <a:pt x="726" y="245"/>
                  </a:lnTo>
                  <a:lnTo>
                    <a:pt x="727" y="249"/>
                  </a:lnTo>
                  <a:lnTo>
                    <a:pt x="731" y="255"/>
                  </a:lnTo>
                  <a:lnTo>
                    <a:pt x="734" y="259"/>
                  </a:lnTo>
                  <a:lnTo>
                    <a:pt x="738" y="262"/>
                  </a:lnTo>
                  <a:lnTo>
                    <a:pt x="745" y="264"/>
                  </a:lnTo>
                  <a:lnTo>
                    <a:pt x="749" y="264"/>
                  </a:lnTo>
                  <a:lnTo>
                    <a:pt x="753" y="264"/>
                  </a:lnTo>
                  <a:lnTo>
                    <a:pt x="773" y="259"/>
                  </a:lnTo>
                  <a:lnTo>
                    <a:pt x="777" y="258"/>
                  </a:lnTo>
                  <a:lnTo>
                    <a:pt x="780" y="258"/>
                  </a:lnTo>
                  <a:lnTo>
                    <a:pt x="800" y="262"/>
                  </a:lnTo>
                  <a:lnTo>
                    <a:pt x="803" y="263"/>
                  </a:lnTo>
                  <a:lnTo>
                    <a:pt x="807" y="264"/>
                  </a:lnTo>
                  <a:lnTo>
                    <a:pt x="809" y="268"/>
                  </a:lnTo>
                  <a:lnTo>
                    <a:pt x="809" y="269"/>
                  </a:lnTo>
                  <a:lnTo>
                    <a:pt x="805" y="295"/>
                  </a:lnTo>
                  <a:lnTo>
                    <a:pt x="805" y="302"/>
                  </a:lnTo>
                  <a:lnTo>
                    <a:pt x="813" y="363"/>
                  </a:lnTo>
                  <a:lnTo>
                    <a:pt x="813" y="367"/>
                  </a:lnTo>
                  <a:lnTo>
                    <a:pt x="813" y="370"/>
                  </a:lnTo>
                  <a:lnTo>
                    <a:pt x="812" y="374"/>
                  </a:lnTo>
                  <a:lnTo>
                    <a:pt x="810" y="377"/>
                  </a:lnTo>
                  <a:lnTo>
                    <a:pt x="808" y="381"/>
                  </a:lnTo>
                  <a:lnTo>
                    <a:pt x="803" y="388"/>
                  </a:lnTo>
                  <a:lnTo>
                    <a:pt x="801" y="391"/>
                  </a:lnTo>
                  <a:lnTo>
                    <a:pt x="800" y="395"/>
                  </a:lnTo>
                  <a:lnTo>
                    <a:pt x="799" y="399"/>
                  </a:lnTo>
                  <a:lnTo>
                    <a:pt x="802" y="429"/>
                  </a:lnTo>
                  <a:lnTo>
                    <a:pt x="800" y="437"/>
                  </a:lnTo>
                  <a:lnTo>
                    <a:pt x="794" y="462"/>
                  </a:lnTo>
                  <a:lnTo>
                    <a:pt x="793" y="466"/>
                  </a:lnTo>
                  <a:lnTo>
                    <a:pt x="794" y="470"/>
                  </a:lnTo>
                  <a:lnTo>
                    <a:pt x="794" y="474"/>
                  </a:lnTo>
                  <a:lnTo>
                    <a:pt x="796" y="477"/>
                  </a:lnTo>
                  <a:lnTo>
                    <a:pt x="840" y="543"/>
                  </a:lnTo>
                  <a:lnTo>
                    <a:pt x="823" y="550"/>
                  </a:lnTo>
                  <a:lnTo>
                    <a:pt x="796" y="566"/>
                  </a:lnTo>
                  <a:lnTo>
                    <a:pt x="790" y="567"/>
                  </a:lnTo>
                  <a:lnTo>
                    <a:pt x="786" y="568"/>
                  </a:lnTo>
                  <a:lnTo>
                    <a:pt x="774" y="564"/>
                  </a:lnTo>
                  <a:lnTo>
                    <a:pt x="770" y="563"/>
                  </a:lnTo>
                  <a:lnTo>
                    <a:pt x="765" y="563"/>
                  </a:lnTo>
                  <a:lnTo>
                    <a:pt x="758" y="564"/>
                  </a:lnTo>
                  <a:lnTo>
                    <a:pt x="753" y="566"/>
                  </a:lnTo>
                  <a:lnTo>
                    <a:pt x="742" y="570"/>
                  </a:lnTo>
                  <a:lnTo>
                    <a:pt x="740" y="571"/>
                  </a:lnTo>
                  <a:lnTo>
                    <a:pt x="736" y="572"/>
                  </a:lnTo>
                  <a:lnTo>
                    <a:pt x="726" y="572"/>
                  </a:lnTo>
                  <a:lnTo>
                    <a:pt x="720" y="573"/>
                  </a:lnTo>
                  <a:lnTo>
                    <a:pt x="716" y="574"/>
                  </a:lnTo>
                  <a:lnTo>
                    <a:pt x="711" y="577"/>
                  </a:lnTo>
                  <a:lnTo>
                    <a:pt x="705" y="584"/>
                  </a:lnTo>
                  <a:lnTo>
                    <a:pt x="700" y="588"/>
                  </a:lnTo>
                  <a:lnTo>
                    <a:pt x="667" y="606"/>
                  </a:lnTo>
                  <a:lnTo>
                    <a:pt x="625" y="645"/>
                  </a:lnTo>
                  <a:lnTo>
                    <a:pt x="619" y="649"/>
                  </a:lnTo>
                  <a:lnTo>
                    <a:pt x="610" y="654"/>
                  </a:lnTo>
                  <a:lnTo>
                    <a:pt x="605" y="656"/>
                  </a:lnTo>
                  <a:lnTo>
                    <a:pt x="599" y="657"/>
                  </a:lnTo>
                  <a:lnTo>
                    <a:pt x="596" y="655"/>
                  </a:lnTo>
                  <a:lnTo>
                    <a:pt x="592" y="653"/>
                  </a:lnTo>
                  <a:lnTo>
                    <a:pt x="590" y="650"/>
                  </a:lnTo>
                  <a:lnTo>
                    <a:pt x="586" y="646"/>
                  </a:lnTo>
                  <a:lnTo>
                    <a:pt x="569" y="611"/>
                  </a:lnTo>
                  <a:lnTo>
                    <a:pt x="567" y="606"/>
                  </a:lnTo>
                  <a:lnTo>
                    <a:pt x="557" y="598"/>
                  </a:lnTo>
                  <a:lnTo>
                    <a:pt x="553" y="597"/>
                  </a:lnTo>
                  <a:lnTo>
                    <a:pt x="549" y="596"/>
                  </a:lnTo>
                  <a:lnTo>
                    <a:pt x="546" y="597"/>
                  </a:lnTo>
                  <a:lnTo>
                    <a:pt x="531" y="605"/>
                  </a:lnTo>
                  <a:lnTo>
                    <a:pt x="527" y="607"/>
                  </a:lnTo>
                  <a:lnTo>
                    <a:pt x="523" y="609"/>
                  </a:lnTo>
                  <a:lnTo>
                    <a:pt x="505" y="609"/>
                  </a:lnTo>
                  <a:lnTo>
                    <a:pt x="500" y="609"/>
                  </a:lnTo>
                  <a:lnTo>
                    <a:pt x="495" y="611"/>
                  </a:lnTo>
                  <a:lnTo>
                    <a:pt x="487" y="614"/>
                  </a:lnTo>
                  <a:lnTo>
                    <a:pt x="482" y="615"/>
                  </a:lnTo>
                  <a:lnTo>
                    <a:pt x="478" y="615"/>
                  </a:lnTo>
                  <a:lnTo>
                    <a:pt x="477" y="614"/>
                  </a:lnTo>
                  <a:lnTo>
                    <a:pt x="474" y="612"/>
                  </a:lnTo>
                  <a:lnTo>
                    <a:pt x="471" y="609"/>
                  </a:lnTo>
                  <a:lnTo>
                    <a:pt x="470" y="605"/>
                  </a:lnTo>
                  <a:lnTo>
                    <a:pt x="464" y="591"/>
                  </a:lnTo>
                  <a:lnTo>
                    <a:pt x="462" y="588"/>
                  </a:lnTo>
                  <a:lnTo>
                    <a:pt x="458" y="584"/>
                  </a:lnTo>
                  <a:lnTo>
                    <a:pt x="453" y="582"/>
                  </a:lnTo>
                  <a:lnTo>
                    <a:pt x="449" y="582"/>
                  </a:lnTo>
                  <a:lnTo>
                    <a:pt x="445" y="582"/>
                  </a:lnTo>
                  <a:lnTo>
                    <a:pt x="441" y="583"/>
                  </a:lnTo>
                  <a:lnTo>
                    <a:pt x="438" y="586"/>
                  </a:lnTo>
                  <a:lnTo>
                    <a:pt x="435" y="589"/>
                  </a:lnTo>
                  <a:lnTo>
                    <a:pt x="434" y="591"/>
                  </a:lnTo>
                  <a:lnTo>
                    <a:pt x="433" y="593"/>
                  </a:lnTo>
                  <a:lnTo>
                    <a:pt x="433" y="597"/>
                  </a:lnTo>
                  <a:lnTo>
                    <a:pt x="432" y="600"/>
                  </a:lnTo>
                  <a:lnTo>
                    <a:pt x="432" y="604"/>
                  </a:lnTo>
                  <a:lnTo>
                    <a:pt x="433" y="612"/>
                  </a:lnTo>
                  <a:lnTo>
                    <a:pt x="436" y="622"/>
                  </a:lnTo>
                  <a:lnTo>
                    <a:pt x="437" y="628"/>
                  </a:lnTo>
                  <a:lnTo>
                    <a:pt x="437" y="629"/>
                  </a:lnTo>
                  <a:lnTo>
                    <a:pt x="435" y="634"/>
                  </a:lnTo>
                  <a:lnTo>
                    <a:pt x="424" y="655"/>
                  </a:lnTo>
                  <a:lnTo>
                    <a:pt x="419" y="667"/>
                  </a:lnTo>
                  <a:lnTo>
                    <a:pt x="417" y="671"/>
                  </a:lnTo>
                  <a:lnTo>
                    <a:pt x="413" y="674"/>
                  </a:lnTo>
                  <a:lnTo>
                    <a:pt x="409" y="676"/>
                  </a:lnTo>
                  <a:lnTo>
                    <a:pt x="405" y="677"/>
                  </a:lnTo>
                  <a:lnTo>
                    <a:pt x="388" y="680"/>
                  </a:lnTo>
                  <a:lnTo>
                    <a:pt x="384" y="681"/>
                  </a:lnTo>
                  <a:lnTo>
                    <a:pt x="380" y="683"/>
                  </a:lnTo>
                  <a:lnTo>
                    <a:pt x="376" y="686"/>
                  </a:lnTo>
                  <a:lnTo>
                    <a:pt x="363" y="699"/>
                  </a:lnTo>
                  <a:lnTo>
                    <a:pt x="360" y="703"/>
                  </a:lnTo>
                  <a:lnTo>
                    <a:pt x="360" y="706"/>
                  </a:lnTo>
                  <a:lnTo>
                    <a:pt x="361" y="710"/>
                  </a:lnTo>
                  <a:lnTo>
                    <a:pt x="364" y="712"/>
                  </a:lnTo>
                  <a:lnTo>
                    <a:pt x="367" y="714"/>
                  </a:lnTo>
                  <a:lnTo>
                    <a:pt x="380" y="718"/>
                  </a:lnTo>
                  <a:lnTo>
                    <a:pt x="381" y="719"/>
                  </a:lnTo>
                  <a:lnTo>
                    <a:pt x="384" y="722"/>
                  </a:lnTo>
                  <a:lnTo>
                    <a:pt x="386" y="726"/>
                  </a:lnTo>
                  <a:lnTo>
                    <a:pt x="387" y="730"/>
                  </a:lnTo>
                  <a:lnTo>
                    <a:pt x="387" y="734"/>
                  </a:lnTo>
                  <a:lnTo>
                    <a:pt x="385" y="752"/>
                  </a:lnTo>
                  <a:lnTo>
                    <a:pt x="385" y="756"/>
                  </a:lnTo>
                  <a:lnTo>
                    <a:pt x="388" y="767"/>
                  </a:lnTo>
                  <a:lnTo>
                    <a:pt x="388" y="771"/>
                  </a:lnTo>
                  <a:lnTo>
                    <a:pt x="388" y="786"/>
                  </a:lnTo>
                  <a:lnTo>
                    <a:pt x="388" y="789"/>
                  </a:lnTo>
                  <a:lnTo>
                    <a:pt x="388" y="793"/>
                  </a:lnTo>
                  <a:lnTo>
                    <a:pt x="390" y="796"/>
                  </a:lnTo>
                  <a:lnTo>
                    <a:pt x="393" y="799"/>
                  </a:lnTo>
                  <a:lnTo>
                    <a:pt x="395" y="800"/>
                  </a:lnTo>
                  <a:lnTo>
                    <a:pt x="408" y="807"/>
                  </a:lnTo>
                  <a:lnTo>
                    <a:pt x="411" y="811"/>
                  </a:lnTo>
                  <a:lnTo>
                    <a:pt x="422" y="826"/>
                  </a:lnTo>
                  <a:lnTo>
                    <a:pt x="425" y="828"/>
                  </a:lnTo>
                  <a:lnTo>
                    <a:pt x="430" y="830"/>
                  </a:lnTo>
                  <a:lnTo>
                    <a:pt x="434" y="831"/>
                  </a:lnTo>
                  <a:lnTo>
                    <a:pt x="438" y="831"/>
                  </a:lnTo>
                  <a:lnTo>
                    <a:pt x="442" y="830"/>
                  </a:lnTo>
                  <a:lnTo>
                    <a:pt x="446" y="829"/>
                  </a:lnTo>
                  <a:lnTo>
                    <a:pt x="448" y="827"/>
                  </a:lnTo>
                  <a:lnTo>
                    <a:pt x="452" y="825"/>
                  </a:lnTo>
                  <a:lnTo>
                    <a:pt x="454" y="822"/>
                  </a:lnTo>
                  <a:lnTo>
                    <a:pt x="455" y="818"/>
                  </a:lnTo>
                  <a:lnTo>
                    <a:pt x="459" y="799"/>
                  </a:lnTo>
                  <a:lnTo>
                    <a:pt x="470" y="771"/>
                  </a:lnTo>
                  <a:lnTo>
                    <a:pt x="475" y="763"/>
                  </a:lnTo>
                  <a:lnTo>
                    <a:pt x="477" y="760"/>
                  </a:lnTo>
                  <a:lnTo>
                    <a:pt x="478" y="759"/>
                  </a:lnTo>
                  <a:lnTo>
                    <a:pt x="481" y="757"/>
                  </a:lnTo>
                  <a:lnTo>
                    <a:pt x="485" y="757"/>
                  </a:lnTo>
                  <a:lnTo>
                    <a:pt x="501" y="757"/>
                  </a:lnTo>
                  <a:lnTo>
                    <a:pt x="506" y="756"/>
                  </a:lnTo>
                  <a:lnTo>
                    <a:pt x="510" y="754"/>
                  </a:lnTo>
                  <a:lnTo>
                    <a:pt x="518" y="751"/>
                  </a:lnTo>
                  <a:lnTo>
                    <a:pt x="525" y="750"/>
                  </a:lnTo>
                  <a:lnTo>
                    <a:pt x="528" y="751"/>
                  </a:lnTo>
                  <a:lnTo>
                    <a:pt x="531" y="752"/>
                  </a:lnTo>
                  <a:lnTo>
                    <a:pt x="533" y="754"/>
                  </a:lnTo>
                  <a:lnTo>
                    <a:pt x="535" y="757"/>
                  </a:lnTo>
                  <a:lnTo>
                    <a:pt x="538" y="760"/>
                  </a:lnTo>
                  <a:lnTo>
                    <a:pt x="538" y="765"/>
                  </a:lnTo>
                  <a:lnTo>
                    <a:pt x="538" y="768"/>
                  </a:lnTo>
                  <a:lnTo>
                    <a:pt x="538" y="772"/>
                  </a:lnTo>
                  <a:lnTo>
                    <a:pt x="533" y="795"/>
                  </a:lnTo>
                  <a:lnTo>
                    <a:pt x="533" y="798"/>
                  </a:lnTo>
                  <a:lnTo>
                    <a:pt x="533" y="803"/>
                  </a:lnTo>
                  <a:lnTo>
                    <a:pt x="534" y="807"/>
                  </a:lnTo>
                  <a:lnTo>
                    <a:pt x="541" y="819"/>
                  </a:lnTo>
                  <a:lnTo>
                    <a:pt x="542" y="823"/>
                  </a:lnTo>
                  <a:lnTo>
                    <a:pt x="542" y="827"/>
                  </a:lnTo>
                  <a:lnTo>
                    <a:pt x="537" y="846"/>
                  </a:lnTo>
                  <a:lnTo>
                    <a:pt x="535" y="849"/>
                  </a:lnTo>
                  <a:lnTo>
                    <a:pt x="533" y="852"/>
                  </a:lnTo>
                  <a:lnTo>
                    <a:pt x="530" y="855"/>
                  </a:lnTo>
                  <a:lnTo>
                    <a:pt x="527" y="856"/>
                  </a:lnTo>
                  <a:lnTo>
                    <a:pt x="524" y="856"/>
                  </a:lnTo>
                  <a:lnTo>
                    <a:pt x="522" y="856"/>
                  </a:lnTo>
                  <a:lnTo>
                    <a:pt x="503" y="855"/>
                  </a:lnTo>
                  <a:lnTo>
                    <a:pt x="500" y="855"/>
                  </a:lnTo>
                  <a:lnTo>
                    <a:pt x="496" y="856"/>
                  </a:lnTo>
                  <a:lnTo>
                    <a:pt x="493" y="856"/>
                  </a:lnTo>
                  <a:lnTo>
                    <a:pt x="485" y="861"/>
                  </a:lnTo>
                  <a:lnTo>
                    <a:pt x="477" y="867"/>
                  </a:lnTo>
                  <a:lnTo>
                    <a:pt x="473" y="869"/>
                  </a:lnTo>
                  <a:lnTo>
                    <a:pt x="470" y="869"/>
                  </a:lnTo>
                  <a:lnTo>
                    <a:pt x="466" y="867"/>
                  </a:lnTo>
                  <a:lnTo>
                    <a:pt x="463" y="865"/>
                  </a:lnTo>
                  <a:lnTo>
                    <a:pt x="461" y="864"/>
                  </a:lnTo>
                  <a:lnTo>
                    <a:pt x="460" y="865"/>
                  </a:lnTo>
                  <a:lnTo>
                    <a:pt x="459" y="869"/>
                  </a:lnTo>
                  <a:lnTo>
                    <a:pt x="458" y="909"/>
                  </a:lnTo>
                  <a:lnTo>
                    <a:pt x="459" y="917"/>
                  </a:lnTo>
                  <a:lnTo>
                    <a:pt x="460" y="921"/>
                  </a:lnTo>
                  <a:lnTo>
                    <a:pt x="461" y="925"/>
                  </a:lnTo>
                  <a:lnTo>
                    <a:pt x="463" y="928"/>
                  </a:lnTo>
                  <a:lnTo>
                    <a:pt x="466" y="931"/>
                  </a:lnTo>
                  <a:lnTo>
                    <a:pt x="470" y="932"/>
                  </a:lnTo>
                  <a:lnTo>
                    <a:pt x="472" y="933"/>
                  </a:lnTo>
                  <a:lnTo>
                    <a:pt x="491" y="933"/>
                  </a:lnTo>
                  <a:lnTo>
                    <a:pt x="498" y="934"/>
                  </a:lnTo>
                  <a:lnTo>
                    <a:pt x="505" y="935"/>
                  </a:lnTo>
                  <a:lnTo>
                    <a:pt x="508" y="937"/>
                  </a:lnTo>
                  <a:lnTo>
                    <a:pt x="512" y="939"/>
                  </a:lnTo>
                  <a:lnTo>
                    <a:pt x="515" y="941"/>
                  </a:lnTo>
                  <a:lnTo>
                    <a:pt x="516" y="945"/>
                  </a:lnTo>
                  <a:lnTo>
                    <a:pt x="528" y="980"/>
                  </a:lnTo>
                  <a:lnTo>
                    <a:pt x="530" y="986"/>
                  </a:lnTo>
                  <a:lnTo>
                    <a:pt x="530" y="990"/>
                  </a:lnTo>
                  <a:lnTo>
                    <a:pt x="529" y="994"/>
                  </a:lnTo>
                  <a:lnTo>
                    <a:pt x="523" y="1017"/>
                  </a:lnTo>
                  <a:lnTo>
                    <a:pt x="520" y="1024"/>
                  </a:lnTo>
                  <a:lnTo>
                    <a:pt x="517" y="1027"/>
                  </a:lnTo>
                  <a:lnTo>
                    <a:pt x="515" y="1030"/>
                  </a:lnTo>
                  <a:lnTo>
                    <a:pt x="504" y="1036"/>
                  </a:lnTo>
                  <a:lnTo>
                    <a:pt x="501" y="1038"/>
                  </a:lnTo>
                  <a:lnTo>
                    <a:pt x="499" y="1040"/>
                  </a:lnTo>
                  <a:lnTo>
                    <a:pt x="497" y="1044"/>
                  </a:lnTo>
                  <a:lnTo>
                    <a:pt x="493" y="1051"/>
                  </a:lnTo>
                  <a:lnTo>
                    <a:pt x="492" y="1049"/>
                  </a:lnTo>
                  <a:lnTo>
                    <a:pt x="491" y="1046"/>
                  </a:lnTo>
                  <a:lnTo>
                    <a:pt x="490" y="1045"/>
                  </a:lnTo>
                  <a:lnTo>
                    <a:pt x="489" y="1044"/>
                  </a:lnTo>
                  <a:lnTo>
                    <a:pt x="487" y="1043"/>
                  </a:lnTo>
                  <a:lnTo>
                    <a:pt x="487" y="1042"/>
                  </a:lnTo>
                  <a:lnTo>
                    <a:pt x="487" y="1039"/>
                  </a:lnTo>
                  <a:lnTo>
                    <a:pt x="484" y="1039"/>
                  </a:lnTo>
                  <a:lnTo>
                    <a:pt x="481" y="1038"/>
                  </a:lnTo>
                  <a:lnTo>
                    <a:pt x="482" y="1036"/>
                  </a:lnTo>
                  <a:lnTo>
                    <a:pt x="483" y="1035"/>
                  </a:lnTo>
                  <a:lnTo>
                    <a:pt x="482" y="1033"/>
                  </a:lnTo>
                  <a:lnTo>
                    <a:pt x="480" y="1032"/>
                  </a:lnTo>
                  <a:lnTo>
                    <a:pt x="478" y="1032"/>
                  </a:lnTo>
                  <a:lnTo>
                    <a:pt x="477" y="1033"/>
                  </a:lnTo>
                  <a:lnTo>
                    <a:pt x="478" y="1030"/>
                  </a:lnTo>
                  <a:lnTo>
                    <a:pt x="478" y="1028"/>
                  </a:lnTo>
                  <a:lnTo>
                    <a:pt x="478" y="1027"/>
                  </a:lnTo>
                  <a:lnTo>
                    <a:pt x="478" y="1024"/>
                  </a:lnTo>
                  <a:lnTo>
                    <a:pt x="478" y="1024"/>
                  </a:lnTo>
                  <a:lnTo>
                    <a:pt x="475" y="1023"/>
                  </a:lnTo>
                  <a:lnTo>
                    <a:pt x="473" y="1024"/>
                  </a:lnTo>
                  <a:lnTo>
                    <a:pt x="473" y="1021"/>
                  </a:lnTo>
                  <a:lnTo>
                    <a:pt x="473" y="1017"/>
                  </a:lnTo>
                  <a:lnTo>
                    <a:pt x="471" y="1014"/>
                  </a:lnTo>
                  <a:lnTo>
                    <a:pt x="470" y="1012"/>
                  </a:lnTo>
                  <a:lnTo>
                    <a:pt x="470" y="1009"/>
                  </a:lnTo>
                  <a:lnTo>
                    <a:pt x="468" y="1003"/>
                  </a:lnTo>
                  <a:lnTo>
                    <a:pt x="467" y="1000"/>
                  </a:lnTo>
                  <a:lnTo>
                    <a:pt x="467" y="991"/>
                  </a:lnTo>
                  <a:lnTo>
                    <a:pt x="466" y="989"/>
                  </a:lnTo>
                  <a:lnTo>
                    <a:pt x="464" y="988"/>
                  </a:lnTo>
                  <a:lnTo>
                    <a:pt x="463" y="987"/>
                  </a:lnTo>
                  <a:lnTo>
                    <a:pt x="463" y="985"/>
                  </a:lnTo>
                  <a:lnTo>
                    <a:pt x="463" y="984"/>
                  </a:lnTo>
                  <a:lnTo>
                    <a:pt x="456" y="979"/>
                  </a:lnTo>
                  <a:lnTo>
                    <a:pt x="455" y="978"/>
                  </a:lnTo>
                  <a:lnTo>
                    <a:pt x="455" y="976"/>
                  </a:lnTo>
                  <a:lnTo>
                    <a:pt x="455" y="974"/>
                  </a:lnTo>
                  <a:lnTo>
                    <a:pt x="454" y="972"/>
                  </a:lnTo>
                  <a:lnTo>
                    <a:pt x="450" y="971"/>
                  </a:lnTo>
                  <a:lnTo>
                    <a:pt x="448" y="969"/>
                  </a:lnTo>
                  <a:lnTo>
                    <a:pt x="448" y="970"/>
                  </a:lnTo>
                  <a:lnTo>
                    <a:pt x="446" y="971"/>
                  </a:lnTo>
                  <a:lnTo>
                    <a:pt x="445" y="971"/>
                  </a:lnTo>
                  <a:lnTo>
                    <a:pt x="443" y="970"/>
                  </a:lnTo>
                  <a:lnTo>
                    <a:pt x="441" y="970"/>
                  </a:lnTo>
                  <a:lnTo>
                    <a:pt x="440" y="968"/>
                  </a:lnTo>
                  <a:lnTo>
                    <a:pt x="439" y="966"/>
                  </a:lnTo>
                  <a:lnTo>
                    <a:pt x="434" y="956"/>
                  </a:lnTo>
                  <a:lnTo>
                    <a:pt x="433" y="954"/>
                  </a:lnTo>
                  <a:lnTo>
                    <a:pt x="430" y="951"/>
                  </a:lnTo>
                  <a:lnTo>
                    <a:pt x="429" y="949"/>
                  </a:lnTo>
                  <a:lnTo>
                    <a:pt x="429" y="947"/>
                  </a:lnTo>
                  <a:lnTo>
                    <a:pt x="429" y="943"/>
                  </a:lnTo>
                  <a:lnTo>
                    <a:pt x="433" y="932"/>
                  </a:lnTo>
                  <a:lnTo>
                    <a:pt x="434" y="928"/>
                  </a:lnTo>
                  <a:lnTo>
                    <a:pt x="434" y="927"/>
                  </a:lnTo>
                  <a:lnTo>
                    <a:pt x="435" y="926"/>
                  </a:lnTo>
                  <a:lnTo>
                    <a:pt x="435" y="925"/>
                  </a:lnTo>
                  <a:lnTo>
                    <a:pt x="434" y="923"/>
                  </a:lnTo>
                  <a:lnTo>
                    <a:pt x="433" y="923"/>
                  </a:lnTo>
                  <a:lnTo>
                    <a:pt x="429" y="920"/>
                  </a:lnTo>
                  <a:lnTo>
                    <a:pt x="429" y="920"/>
                  </a:lnTo>
                  <a:lnTo>
                    <a:pt x="422" y="918"/>
                  </a:lnTo>
                  <a:lnTo>
                    <a:pt x="420" y="913"/>
                  </a:lnTo>
                  <a:lnTo>
                    <a:pt x="420" y="912"/>
                  </a:lnTo>
                  <a:lnTo>
                    <a:pt x="418" y="908"/>
                  </a:lnTo>
                  <a:lnTo>
                    <a:pt x="417" y="907"/>
                  </a:lnTo>
                  <a:lnTo>
                    <a:pt x="417" y="905"/>
                  </a:lnTo>
                  <a:lnTo>
                    <a:pt x="417" y="903"/>
                  </a:lnTo>
                  <a:lnTo>
                    <a:pt x="418" y="900"/>
                  </a:lnTo>
                  <a:lnTo>
                    <a:pt x="418" y="898"/>
                  </a:lnTo>
                  <a:lnTo>
                    <a:pt x="420" y="895"/>
                  </a:lnTo>
                  <a:lnTo>
                    <a:pt x="420" y="892"/>
                  </a:lnTo>
                  <a:lnTo>
                    <a:pt x="421" y="888"/>
                  </a:lnTo>
                  <a:lnTo>
                    <a:pt x="424" y="884"/>
                  </a:lnTo>
                  <a:lnTo>
                    <a:pt x="422" y="881"/>
                  </a:lnTo>
                  <a:lnTo>
                    <a:pt x="418" y="879"/>
                  </a:lnTo>
                  <a:lnTo>
                    <a:pt x="415" y="878"/>
                  </a:lnTo>
                  <a:lnTo>
                    <a:pt x="408" y="876"/>
                  </a:lnTo>
                  <a:lnTo>
                    <a:pt x="405" y="873"/>
                  </a:lnTo>
                  <a:lnTo>
                    <a:pt x="403" y="869"/>
                  </a:lnTo>
                  <a:lnTo>
                    <a:pt x="401" y="865"/>
                  </a:lnTo>
                  <a:lnTo>
                    <a:pt x="401" y="864"/>
                  </a:lnTo>
                  <a:lnTo>
                    <a:pt x="401" y="861"/>
                  </a:lnTo>
                  <a:lnTo>
                    <a:pt x="402" y="857"/>
                  </a:lnTo>
                  <a:lnTo>
                    <a:pt x="402" y="856"/>
                  </a:lnTo>
                  <a:lnTo>
                    <a:pt x="401" y="852"/>
                  </a:lnTo>
                  <a:lnTo>
                    <a:pt x="401" y="850"/>
                  </a:lnTo>
                  <a:lnTo>
                    <a:pt x="400" y="848"/>
                  </a:lnTo>
                  <a:lnTo>
                    <a:pt x="397" y="847"/>
                  </a:lnTo>
                  <a:lnTo>
                    <a:pt x="395" y="846"/>
                  </a:lnTo>
                  <a:lnTo>
                    <a:pt x="395" y="841"/>
                  </a:lnTo>
                  <a:lnTo>
                    <a:pt x="394" y="840"/>
                  </a:lnTo>
                  <a:lnTo>
                    <a:pt x="391" y="839"/>
                  </a:lnTo>
                  <a:lnTo>
                    <a:pt x="387" y="835"/>
                  </a:lnTo>
                  <a:lnTo>
                    <a:pt x="387" y="832"/>
                  </a:lnTo>
                  <a:lnTo>
                    <a:pt x="387" y="830"/>
                  </a:lnTo>
                  <a:lnTo>
                    <a:pt x="385" y="827"/>
                  </a:lnTo>
                  <a:lnTo>
                    <a:pt x="384" y="824"/>
                  </a:lnTo>
                  <a:lnTo>
                    <a:pt x="383" y="821"/>
                  </a:lnTo>
                  <a:lnTo>
                    <a:pt x="383" y="819"/>
                  </a:lnTo>
                  <a:lnTo>
                    <a:pt x="385" y="818"/>
                  </a:lnTo>
                  <a:lnTo>
                    <a:pt x="386" y="816"/>
                  </a:lnTo>
                  <a:lnTo>
                    <a:pt x="387" y="815"/>
                  </a:lnTo>
                  <a:lnTo>
                    <a:pt x="386" y="813"/>
                  </a:lnTo>
                  <a:lnTo>
                    <a:pt x="387" y="811"/>
                  </a:lnTo>
                  <a:lnTo>
                    <a:pt x="386" y="810"/>
                  </a:lnTo>
                  <a:lnTo>
                    <a:pt x="385" y="808"/>
                  </a:lnTo>
                  <a:lnTo>
                    <a:pt x="385" y="806"/>
                  </a:lnTo>
                  <a:lnTo>
                    <a:pt x="370" y="801"/>
                  </a:lnTo>
                  <a:lnTo>
                    <a:pt x="366" y="798"/>
                  </a:lnTo>
                  <a:lnTo>
                    <a:pt x="357" y="789"/>
                  </a:lnTo>
                  <a:lnTo>
                    <a:pt x="354" y="788"/>
                  </a:lnTo>
                  <a:lnTo>
                    <a:pt x="354" y="787"/>
                  </a:lnTo>
                  <a:lnTo>
                    <a:pt x="356" y="787"/>
                  </a:lnTo>
                  <a:lnTo>
                    <a:pt x="359" y="789"/>
                  </a:lnTo>
                  <a:lnTo>
                    <a:pt x="360" y="781"/>
                  </a:lnTo>
                  <a:lnTo>
                    <a:pt x="360" y="772"/>
                  </a:lnTo>
                  <a:lnTo>
                    <a:pt x="358" y="769"/>
                  </a:lnTo>
                  <a:lnTo>
                    <a:pt x="351" y="757"/>
                  </a:lnTo>
                  <a:lnTo>
                    <a:pt x="348" y="756"/>
                  </a:lnTo>
                  <a:lnTo>
                    <a:pt x="339" y="754"/>
                  </a:lnTo>
                  <a:lnTo>
                    <a:pt x="335" y="755"/>
                  </a:lnTo>
                  <a:lnTo>
                    <a:pt x="335" y="756"/>
                  </a:lnTo>
                  <a:lnTo>
                    <a:pt x="336" y="761"/>
                  </a:lnTo>
                  <a:lnTo>
                    <a:pt x="334" y="758"/>
                  </a:lnTo>
                  <a:lnTo>
                    <a:pt x="332" y="755"/>
                  </a:lnTo>
                  <a:lnTo>
                    <a:pt x="330" y="751"/>
                  </a:lnTo>
                  <a:lnTo>
                    <a:pt x="330" y="749"/>
                  </a:lnTo>
                  <a:lnTo>
                    <a:pt x="327" y="749"/>
                  </a:lnTo>
                  <a:lnTo>
                    <a:pt x="321" y="738"/>
                  </a:lnTo>
                  <a:lnTo>
                    <a:pt x="316" y="734"/>
                  </a:lnTo>
                  <a:lnTo>
                    <a:pt x="314" y="734"/>
                  </a:lnTo>
                  <a:lnTo>
                    <a:pt x="314" y="733"/>
                  </a:lnTo>
                  <a:lnTo>
                    <a:pt x="317" y="727"/>
                  </a:lnTo>
                  <a:lnTo>
                    <a:pt x="316" y="725"/>
                  </a:lnTo>
                  <a:lnTo>
                    <a:pt x="314" y="723"/>
                  </a:lnTo>
                  <a:lnTo>
                    <a:pt x="309" y="720"/>
                  </a:lnTo>
                  <a:lnTo>
                    <a:pt x="303" y="717"/>
                  </a:lnTo>
                  <a:lnTo>
                    <a:pt x="301" y="716"/>
                  </a:lnTo>
                  <a:lnTo>
                    <a:pt x="299" y="713"/>
                  </a:lnTo>
                  <a:lnTo>
                    <a:pt x="297" y="712"/>
                  </a:lnTo>
                  <a:lnTo>
                    <a:pt x="292" y="706"/>
                  </a:lnTo>
                  <a:lnTo>
                    <a:pt x="291" y="705"/>
                  </a:lnTo>
                  <a:lnTo>
                    <a:pt x="287" y="704"/>
                  </a:lnTo>
                  <a:lnTo>
                    <a:pt x="285" y="704"/>
                  </a:lnTo>
                  <a:lnTo>
                    <a:pt x="282" y="704"/>
                  </a:lnTo>
                  <a:lnTo>
                    <a:pt x="279" y="702"/>
                  </a:lnTo>
                  <a:lnTo>
                    <a:pt x="271" y="696"/>
                  </a:lnTo>
                  <a:lnTo>
                    <a:pt x="265" y="689"/>
                  </a:lnTo>
                  <a:lnTo>
                    <a:pt x="267" y="686"/>
                  </a:lnTo>
                  <a:lnTo>
                    <a:pt x="263" y="684"/>
                  </a:lnTo>
                  <a:lnTo>
                    <a:pt x="260" y="683"/>
                  </a:lnTo>
                  <a:lnTo>
                    <a:pt x="254" y="682"/>
                  </a:lnTo>
                  <a:lnTo>
                    <a:pt x="253" y="681"/>
                  </a:lnTo>
                  <a:lnTo>
                    <a:pt x="252" y="679"/>
                  </a:lnTo>
                  <a:lnTo>
                    <a:pt x="249" y="676"/>
                  </a:lnTo>
                  <a:lnTo>
                    <a:pt x="247" y="674"/>
                  </a:lnTo>
                  <a:lnTo>
                    <a:pt x="247" y="674"/>
                  </a:lnTo>
                  <a:lnTo>
                    <a:pt x="245" y="673"/>
                  </a:lnTo>
                  <a:lnTo>
                    <a:pt x="240" y="668"/>
                  </a:lnTo>
                  <a:lnTo>
                    <a:pt x="237" y="666"/>
                  </a:lnTo>
                  <a:lnTo>
                    <a:pt x="234" y="666"/>
                  </a:lnTo>
                  <a:lnTo>
                    <a:pt x="230" y="667"/>
                  </a:lnTo>
                  <a:lnTo>
                    <a:pt x="226" y="669"/>
                  </a:lnTo>
                  <a:lnTo>
                    <a:pt x="225" y="670"/>
                  </a:lnTo>
                  <a:lnTo>
                    <a:pt x="221" y="669"/>
                  </a:lnTo>
                  <a:lnTo>
                    <a:pt x="214" y="665"/>
                  </a:lnTo>
                  <a:lnTo>
                    <a:pt x="210" y="663"/>
                  </a:lnTo>
                  <a:lnTo>
                    <a:pt x="210" y="665"/>
                  </a:lnTo>
                  <a:lnTo>
                    <a:pt x="212" y="666"/>
                  </a:lnTo>
                  <a:lnTo>
                    <a:pt x="214" y="668"/>
                  </a:lnTo>
                  <a:lnTo>
                    <a:pt x="216" y="670"/>
                  </a:lnTo>
                  <a:lnTo>
                    <a:pt x="217" y="671"/>
                  </a:lnTo>
                  <a:lnTo>
                    <a:pt x="216" y="672"/>
                  </a:lnTo>
                  <a:lnTo>
                    <a:pt x="214" y="671"/>
                  </a:lnTo>
                  <a:lnTo>
                    <a:pt x="198" y="660"/>
                  </a:lnTo>
                  <a:lnTo>
                    <a:pt x="195" y="658"/>
                  </a:lnTo>
                  <a:lnTo>
                    <a:pt x="192" y="658"/>
                  </a:lnTo>
                  <a:lnTo>
                    <a:pt x="189" y="657"/>
                  </a:lnTo>
                  <a:lnTo>
                    <a:pt x="186" y="655"/>
                  </a:lnTo>
                  <a:lnTo>
                    <a:pt x="184" y="650"/>
                  </a:lnTo>
                  <a:lnTo>
                    <a:pt x="181" y="647"/>
                  </a:lnTo>
                  <a:lnTo>
                    <a:pt x="172" y="640"/>
                  </a:lnTo>
                  <a:lnTo>
                    <a:pt x="168" y="635"/>
                  </a:lnTo>
                  <a:lnTo>
                    <a:pt x="157" y="620"/>
                  </a:lnTo>
                  <a:lnTo>
                    <a:pt x="154" y="616"/>
                  </a:lnTo>
                  <a:lnTo>
                    <a:pt x="154" y="615"/>
                  </a:lnTo>
                  <a:lnTo>
                    <a:pt x="155" y="615"/>
                  </a:lnTo>
                  <a:lnTo>
                    <a:pt x="157" y="615"/>
                  </a:lnTo>
                  <a:lnTo>
                    <a:pt x="158" y="614"/>
                  </a:lnTo>
                  <a:lnTo>
                    <a:pt x="159" y="612"/>
                  </a:lnTo>
                  <a:lnTo>
                    <a:pt x="156" y="612"/>
                  </a:lnTo>
                  <a:lnTo>
                    <a:pt x="154" y="611"/>
                  </a:lnTo>
                  <a:lnTo>
                    <a:pt x="150" y="607"/>
                  </a:lnTo>
                  <a:lnTo>
                    <a:pt x="149" y="605"/>
                  </a:lnTo>
                  <a:lnTo>
                    <a:pt x="148" y="600"/>
                  </a:lnTo>
                  <a:lnTo>
                    <a:pt x="147" y="598"/>
                  </a:lnTo>
                  <a:lnTo>
                    <a:pt x="141" y="591"/>
                  </a:lnTo>
                  <a:lnTo>
                    <a:pt x="141" y="589"/>
                  </a:lnTo>
                  <a:lnTo>
                    <a:pt x="144" y="584"/>
                  </a:lnTo>
                  <a:lnTo>
                    <a:pt x="138" y="582"/>
                  </a:lnTo>
                  <a:lnTo>
                    <a:pt x="136" y="582"/>
                  </a:lnTo>
                  <a:lnTo>
                    <a:pt x="136" y="583"/>
                  </a:lnTo>
                  <a:lnTo>
                    <a:pt x="136" y="584"/>
                  </a:lnTo>
                  <a:lnTo>
                    <a:pt x="132" y="582"/>
                  </a:lnTo>
                  <a:lnTo>
                    <a:pt x="130" y="580"/>
                  </a:lnTo>
                  <a:lnTo>
                    <a:pt x="131" y="577"/>
                  </a:lnTo>
                  <a:lnTo>
                    <a:pt x="130" y="576"/>
                  </a:lnTo>
                  <a:lnTo>
                    <a:pt x="129" y="575"/>
                  </a:lnTo>
                  <a:lnTo>
                    <a:pt x="129" y="574"/>
                  </a:lnTo>
                  <a:lnTo>
                    <a:pt x="130" y="572"/>
                  </a:lnTo>
                  <a:lnTo>
                    <a:pt x="131" y="574"/>
                  </a:lnTo>
                  <a:lnTo>
                    <a:pt x="132" y="574"/>
                  </a:lnTo>
                  <a:lnTo>
                    <a:pt x="134" y="575"/>
                  </a:lnTo>
                  <a:lnTo>
                    <a:pt x="136" y="575"/>
                  </a:lnTo>
                  <a:lnTo>
                    <a:pt x="135" y="574"/>
                  </a:lnTo>
                  <a:lnTo>
                    <a:pt x="134" y="570"/>
                  </a:lnTo>
                  <a:lnTo>
                    <a:pt x="132" y="570"/>
                  </a:lnTo>
                  <a:lnTo>
                    <a:pt x="131" y="570"/>
                  </a:lnTo>
                  <a:lnTo>
                    <a:pt x="129" y="567"/>
                  </a:lnTo>
                  <a:lnTo>
                    <a:pt x="128" y="567"/>
                  </a:lnTo>
                  <a:lnTo>
                    <a:pt x="128" y="570"/>
                  </a:lnTo>
                  <a:lnTo>
                    <a:pt x="124" y="567"/>
                  </a:lnTo>
                  <a:lnTo>
                    <a:pt x="119" y="563"/>
                  </a:lnTo>
                  <a:lnTo>
                    <a:pt x="116" y="559"/>
                  </a:lnTo>
                  <a:lnTo>
                    <a:pt x="117" y="555"/>
                  </a:lnTo>
                  <a:lnTo>
                    <a:pt x="118" y="557"/>
                  </a:lnTo>
                  <a:lnTo>
                    <a:pt x="119" y="558"/>
                  </a:lnTo>
                  <a:lnTo>
                    <a:pt x="120" y="556"/>
                  </a:lnTo>
                  <a:lnTo>
                    <a:pt x="119" y="554"/>
                  </a:lnTo>
                  <a:lnTo>
                    <a:pt x="118" y="553"/>
                  </a:lnTo>
                  <a:lnTo>
                    <a:pt x="117" y="552"/>
                  </a:lnTo>
                  <a:lnTo>
                    <a:pt x="114" y="551"/>
                  </a:lnTo>
                  <a:lnTo>
                    <a:pt x="112" y="551"/>
                  </a:lnTo>
                  <a:lnTo>
                    <a:pt x="109" y="552"/>
                  </a:lnTo>
                  <a:lnTo>
                    <a:pt x="109" y="551"/>
                  </a:lnTo>
                  <a:lnTo>
                    <a:pt x="104" y="544"/>
                  </a:lnTo>
                  <a:lnTo>
                    <a:pt x="103" y="542"/>
                  </a:lnTo>
                  <a:lnTo>
                    <a:pt x="102" y="538"/>
                  </a:lnTo>
                  <a:lnTo>
                    <a:pt x="102" y="535"/>
                  </a:lnTo>
                  <a:lnTo>
                    <a:pt x="102" y="533"/>
                  </a:lnTo>
                  <a:lnTo>
                    <a:pt x="100" y="531"/>
                  </a:lnTo>
                  <a:lnTo>
                    <a:pt x="99" y="529"/>
                  </a:lnTo>
                  <a:lnTo>
                    <a:pt x="99" y="528"/>
                  </a:lnTo>
                  <a:lnTo>
                    <a:pt x="98" y="527"/>
                  </a:lnTo>
                  <a:lnTo>
                    <a:pt x="97" y="526"/>
                  </a:lnTo>
                  <a:lnTo>
                    <a:pt x="90" y="521"/>
                  </a:lnTo>
                  <a:lnTo>
                    <a:pt x="88" y="519"/>
                  </a:lnTo>
                  <a:lnTo>
                    <a:pt x="87" y="514"/>
                  </a:lnTo>
                  <a:lnTo>
                    <a:pt x="86" y="511"/>
                  </a:lnTo>
                  <a:lnTo>
                    <a:pt x="86" y="508"/>
                  </a:lnTo>
                  <a:lnTo>
                    <a:pt x="86" y="508"/>
                  </a:lnTo>
                  <a:lnTo>
                    <a:pt x="87" y="506"/>
                  </a:lnTo>
                  <a:lnTo>
                    <a:pt x="87" y="505"/>
                  </a:lnTo>
                  <a:lnTo>
                    <a:pt x="87" y="502"/>
                  </a:lnTo>
                  <a:lnTo>
                    <a:pt x="80" y="492"/>
                  </a:lnTo>
                  <a:lnTo>
                    <a:pt x="78" y="490"/>
                  </a:lnTo>
                  <a:lnTo>
                    <a:pt x="72" y="482"/>
                  </a:lnTo>
                  <a:lnTo>
                    <a:pt x="86" y="470"/>
                  </a:lnTo>
                  <a:lnTo>
                    <a:pt x="88" y="466"/>
                  </a:lnTo>
                  <a:lnTo>
                    <a:pt x="88" y="460"/>
                  </a:lnTo>
                  <a:lnTo>
                    <a:pt x="87" y="455"/>
                  </a:lnTo>
                  <a:lnTo>
                    <a:pt x="84" y="452"/>
                  </a:lnTo>
                  <a:lnTo>
                    <a:pt x="84" y="452"/>
                  </a:lnTo>
                  <a:lnTo>
                    <a:pt x="87" y="450"/>
                  </a:lnTo>
                  <a:lnTo>
                    <a:pt x="86" y="447"/>
                  </a:lnTo>
                  <a:lnTo>
                    <a:pt x="83" y="441"/>
                  </a:lnTo>
                  <a:lnTo>
                    <a:pt x="81" y="445"/>
                  </a:lnTo>
                  <a:lnTo>
                    <a:pt x="79" y="445"/>
                  </a:lnTo>
                  <a:lnTo>
                    <a:pt x="78" y="444"/>
                  </a:lnTo>
                  <a:lnTo>
                    <a:pt x="76" y="440"/>
                  </a:lnTo>
                  <a:lnTo>
                    <a:pt x="78" y="439"/>
                  </a:lnTo>
                  <a:lnTo>
                    <a:pt x="74" y="435"/>
                  </a:lnTo>
                  <a:lnTo>
                    <a:pt x="74" y="430"/>
                  </a:lnTo>
                  <a:lnTo>
                    <a:pt x="74" y="424"/>
                  </a:lnTo>
                  <a:lnTo>
                    <a:pt x="74" y="419"/>
                  </a:lnTo>
                  <a:lnTo>
                    <a:pt x="72" y="414"/>
                  </a:lnTo>
                  <a:lnTo>
                    <a:pt x="72" y="412"/>
                  </a:lnTo>
                  <a:lnTo>
                    <a:pt x="76" y="410"/>
                  </a:lnTo>
                  <a:lnTo>
                    <a:pt x="77" y="409"/>
                  </a:lnTo>
                  <a:lnTo>
                    <a:pt x="78" y="407"/>
                  </a:lnTo>
                  <a:lnTo>
                    <a:pt x="78" y="404"/>
                  </a:lnTo>
                  <a:lnTo>
                    <a:pt x="76" y="402"/>
                  </a:lnTo>
                  <a:lnTo>
                    <a:pt x="75" y="406"/>
                  </a:lnTo>
                  <a:lnTo>
                    <a:pt x="74" y="407"/>
                  </a:lnTo>
                  <a:lnTo>
                    <a:pt x="72" y="408"/>
                  </a:lnTo>
                  <a:lnTo>
                    <a:pt x="71" y="408"/>
                  </a:lnTo>
                  <a:lnTo>
                    <a:pt x="70" y="407"/>
                  </a:lnTo>
                  <a:lnTo>
                    <a:pt x="70" y="406"/>
                  </a:lnTo>
                  <a:lnTo>
                    <a:pt x="69" y="404"/>
                  </a:lnTo>
                  <a:lnTo>
                    <a:pt x="67" y="402"/>
                  </a:lnTo>
                  <a:lnTo>
                    <a:pt x="66" y="400"/>
                  </a:lnTo>
                  <a:lnTo>
                    <a:pt x="65" y="399"/>
                  </a:lnTo>
                  <a:lnTo>
                    <a:pt x="65" y="396"/>
                  </a:lnTo>
                  <a:lnTo>
                    <a:pt x="64" y="394"/>
                  </a:lnTo>
                  <a:lnTo>
                    <a:pt x="63" y="393"/>
                  </a:lnTo>
                  <a:lnTo>
                    <a:pt x="61" y="391"/>
                  </a:lnTo>
                  <a:lnTo>
                    <a:pt x="56" y="384"/>
                  </a:lnTo>
                  <a:lnTo>
                    <a:pt x="51" y="373"/>
                  </a:lnTo>
                  <a:lnTo>
                    <a:pt x="48" y="358"/>
                  </a:lnTo>
                  <a:lnTo>
                    <a:pt x="48" y="354"/>
                  </a:lnTo>
                  <a:lnTo>
                    <a:pt x="52" y="353"/>
                  </a:lnTo>
                  <a:lnTo>
                    <a:pt x="56" y="358"/>
                  </a:lnTo>
                  <a:lnTo>
                    <a:pt x="60" y="358"/>
                  </a:lnTo>
                  <a:lnTo>
                    <a:pt x="61" y="354"/>
                  </a:lnTo>
                  <a:lnTo>
                    <a:pt x="61" y="351"/>
                  </a:lnTo>
                  <a:lnTo>
                    <a:pt x="61" y="349"/>
                  </a:lnTo>
                  <a:lnTo>
                    <a:pt x="64" y="346"/>
                  </a:lnTo>
                  <a:lnTo>
                    <a:pt x="64" y="346"/>
                  </a:lnTo>
                  <a:lnTo>
                    <a:pt x="65" y="342"/>
                  </a:lnTo>
                  <a:lnTo>
                    <a:pt x="67" y="335"/>
                  </a:lnTo>
                  <a:lnTo>
                    <a:pt x="67" y="331"/>
                  </a:lnTo>
                  <a:lnTo>
                    <a:pt x="66" y="331"/>
                  </a:lnTo>
                  <a:lnTo>
                    <a:pt x="64" y="338"/>
                  </a:lnTo>
                  <a:lnTo>
                    <a:pt x="63" y="335"/>
                  </a:lnTo>
                  <a:lnTo>
                    <a:pt x="63" y="333"/>
                  </a:lnTo>
                  <a:lnTo>
                    <a:pt x="64" y="331"/>
                  </a:lnTo>
                  <a:lnTo>
                    <a:pt x="64" y="328"/>
                  </a:lnTo>
                  <a:lnTo>
                    <a:pt x="64" y="321"/>
                  </a:lnTo>
                  <a:lnTo>
                    <a:pt x="66" y="315"/>
                  </a:lnTo>
                  <a:lnTo>
                    <a:pt x="71" y="309"/>
                  </a:lnTo>
                  <a:lnTo>
                    <a:pt x="73" y="301"/>
                  </a:lnTo>
                  <a:lnTo>
                    <a:pt x="74" y="300"/>
                  </a:lnTo>
                  <a:lnTo>
                    <a:pt x="76" y="299"/>
                  </a:lnTo>
                  <a:lnTo>
                    <a:pt x="78" y="296"/>
                  </a:lnTo>
                  <a:lnTo>
                    <a:pt x="79" y="292"/>
                  </a:lnTo>
                  <a:lnTo>
                    <a:pt x="83" y="289"/>
                  </a:lnTo>
                  <a:lnTo>
                    <a:pt x="83" y="288"/>
                  </a:lnTo>
                  <a:lnTo>
                    <a:pt x="83" y="285"/>
                  </a:lnTo>
                  <a:lnTo>
                    <a:pt x="82" y="284"/>
                  </a:lnTo>
                  <a:lnTo>
                    <a:pt x="80" y="282"/>
                  </a:lnTo>
                  <a:lnTo>
                    <a:pt x="79" y="283"/>
                  </a:lnTo>
                  <a:lnTo>
                    <a:pt x="78" y="285"/>
                  </a:lnTo>
                  <a:lnTo>
                    <a:pt x="76" y="290"/>
                  </a:lnTo>
                  <a:lnTo>
                    <a:pt x="75" y="292"/>
                  </a:lnTo>
                  <a:lnTo>
                    <a:pt x="71" y="292"/>
                  </a:lnTo>
                  <a:lnTo>
                    <a:pt x="71" y="287"/>
                  </a:lnTo>
                  <a:lnTo>
                    <a:pt x="72" y="279"/>
                  </a:lnTo>
                  <a:lnTo>
                    <a:pt x="71" y="270"/>
                  </a:lnTo>
                  <a:lnTo>
                    <a:pt x="72" y="259"/>
                  </a:lnTo>
                  <a:lnTo>
                    <a:pt x="71" y="254"/>
                  </a:lnTo>
                  <a:lnTo>
                    <a:pt x="71" y="252"/>
                  </a:lnTo>
                  <a:lnTo>
                    <a:pt x="65" y="246"/>
                  </a:lnTo>
                  <a:lnTo>
                    <a:pt x="61" y="236"/>
                  </a:lnTo>
                  <a:lnTo>
                    <a:pt x="58" y="230"/>
                  </a:lnTo>
                  <a:lnTo>
                    <a:pt x="56" y="227"/>
                  </a:lnTo>
                  <a:lnTo>
                    <a:pt x="57" y="225"/>
                  </a:lnTo>
                  <a:lnTo>
                    <a:pt x="62" y="221"/>
                  </a:lnTo>
                  <a:lnTo>
                    <a:pt x="62" y="219"/>
                  </a:lnTo>
                  <a:lnTo>
                    <a:pt x="53" y="210"/>
                  </a:lnTo>
                  <a:lnTo>
                    <a:pt x="50" y="208"/>
                  </a:lnTo>
                  <a:lnTo>
                    <a:pt x="49" y="209"/>
                  </a:lnTo>
                  <a:lnTo>
                    <a:pt x="49" y="209"/>
                  </a:lnTo>
                  <a:lnTo>
                    <a:pt x="52" y="213"/>
                  </a:lnTo>
                  <a:lnTo>
                    <a:pt x="53" y="215"/>
                  </a:lnTo>
                  <a:lnTo>
                    <a:pt x="54" y="216"/>
                  </a:lnTo>
                  <a:lnTo>
                    <a:pt x="55" y="220"/>
                  </a:lnTo>
                  <a:lnTo>
                    <a:pt x="56" y="222"/>
                  </a:lnTo>
                  <a:lnTo>
                    <a:pt x="55" y="224"/>
                  </a:lnTo>
                  <a:lnTo>
                    <a:pt x="52" y="218"/>
                  </a:lnTo>
                  <a:lnTo>
                    <a:pt x="48" y="210"/>
                  </a:lnTo>
                  <a:lnTo>
                    <a:pt x="42" y="206"/>
                  </a:lnTo>
                  <a:lnTo>
                    <a:pt x="34" y="190"/>
                  </a:lnTo>
                  <a:lnTo>
                    <a:pt x="34" y="187"/>
                  </a:lnTo>
                  <a:lnTo>
                    <a:pt x="39" y="190"/>
                  </a:lnTo>
                  <a:lnTo>
                    <a:pt x="44" y="202"/>
                  </a:lnTo>
                  <a:lnTo>
                    <a:pt x="48" y="203"/>
                  </a:lnTo>
                  <a:lnTo>
                    <a:pt x="49" y="204"/>
                  </a:lnTo>
                  <a:lnTo>
                    <a:pt x="51" y="204"/>
                  </a:lnTo>
                  <a:lnTo>
                    <a:pt x="52" y="202"/>
                  </a:lnTo>
                  <a:lnTo>
                    <a:pt x="53" y="201"/>
                  </a:lnTo>
                  <a:lnTo>
                    <a:pt x="51" y="199"/>
                  </a:lnTo>
                  <a:lnTo>
                    <a:pt x="49" y="193"/>
                  </a:lnTo>
                  <a:lnTo>
                    <a:pt x="46" y="192"/>
                  </a:lnTo>
                  <a:lnTo>
                    <a:pt x="44" y="190"/>
                  </a:lnTo>
                  <a:lnTo>
                    <a:pt x="43" y="188"/>
                  </a:lnTo>
                  <a:lnTo>
                    <a:pt x="42" y="186"/>
                  </a:lnTo>
                  <a:lnTo>
                    <a:pt x="41" y="183"/>
                  </a:lnTo>
                  <a:lnTo>
                    <a:pt x="38" y="182"/>
                  </a:lnTo>
                  <a:lnTo>
                    <a:pt x="34" y="181"/>
                  </a:lnTo>
                  <a:lnTo>
                    <a:pt x="32" y="179"/>
                  </a:lnTo>
                  <a:lnTo>
                    <a:pt x="28" y="180"/>
                  </a:lnTo>
                  <a:lnTo>
                    <a:pt x="26" y="178"/>
                  </a:lnTo>
                  <a:lnTo>
                    <a:pt x="22" y="170"/>
                  </a:lnTo>
                  <a:lnTo>
                    <a:pt x="24" y="168"/>
                  </a:lnTo>
                  <a:lnTo>
                    <a:pt x="26" y="165"/>
                  </a:lnTo>
                  <a:lnTo>
                    <a:pt x="26" y="163"/>
                  </a:lnTo>
                  <a:lnTo>
                    <a:pt x="26" y="160"/>
                  </a:lnTo>
                  <a:lnTo>
                    <a:pt x="26" y="155"/>
                  </a:lnTo>
                  <a:lnTo>
                    <a:pt x="26" y="152"/>
                  </a:lnTo>
                  <a:lnTo>
                    <a:pt x="26" y="149"/>
                  </a:lnTo>
                  <a:lnTo>
                    <a:pt x="23" y="149"/>
                  </a:lnTo>
                  <a:lnTo>
                    <a:pt x="22" y="151"/>
                  </a:lnTo>
                  <a:lnTo>
                    <a:pt x="19" y="148"/>
                  </a:lnTo>
                  <a:lnTo>
                    <a:pt x="17" y="144"/>
                  </a:lnTo>
                  <a:lnTo>
                    <a:pt x="14" y="138"/>
                  </a:lnTo>
                  <a:lnTo>
                    <a:pt x="11" y="134"/>
                  </a:lnTo>
                  <a:lnTo>
                    <a:pt x="10" y="130"/>
                  </a:lnTo>
                  <a:lnTo>
                    <a:pt x="7" y="127"/>
                  </a:lnTo>
                  <a:lnTo>
                    <a:pt x="7" y="125"/>
                  </a:lnTo>
                  <a:lnTo>
                    <a:pt x="5" y="121"/>
                  </a:lnTo>
                  <a:lnTo>
                    <a:pt x="5" y="119"/>
                  </a:lnTo>
                  <a:lnTo>
                    <a:pt x="4" y="114"/>
                  </a:lnTo>
                  <a:lnTo>
                    <a:pt x="2" y="109"/>
                  </a:lnTo>
                  <a:lnTo>
                    <a:pt x="0" y="103"/>
                  </a:lnTo>
                  <a:lnTo>
                    <a:pt x="0" y="101"/>
                  </a:lnTo>
                  <a:lnTo>
                    <a:pt x="4" y="100"/>
                  </a:lnTo>
                  <a:lnTo>
                    <a:pt x="26" y="98"/>
                  </a:lnTo>
                  <a:lnTo>
                    <a:pt x="37" y="95"/>
                  </a:lnTo>
                  <a:lnTo>
                    <a:pt x="42" y="94"/>
                  </a:lnTo>
                  <a:lnTo>
                    <a:pt x="47" y="96"/>
                  </a:lnTo>
                  <a:lnTo>
                    <a:pt x="50" y="100"/>
                  </a:lnTo>
                  <a:lnTo>
                    <a:pt x="57" y="110"/>
                  </a:lnTo>
                  <a:lnTo>
                    <a:pt x="59" y="113"/>
                  </a:lnTo>
                  <a:lnTo>
                    <a:pt x="72" y="125"/>
                  </a:lnTo>
                  <a:lnTo>
                    <a:pt x="86" y="140"/>
                  </a:lnTo>
                  <a:lnTo>
                    <a:pt x="90" y="144"/>
                  </a:lnTo>
                  <a:lnTo>
                    <a:pt x="94" y="147"/>
                  </a:lnTo>
                  <a:lnTo>
                    <a:pt x="99" y="148"/>
                  </a:lnTo>
                  <a:lnTo>
                    <a:pt x="106" y="148"/>
                  </a:lnTo>
                  <a:lnTo>
                    <a:pt x="124" y="144"/>
                  </a:lnTo>
                  <a:lnTo>
                    <a:pt x="129" y="144"/>
                  </a:lnTo>
                  <a:lnTo>
                    <a:pt x="132" y="146"/>
                  </a:lnTo>
                  <a:lnTo>
                    <a:pt x="133" y="149"/>
                  </a:lnTo>
                  <a:lnTo>
                    <a:pt x="134" y="153"/>
                  </a:lnTo>
                  <a:lnTo>
                    <a:pt x="135" y="160"/>
                  </a:lnTo>
                  <a:lnTo>
                    <a:pt x="137" y="163"/>
                  </a:lnTo>
                  <a:lnTo>
                    <a:pt x="140" y="164"/>
                  </a:lnTo>
                  <a:lnTo>
                    <a:pt x="154" y="162"/>
                  </a:lnTo>
                  <a:lnTo>
                    <a:pt x="189" y="151"/>
                  </a:lnTo>
                  <a:lnTo>
                    <a:pt x="205" y="149"/>
                  </a:lnTo>
                  <a:lnTo>
                    <a:pt x="208" y="149"/>
                  </a:lnTo>
                  <a:lnTo>
                    <a:pt x="212" y="150"/>
                  </a:lnTo>
                  <a:lnTo>
                    <a:pt x="215" y="153"/>
                  </a:lnTo>
                  <a:lnTo>
                    <a:pt x="217" y="156"/>
                  </a:lnTo>
                  <a:lnTo>
                    <a:pt x="218" y="160"/>
                  </a:lnTo>
                  <a:lnTo>
                    <a:pt x="219" y="163"/>
                  </a:lnTo>
                  <a:lnTo>
                    <a:pt x="219" y="169"/>
                  </a:lnTo>
                  <a:lnTo>
                    <a:pt x="217" y="178"/>
                  </a:lnTo>
                  <a:lnTo>
                    <a:pt x="217" y="180"/>
                  </a:lnTo>
                  <a:lnTo>
                    <a:pt x="207" y="202"/>
                  </a:lnTo>
                  <a:lnTo>
                    <a:pt x="207" y="206"/>
                  </a:lnTo>
                  <a:lnTo>
                    <a:pt x="207" y="209"/>
                  </a:lnTo>
                  <a:lnTo>
                    <a:pt x="209" y="213"/>
                  </a:lnTo>
                  <a:lnTo>
                    <a:pt x="213" y="214"/>
                  </a:lnTo>
                  <a:lnTo>
                    <a:pt x="224" y="217"/>
                  </a:lnTo>
                  <a:lnTo>
                    <a:pt x="229" y="220"/>
                  </a:lnTo>
                  <a:lnTo>
                    <a:pt x="232" y="222"/>
                  </a:lnTo>
                  <a:lnTo>
                    <a:pt x="235" y="225"/>
                  </a:lnTo>
                  <a:lnTo>
                    <a:pt x="237" y="229"/>
                  </a:lnTo>
                  <a:lnTo>
                    <a:pt x="239" y="232"/>
                  </a:lnTo>
                  <a:lnTo>
                    <a:pt x="240" y="236"/>
                  </a:lnTo>
                  <a:lnTo>
                    <a:pt x="240" y="240"/>
                  </a:lnTo>
                  <a:lnTo>
                    <a:pt x="239" y="248"/>
                  </a:lnTo>
                  <a:lnTo>
                    <a:pt x="237" y="255"/>
                  </a:lnTo>
                  <a:lnTo>
                    <a:pt x="237" y="259"/>
                  </a:lnTo>
                  <a:lnTo>
                    <a:pt x="238" y="262"/>
                  </a:lnTo>
                  <a:lnTo>
                    <a:pt x="240" y="266"/>
                  </a:lnTo>
                  <a:lnTo>
                    <a:pt x="244" y="268"/>
                  </a:lnTo>
                  <a:lnTo>
                    <a:pt x="244" y="268"/>
                  </a:lnTo>
                  <a:lnTo>
                    <a:pt x="255" y="270"/>
                  </a:lnTo>
                  <a:lnTo>
                    <a:pt x="259" y="270"/>
                  </a:lnTo>
                  <a:lnTo>
                    <a:pt x="262" y="270"/>
                  </a:lnTo>
                  <a:lnTo>
                    <a:pt x="267" y="268"/>
                  </a:lnTo>
                  <a:lnTo>
                    <a:pt x="271" y="266"/>
                  </a:lnTo>
                  <a:lnTo>
                    <a:pt x="288" y="251"/>
                  </a:lnTo>
                  <a:lnTo>
                    <a:pt x="295" y="247"/>
                  </a:lnTo>
                  <a:lnTo>
                    <a:pt x="300" y="246"/>
                  </a:lnTo>
                  <a:lnTo>
                    <a:pt x="304" y="247"/>
                  </a:lnTo>
                  <a:lnTo>
                    <a:pt x="330" y="254"/>
                  </a:lnTo>
                  <a:lnTo>
                    <a:pt x="334" y="254"/>
                  </a:lnTo>
                  <a:lnTo>
                    <a:pt x="337" y="252"/>
                  </a:lnTo>
                  <a:lnTo>
                    <a:pt x="342" y="247"/>
                  </a:lnTo>
                  <a:lnTo>
                    <a:pt x="354" y="229"/>
                  </a:lnTo>
                  <a:lnTo>
                    <a:pt x="360" y="221"/>
                  </a:lnTo>
                  <a:lnTo>
                    <a:pt x="408" y="183"/>
                  </a:lnTo>
                  <a:lnTo>
                    <a:pt x="432" y="160"/>
                  </a:lnTo>
                  <a:lnTo>
                    <a:pt x="437" y="155"/>
                  </a:lnTo>
                  <a:lnTo>
                    <a:pt x="441" y="153"/>
                  </a:lnTo>
                  <a:lnTo>
                    <a:pt x="461" y="146"/>
                  </a:lnTo>
                  <a:lnTo>
                    <a:pt x="464" y="143"/>
                  </a:lnTo>
                  <a:lnTo>
                    <a:pt x="468" y="140"/>
                  </a:lnTo>
                  <a:lnTo>
                    <a:pt x="470" y="134"/>
                  </a:lnTo>
                  <a:lnTo>
                    <a:pt x="469" y="131"/>
                  </a:lnTo>
                  <a:lnTo>
                    <a:pt x="466" y="128"/>
                  </a:lnTo>
                  <a:lnTo>
                    <a:pt x="448" y="117"/>
                  </a:lnTo>
                  <a:lnTo>
                    <a:pt x="444" y="115"/>
                  </a:lnTo>
                  <a:lnTo>
                    <a:pt x="441" y="112"/>
                  </a:lnTo>
                  <a:lnTo>
                    <a:pt x="440" y="108"/>
                  </a:lnTo>
                  <a:lnTo>
                    <a:pt x="441" y="103"/>
                  </a:lnTo>
                  <a:lnTo>
                    <a:pt x="447" y="98"/>
                  </a:lnTo>
                  <a:lnTo>
                    <a:pt x="454" y="93"/>
                  </a:lnTo>
                  <a:lnTo>
                    <a:pt x="476" y="80"/>
                  </a:lnTo>
                  <a:lnTo>
                    <a:pt x="506" y="67"/>
                  </a:lnTo>
                  <a:lnTo>
                    <a:pt x="509" y="64"/>
                  </a:lnTo>
                  <a:lnTo>
                    <a:pt x="514" y="60"/>
                  </a:lnTo>
                  <a:lnTo>
                    <a:pt x="518" y="53"/>
                  </a:lnTo>
                  <a:lnTo>
                    <a:pt x="521" y="49"/>
                  </a:lnTo>
                  <a:lnTo>
                    <a:pt x="522" y="43"/>
                  </a:lnTo>
                  <a:lnTo>
                    <a:pt x="522" y="35"/>
                  </a:lnTo>
                  <a:lnTo>
                    <a:pt x="522" y="32"/>
                  </a:lnTo>
                  <a:lnTo>
                    <a:pt x="521" y="27"/>
                  </a:lnTo>
                  <a:lnTo>
                    <a:pt x="516" y="16"/>
                  </a:lnTo>
                  <a:lnTo>
                    <a:pt x="516" y="11"/>
                  </a:lnTo>
                  <a:lnTo>
                    <a:pt x="517" y="8"/>
                  </a:lnTo>
                  <a:lnTo>
                    <a:pt x="519" y="4"/>
                  </a:lnTo>
                  <a:lnTo>
                    <a:pt x="523" y="3"/>
                  </a:lnTo>
                  <a:lnTo>
                    <a:pt x="526" y="1"/>
                  </a:lnTo>
                  <a:lnTo>
                    <a:pt x="537" y="0"/>
                  </a:lnTo>
                  <a:lnTo>
                    <a:pt x="559" y="3"/>
                  </a:lnTo>
                  <a:lnTo>
                    <a:pt x="559" y="3"/>
                  </a:lnTo>
                  <a:close/>
                </a:path>
              </a:pathLst>
            </a:custGeom>
            <a:solidFill>
              <a:srgbClr val="5EAD8E"/>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srgbClr val="000000"/>
                </a:solidFill>
                <a:latin typeface="Arial"/>
                <a:cs typeface="+mn-cs"/>
              </a:endParaRPr>
            </a:p>
          </p:txBody>
        </p:sp>
      </p:grpSp>
      <p:sp>
        <p:nvSpPr>
          <p:cNvPr id="202" name="TextBox 201">
            <a:extLst>
              <a:ext uri="{FF2B5EF4-FFF2-40B4-BE49-F238E27FC236}"/>
            </a:extLst>
          </p:cNvPr>
          <p:cNvSpPr txBox="1"/>
          <p:nvPr/>
        </p:nvSpPr>
        <p:spPr>
          <a:xfrm>
            <a:off x="347663" y="2959100"/>
            <a:ext cx="1141412" cy="171450"/>
          </a:xfrm>
          <a:prstGeom prst="rect">
            <a:avLst/>
          </a:prstGeom>
          <a:solidFill>
            <a:srgbClr val="96CAB3"/>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cs typeface="+mn-cs"/>
              </a:rPr>
              <a:t>Central Cluster 1</a:t>
            </a:r>
            <a:endParaRPr lang="en-GB" sz="1100" b="1" kern="0" dirty="0">
              <a:solidFill>
                <a:srgbClr val="FFFFFF"/>
              </a:solidFill>
              <a:latin typeface="Arial"/>
            </a:endParaRPr>
          </a:p>
        </p:txBody>
      </p:sp>
      <p:sp>
        <p:nvSpPr>
          <p:cNvPr id="203" name="Rectangle 202">
            <a:extLst>
              <a:ext uri="{FF2B5EF4-FFF2-40B4-BE49-F238E27FC236}"/>
            </a:extLst>
          </p:cNvPr>
          <p:cNvSpPr/>
          <p:nvPr/>
        </p:nvSpPr>
        <p:spPr>
          <a:xfrm>
            <a:off x="347663" y="3122613"/>
            <a:ext cx="1141412" cy="304800"/>
          </a:xfrm>
          <a:prstGeom prst="rect">
            <a:avLst/>
          </a:prstGeom>
          <a:solidFill>
            <a:schemeClr val="accent5"/>
          </a:solidFill>
          <a:ln w="31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Safe Birth &amp; Planned Care</a:t>
            </a:r>
          </a:p>
        </p:txBody>
      </p:sp>
      <p:sp>
        <p:nvSpPr>
          <p:cNvPr id="209" name="TextBox 208">
            <a:extLst>
              <a:ext uri="{FF2B5EF4-FFF2-40B4-BE49-F238E27FC236}"/>
            </a:extLst>
          </p:cNvPr>
          <p:cNvSpPr txBox="1"/>
          <p:nvPr/>
        </p:nvSpPr>
        <p:spPr>
          <a:xfrm>
            <a:off x="3287713" y="3917950"/>
            <a:ext cx="1139825" cy="171450"/>
          </a:xfrm>
          <a:prstGeom prst="rect">
            <a:avLst/>
          </a:prstGeom>
          <a:solidFill>
            <a:srgbClr val="00764C"/>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cs typeface="+mn-cs"/>
              </a:rPr>
              <a:t>Eastern Cluster</a:t>
            </a:r>
            <a:endParaRPr lang="en-GB" sz="1100" b="1" kern="0" dirty="0">
              <a:solidFill>
                <a:srgbClr val="FFFFFF"/>
              </a:solidFill>
              <a:latin typeface="Arial"/>
            </a:endParaRPr>
          </a:p>
        </p:txBody>
      </p:sp>
      <p:sp>
        <p:nvSpPr>
          <p:cNvPr id="210" name="Rectangle 209">
            <a:extLst>
              <a:ext uri="{FF2B5EF4-FFF2-40B4-BE49-F238E27FC236}"/>
            </a:extLst>
          </p:cNvPr>
          <p:cNvSpPr/>
          <p:nvPr/>
        </p:nvSpPr>
        <p:spPr>
          <a:xfrm>
            <a:off x="3287713" y="4087813"/>
            <a:ext cx="1139825" cy="223837"/>
          </a:xfrm>
          <a:prstGeom prst="rect">
            <a:avLst/>
          </a:prstGeom>
          <a:solidFill>
            <a:schemeClr val="accent5"/>
          </a:solidFill>
          <a:ln w="31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Chronic Care</a:t>
            </a:r>
          </a:p>
        </p:txBody>
      </p:sp>
      <p:sp>
        <p:nvSpPr>
          <p:cNvPr id="216" name="TextBox 215">
            <a:extLst>
              <a:ext uri="{FF2B5EF4-FFF2-40B4-BE49-F238E27FC236}"/>
            </a:extLst>
          </p:cNvPr>
          <p:cNvSpPr txBox="1"/>
          <p:nvPr/>
        </p:nvSpPr>
        <p:spPr>
          <a:xfrm>
            <a:off x="2362200" y="2959100"/>
            <a:ext cx="1141413" cy="171450"/>
          </a:xfrm>
          <a:prstGeom prst="rect">
            <a:avLst/>
          </a:prstGeom>
          <a:solidFill>
            <a:srgbClr val="96CAB3"/>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cs typeface="+mn-cs"/>
              </a:rPr>
              <a:t>Central Cluster 2</a:t>
            </a:r>
            <a:endParaRPr lang="en-GB" sz="1100" b="1" kern="0" dirty="0">
              <a:solidFill>
                <a:srgbClr val="FFFFFF"/>
              </a:solidFill>
              <a:latin typeface="Arial"/>
            </a:endParaRPr>
          </a:p>
        </p:txBody>
      </p:sp>
      <p:sp>
        <p:nvSpPr>
          <p:cNvPr id="217" name="Rectangle 216">
            <a:extLst>
              <a:ext uri="{FF2B5EF4-FFF2-40B4-BE49-F238E27FC236}"/>
            </a:extLst>
          </p:cNvPr>
          <p:cNvSpPr/>
          <p:nvPr/>
        </p:nvSpPr>
        <p:spPr>
          <a:xfrm>
            <a:off x="2362200" y="3122613"/>
            <a:ext cx="1141413" cy="277812"/>
          </a:xfrm>
          <a:prstGeom prst="rect">
            <a:avLst/>
          </a:prstGeom>
          <a:solidFill>
            <a:schemeClr val="accent5"/>
          </a:solidFill>
          <a:ln w="3175" cap="flat">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Last Phase &amp; Planned Care</a:t>
            </a:r>
          </a:p>
        </p:txBody>
      </p:sp>
      <p:sp>
        <p:nvSpPr>
          <p:cNvPr id="223" name="TextBox 222">
            <a:extLst>
              <a:ext uri="{FF2B5EF4-FFF2-40B4-BE49-F238E27FC236}"/>
            </a:extLst>
          </p:cNvPr>
          <p:cNvSpPr txBox="1"/>
          <p:nvPr/>
        </p:nvSpPr>
        <p:spPr>
          <a:xfrm>
            <a:off x="463550" y="4618038"/>
            <a:ext cx="1219200" cy="169862"/>
          </a:xfrm>
          <a:prstGeom prst="rect">
            <a:avLst/>
          </a:prstGeom>
          <a:solidFill>
            <a:srgbClr val="5EAD8E"/>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cs typeface="+mn-cs"/>
              </a:rPr>
              <a:t>Western Cluster 1</a:t>
            </a:r>
            <a:endParaRPr lang="en-GB" sz="1100" b="1" kern="0" dirty="0">
              <a:solidFill>
                <a:srgbClr val="FFFFFF"/>
              </a:solidFill>
              <a:latin typeface="Arial"/>
            </a:endParaRPr>
          </a:p>
        </p:txBody>
      </p:sp>
      <p:sp>
        <p:nvSpPr>
          <p:cNvPr id="224" name="Rectangle 223">
            <a:extLst>
              <a:ext uri="{FF2B5EF4-FFF2-40B4-BE49-F238E27FC236}"/>
            </a:extLst>
          </p:cNvPr>
          <p:cNvSpPr/>
          <p:nvPr/>
        </p:nvSpPr>
        <p:spPr>
          <a:xfrm>
            <a:off x="463550" y="4778375"/>
            <a:ext cx="1219200" cy="222250"/>
          </a:xfrm>
          <a:prstGeom prst="rect">
            <a:avLst/>
          </a:prstGeom>
          <a:solidFill>
            <a:schemeClr val="accent5"/>
          </a:solidFill>
          <a:ln w="31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Urgent Care</a:t>
            </a:r>
          </a:p>
        </p:txBody>
      </p:sp>
      <p:sp>
        <p:nvSpPr>
          <p:cNvPr id="226" name="TextBox 225">
            <a:extLst>
              <a:ext uri="{FF2B5EF4-FFF2-40B4-BE49-F238E27FC236}"/>
            </a:extLst>
          </p:cNvPr>
          <p:cNvSpPr txBox="1"/>
          <p:nvPr/>
        </p:nvSpPr>
        <p:spPr>
          <a:xfrm>
            <a:off x="244475" y="4006850"/>
            <a:ext cx="1141413" cy="171450"/>
          </a:xfrm>
          <a:prstGeom prst="rect">
            <a:avLst/>
          </a:prstGeom>
          <a:solidFill>
            <a:srgbClr val="5EAD8E"/>
          </a:solidFill>
          <a:ln w="12700" cap="flat">
            <a:noFill/>
            <a:miter lim="800000"/>
          </a:ln>
          <a:effectLst/>
        </p:spPr>
        <p:txBody>
          <a:bodyPr lIns="0" tIns="18000" rIns="0" bIns="0" anchor="ctr">
            <a:spAutoFit/>
          </a:bodyPr>
          <a:lstStyle/>
          <a:p>
            <a:pPr algn="ctr" eaLnBrk="1" fontAlgn="auto" hangingPunct="1">
              <a:lnSpc>
                <a:spcPct val="90000"/>
              </a:lnSpc>
              <a:spcBef>
                <a:spcPts val="600"/>
              </a:spcBef>
              <a:spcAft>
                <a:spcPts val="0"/>
              </a:spcAft>
              <a:buClr>
                <a:srgbClr val="9B1717"/>
              </a:buClr>
              <a:defRPr/>
            </a:pPr>
            <a:r>
              <a:rPr lang="en-US" sz="1100" b="1" dirty="0">
                <a:solidFill>
                  <a:srgbClr val="FFFFFF"/>
                </a:solidFill>
                <a:latin typeface="Arial"/>
                <a:cs typeface="+mn-cs"/>
              </a:rPr>
              <a:t>Jeddah Pilot</a:t>
            </a:r>
          </a:p>
        </p:txBody>
      </p:sp>
      <p:sp>
        <p:nvSpPr>
          <p:cNvPr id="227" name="Rectangle 226">
            <a:extLst>
              <a:ext uri="{FF2B5EF4-FFF2-40B4-BE49-F238E27FC236}"/>
            </a:extLst>
          </p:cNvPr>
          <p:cNvSpPr/>
          <p:nvPr/>
        </p:nvSpPr>
        <p:spPr>
          <a:xfrm>
            <a:off x="244475" y="4178300"/>
            <a:ext cx="1141413" cy="222250"/>
          </a:xfrm>
          <a:prstGeom prst="rect">
            <a:avLst/>
          </a:prstGeom>
          <a:solidFill>
            <a:schemeClr val="accent5"/>
          </a:solidFill>
          <a:ln w="31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defRPr/>
            </a:pPr>
            <a:r>
              <a:rPr lang="en-GB" sz="900" b="1" dirty="0">
                <a:solidFill>
                  <a:srgbClr val="FFFFFF"/>
                </a:solidFill>
                <a:latin typeface="Arial" panose="020B0604020202020204" pitchFamily="34" charset="0"/>
                <a:cs typeface="Arial" pitchFamily="34" charset="0"/>
              </a:rPr>
              <a:t>Hypertension</a:t>
            </a:r>
          </a:p>
        </p:txBody>
      </p:sp>
      <p:sp>
        <p:nvSpPr>
          <p:cNvPr id="231" name="TextBox 230">
            <a:extLst>
              <a:ext uri="{FF2B5EF4-FFF2-40B4-BE49-F238E27FC236}"/>
            </a:extLst>
          </p:cNvPr>
          <p:cNvSpPr txBox="1"/>
          <p:nvPr/>
        </p:nvSpPr>
        <p:spPr>
          <a:xfrm>
            <a:off x="1763713" y="4437063"/>
            <a:ext cx="555625" cy="112712"/>
          </a:xfrm>
          <a:prstGeom prst="rect">
            <a:avLst/>
          </a:prstGeom>
          <a:noFill/>
          <a:ln w="6350" cap="flat">
            <a:noFill/>
            <a:miter lim="800000"/>
          </a:ln>
          <a:effectLst>
            <a:outerShdw blurRad="50800" dist="38100" dir="2700015" rotWithShape="0">
              <a:schemeClr val="tx1">
                <a:alpha val="40000"/>
              </a:schemeClr>
            </a:outerShdw>
          </a:effectLst>
          <a:extLst>
            <a:ext uri="{909E8E84-426E-40DD-AFC4-6F175D3DCCD1}">
              <a14:hiddenFill xmlns:a14="http://schemas.microsoft.com/office/drawing/2010/main">
                <a:solidFill>
                  <a:srgbClr val="A5FFFF"/>
                </a:solidFill>
              </a14:hiddenFill>
            </a:ext>
          </a:extLst>
        </p:spPr>
        <p:txBody>
          <a:bodyPr lIns="0" tIns="0" rIns="0" bIns="0">
            <a:spAutoFit/>
          </a:bodyPr>
          <a:lstStyle/>
          <a:p>
            <a:pPr eaLnBrk="1" fontAlgn="auto" hangingPunct="1">
              <a:lnSpc>
                <a:spcPct val="90000"/>
              </a:lnSpc>
              <a:buClr>
                <a:srgbClr val="048962"/>
              </a:buClr>
              <a:defRPr/>
            </a:pPr>
            <a:r>
              <a:rPr lang="en-US" sz="1000" b="1" dirty="0">
                <a:solidFill>
                  <a:srgbClr val="FFFFFF"/>
                </a:solidFill>
                <a:latin typeface="Arial" panose="020B0604020202020204" pitchFamily="34" charset="0"/>
              </a:rPr>
              <a:t>Western</a:t>
            </a:r>
          </a:p>
        </p:txBody>
      </p:sp>
      <p:sp>
        <p:nvSpPr>
          <p:cNvPr id="236" name="TextBox 235">
            <a:extLst>
              <a:ext uri="{FF2B5EF4-FFF2-40B4-BE49-F238E27FC236}"/>
            </a:extLst>
          </p:cNvPr>
          <p:cNvSpPr txBox="1"/>
          <p:nvPr/>
        </p:nvSpPr>
        <p:spPr>
          <a:xfrm>
            <a:off x="2124075" y="4184650"/>
            <a:ext cx="504825" cy="112713"/>
          </a:xfrm>
          <a:prstGeom prst="rect">
            <a:avLst/>
          </a:prstGeom>
          <a:noFill/>
          <a:ln w="6350" cap="flat">
            <a:noFill/>
            <a:miter lim="800000"/>
          </a:ln>
          <a:effectLst>
            <a:outerShdw blurRad="50800" dist="38100" dir="2700015" rotWithShape="0">
              <a:schemeClr val="tx1">
                <a:alpha val="40000"/>
              </a:schemeClr>
            </a:outerShdw>
          </a:effectLst>
          <a:extLst>
            <a:ext uri="{909E8E84-426E-40DD-AFC4-6F175D3DCCD1}">
              <a14:hiddenFill xmlns:a14="http://schemas.microsoft.com/office/drawing/2010/main">
                <a:solidFill>
                  <a:srgbClr val="A5FFFF"/>
                </a:solidFill>
              </a14:hiddenFill>
            </a:ext>
          </a:extLst>
        </p:spPr>
        <p:txBody>
          <a:bodyPr lIns="0" tIns="0" rIns="0" bIns="0">
            <a:spAutoFit/>
          </a:bodyPr>
          <a:lstStyle/>
          <a:p>
            <a:pPr algn="ctr" eaLnBrk="1" fontAlgn="auto" hangingPunct="1">
              <a:lnSpc>
                <a:spcPct val="90000"/>
              </a:lnSpc>
              <a:buClr>
                <a:srgbClr val="048962"/>
              </a:buClr>
              <a:defRPr/>
            </a:pPr>
            <a:r>
              <a:rPr lang="en-US" sz="1000" b="1" dirty="0">
                <a:solidFill>
                  <a:srgbClr val="FFFFFF"/>
                </a:solidFill>
                <a:latin typeface="Arial" panose="020B0604020202020204" pitchFamily="34" charset="0"/>
              </a:rPr>
              <a:t>Central</a:t>
            </a:r>
          </a:p>
        </p:txBody>
      </p:sp>
      <p:sp>
        <p:nvSpPr>
          <p:cNvPr id="237" name="TextBox 236">
            <a:extLst>
              <a:ext uri="{FF2B5EF4-FFF2-40B4-BE49-F238E27FC236}"/>
            </a:extLst>
          </p:cNvPr>
          <p:cNvSpPr txBox="1"/>
          <p:nvPr/>
        </p:nvSpPr>
        <p:spPr>
          <a:xfrm>
            <a:off x="2743200" y="4484688"/>
            <a:ext cx="528638" cy="112712"/>
          </a:xfrm>
          <a:prstGeom prst="rect">
            <a:avLst/>
          </a:prstGeom>
          <a:noFill/>
          <a:ln w="6350" cap="flat">
            <a:noFill/>
            <a:miter lim="800000"/>
          </a:ln>
          <a:effectLst>
            <a:outerShdw blurRad="50800" dist="38100" dir="2700015" rotWithShape="0">
              <a:schemeClr val="tx1">
                <a:alpha val="40000"/>
              </a:schemeClr>
            </a:outerShdw>
          </a:effectLst>
          <a:extLst>
            <a:ext uri="{909E8E84-426E-40DD-AFC4-6F175D3DCCD1}">
              <a14:hiddenFill xmlns:a14="http://schemas.microsoft.com/office/drawing/2010/main">
                <a:solidFill>
                  <a:srgbClr val="A5FFFF"/>
                </a:solidFill>
              </a14:hiddenFill>
            </a:ext>
          </a:extLst>
        </p:spPr>
        <p:txBody>
          <a:bodyPr lIns="0" tIns="0" rIns="0" bIns="0">
            <a:spAutoFit/>
          </a:bodyPr>
          <a:lstStyle/>
          <a:p>
            <a:pPr algn="ctr" eaLnBrk="1" fontAlgn="auto" hangingPunct="1">
              <a:lnSpc>
                <a:spcPct val="90000"/>
              </a:lnSpc>
              <a:buClr>
                <a:srgbClr val="048962"/>
              </a:buClr>
              <a:defRPr/>
            </a:pPr>
            <a:r>
              <a:rPr lang="en-US" sz="1000" b="1" dirty="0">
                <a:solidFill>
                  <a:srgbClr val="FFFFFF"/>
                </a:solidFill>
                <a:latin typeface="Arial" panose="020B0604020202020204" pitchFamily="34" charset="0"/>
              </a:rPr>
              <a:t>Eastern</a:t>
            </a:r>
          </a:p>
        </p:txBody>
      </p:sp>
      <p:sp>
        <p:nvSpPr>
          <p:cNvPr id="109" name="Rectangle 108">
            <a:extLst>
              <a:ext uri="{FF2B5EF4-FFF2-40B4-BE49-F238E27FC236}"/>
            </a:extLst>
          </p:cNvPr>
          <p:cNvSpPr/>
          <p:nvPr/>
        </p:nvSpPr>
        <p:spPr>
          <a:xfrm>
            <a:off x="244475" y="5408613"/>
            <a:ext cx="8648700" cy="407987"/>
          </a:xfrm>
          <a:prstGeom prst="rect">
            <a:avLst/>
          </a:prstGeom>
          <a:solidFill>
            <a:schemeClr val="bg2"/>
          </a:solidFill>
          <a:ln w="6350" cap="flat" cmpd="sng" algn="ctr">
            <a:noFill/>
            <a:prstDash val="solid"/>
            <a:miter lim="800000"/>
          </a:ln>
          <a:effectLst/>
          <a:extLst>
            <a:ext uri="{91240B29-F687-4F45-9708-019B960494DF}">
              <a14:hiddenLine xmlns:a14="http://schemas.microsoft.com/office/drawing/2010/main" w="6350" cap="flat"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marL="341313" eaLnBrk="1" fontAlgn="auto" hangingPunct="1">
              <a:lnSpc>
                <a:spcPct val="90000"/>
              </a:lnSpc>
              <a:spcBef>
                <a:spcPts val="900"/>
              </a:spcBef>
              <a:spcAft>
                <a:spcPts val="0"/>
              </a:spcAft>
              <a:defRPr/>
            </a:pPr>
            <a:r>
              <a:rPr lang="en-US" sz="1400" b="1" dirty="0">
                <a:solidFill>
                  <a:srgbClr val="FFFFFF"/>
                </a:solidFill>
                <a:latin typeface="Arial" panose="020B0604020202020204" pitchFamily="34" charset="0"/>
                <a:cs typeface="Arial" panose="020B0604020202020204" pitchFamily="34" charset="0"/>
              </a:rPr>
              <a:t>Cost benefit analysis</a:t>
            </a:r>
          </a:p>
        </p:txBody>
      </p:sp>
      <p:sp>
        <p:nvSpPr>
          <p:cNvPr id="111" name="Rectangle 110">
            <a:extLst>
              <a:ext uri="{FF2B5EF4-FFF2-40B4-BE49-F238E27FC236}"/>
            </a:extLst>
          </p:cNvPr>
          <p:cNvSpPr/>
          <p:nvPr/>
        </p:nvSpPr>
        <p:spPr>
          <a:xfrm>
            <a:off x="252413" y="5799138"/>
            <a:ext cx="8640762" cy="563562"/>
          </a:xfrm>
          <a:prstGeom prst="rect">
            <a:avLst/>
          </a:prstGeom>
          <a:gradFill>
            <a:gsLst>
              <a:gs pos="0">
                <a:schemeClr val="tx2">
                  <a:lumMod val="10000"/>
                  <a:lumOff val="90000"/>
                </a:schemeClr>
              </a:gs>
              <a:gs pos="100000">
                <a:schemeClr val="bg1">
                  <a:alpha val="66000"/>
                </a:schemeClr>
              </a:gs>
            </a:gsLst>
            <a:lin ang="5400000" scaled="1"/>
          </a:gra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2009" tIns="72009" rIns="1270" bIns="72009" anchor="ctr"/>
          <a:lstStyle/>
          <a:p>
            <a:pPr>
              <a:lnSpc>
                <a:spcPct val="90000"/>
              </a:lnSpc>
              <a:spcBef>
                <a:spcPts val="900"/>
              </a:spcBef>
              <a:defRPr/>
            </a:pPr>
            <a:r>
              <a:rPr lang="en-US" sz="1200" i="1" dirty="0">
                <a:solidFill>
                  <a:schemeClr val="tx1"/>
                </a:solidFill>
                <a:latin typeface="Arial" pitchFamily="34" charset="0"/>
                <a:cs typeface="Arial" pitchFamily="34" charset="0"/>
              </a:rPr>
              <a:t>A bottom-up economic impact estimation of the Model of Care based on learnings from the pathway implementation projects</a:t>
            </a:r>
          </a:p>
        </p:txBody>
      </p:sp>
      <p:sp>
        <p:nvSpPr>
          <p:cNvPr id="77855" name="TextBox 72"/>
          <p:cNvSpPr txBox="1">
            <a:spLocks noChangeArrowheads="1"/>
          </p:cNvSpPr>
          <p:nvPr/>
        </p:nvSpPr>
        <p:spPr bwMode="auto">
          <a:xfrm>
            <a:off x="7200900" y="4259263"/>
            <a:ext cx="16002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spcBef>
                <a:spcPts val="600"/>
              </a:spcBef>
              <a:spcAft>
                <a:spcPct val="0"/>
              </a:spcAft>
              <a:buClr>
                <a:schemeClr val="bg2"/>
              </a:buClr>
              <a:buSzTx/>
              <a:buFontTx/>
              <a:buNone/>
            </a:pPr>
            <a:r>
              <a:rPr lang="en-US" sz="1200" b="1">
                <a:solidFill>
                  <a:schemeClr val="tx1"/>
                </a:solidFill>
                <a:latin typeface="Arial" panose="020B0604020202020204" pitchFamily="34" charset="0"/>
              </a:rPr>
              <a:t>Health in All Policies &amp; GIS</a:t>
            </a:r>
          </a:p>
        </p:txBody>
      </p:sp>
      <p:grpSp>
        <p:nvGrpSpPr>
          <p:cNvPr id="77856" name="Group 113"/>
          <p:cNvGrpSpPr>
            <a:grpSpLocks/>
          </p:cNvGrpSpPr>
          <p:nvPr/>
        </p:nvGrpSpPr>
        <p:grpSpPr bwMode="auto">
          <a:xfrm>
            <a:off x="4824413" y="4221163"/>
            <a:ext cx="365125" cy="365125"/>
            <a:chOff x="3232786" y="5423821"/>
            <a:chExt cx="365760" cy="365760"/>
          </a:xfrm>
        </p:grpSpPr>
        <p:sp>
          <p:nvSpPr>
            <p:cNvPr id="115" name="Oval 114">
              <a:extLst>
                <a:ext uri="{FF2B5EF4-FFF2-40B4-BE49-F238E27FC236}"/>
              </a:extLst>
            </p:cNvPr>
            <p:cNvSpPr/>
            <p:nvPr/>
          </p:nvSpPr>
          <p:spPr bwMode="ltGray">
            <a:xfrm>
              <a:off x="3232786" y="5423821"/>
              <a:ext cx="365760" cy="365760"/>
            </a:xfrm>
            <a:prstGeom prst="ellipse">
              <a:avLst/>
            </a:prstGeom>
            <a:solidFill>
              <a:srgbClr val="A7A8AA">
                <a:lumMod val="75000"/>
              </a:srgbClr>
            </a:solidFill>
            <a:ln w="3175" cap="flat" cmpd="sng" algn="ctr">
              <a:noFill/>
              <a:prstDash val="solid"/>
            </a:ln>
            <a:effectLst/>
          </p:spPr>
          <p:txBody>
            <a:bodyPr anchor="ctr"/>
            <a:lstStyle/>
            <a:p>
              <a:pPr algn="ctr" defTabSz="871196" eaLnBrk="1" fontAlgn="auto" hangingPunct="1">
                <a:spcBef>
                  <a:spcPts val="0"/>
                </a:spcBef>
                <a:spcAft>
                  <a:spcPts val="0"/>
                </a:spcAft>
                <a:defRPr/>
              </a:pPr>
              <a:endParaRPr lang="en-GB" sz="1000" kern="0" dirty="0">
                <a:solidFill>
                  <a:srgbClr val="FFFFFF"/>
                </a:solidFill>
                <a:latin typeface="Calibri"/>
                <a:cs typeface="+mn-cs"/>
              </a:endParaRPr>
            </a:p>
          </p:txBody>
        </p:sp>
        <p:sp>
          <p:nvSpPr>
            <p:cNvPr id="116" name="Freeform 24">
              <a:extLst>
                <a:ext uri="{FF2B5EF4-FFF2-40B4-BE49-F238E27FC236}"/>
              </a:extLst>
            </p:cNvPr>
            <p:cNvSpPr>
              <a:spLocks noEditPoints="1"/>
            </p:cNvSpPr>
            <p:nvPr/>
          </p:nvSpPr>
          <p:spPr bwMode="auto">
            <a:xfrm>
              <a:off x="3274133" y="5460396"/>
              <a:ext cx="287837" cy="287838"/>
            </a:xfrm>
            <a:custGeom>
              <a:avLst/>
              <a:gdLst>
                <a:gd name="T0" fmla="*/ 341524 w 225"/>
                <a:gd name="T1" fmla="*/ 39034 h 102"/>
                <a:gd name="T2" fmla="*/ 341524 w 225"/>
                <a:gd name="T3" fmla="*/ 3253 h 102"/>
                <a:gd name="T4" fmla="*/ 295987 w 225"/>
                <a:gd name="T5" fmla="*/ 3253 h 102"/>
                <a:gd name="T6" fmla="*/ 295987 w 225"/>
                <a:gd name="T7" fmla="*/ 39034 h 102"/>
                <a:gd name="T8" fmla="*/ 71557 w 225"/>
                <a:gd name="T9" fmla="*/ 39034 h 102"/>
                <a:gd name="T10" fmla="*/ 71557 w 225"/>
                <a:gd name="T11" fmla="*/ 6506 h 102"/>
                <a:gd name="T12" fmla="*/ 61800 w 225"/>
                <a:gd name="T13" fmla="*/ 3253 h 102"/>
                <a:gd name="T14" fmla="*/ 6505 w 225"/>
                <a:gd name="T15" fmla="*/ 52045 h 102"/>
                <a:gd name="T16" fmla="*/ 6505 w 225"/>
                <a:gd name="T17" fmla="*/ 65056 h 102"/>
                <a:gd name="T18" fmla="*/ 61800 w 225"/>
                <a:gd name="T19" fmla="*/ 113849 h 102"/>
                <a:gd name="T20" fmla="*/ 71557 w 225"/>
                <a:gd name="T21" fmla="*/ 110596 h 102"/>
                <a:gd name="T22" fmla="*/ 71557 w 225"/>
                <a:gd name="T23" fmla="*/ 78068 h 102"/>
                <a:gd name="T24" fmla="*/ 295987 w 225"/>
                <a:gd name="T25" fmla="*/ 78068 h 102"/>
                <a:gd name="T26" fmla="*/ 295987 w 225"/>
                <a:gd name="T27" fmla="*/ 227698 h 102"/>
                <a:gd name="T28" fmla="*/ 341524 w 225"/>
                <a:gd name="T29" fmla="*/ 227698 h 102"/>
                <a:gd name="T30" fmla="*/ 341524 w 225"/>
                <a:gd name="T31" fmla="*/ 78068 h 102"/>
                <a:gd name="T32" fmla="*/ 731837 w 225"/>
                <a:gd name="T33" fmla="*/ 78068 h 102"/>
                <a:gd name="T34" fmla="*/ 731837 w 225"/>
                <a:gd name="T35" fmla="*/ 39034 h 102"/>
                <a:gd name="T36" fmla="*/ 341524 w 225"/>
                <a:gd name="T37" fmla="*/ 39034 h 102"/>
                <a:gd name="T38" fmla="*/ 670037 w 225"/>
                <a:gd name="T39" fmla="*/ 217939 h 102"/>
                <a:gd name="T40" fmla="*/ 660280 w 225"/>
                <a:gd name="T41" fmla="*/ 221192 h 102"/>
                <a:gd name="T42" fmla="*/ 660280 w 225"/>
                <a:gd name="T43" fmla="*/ 253720 h 102"/>
                <a:gd name="T44" fmla="*/ 0 w 225"/>
                <a:gd name="T45" fmla="*/ 253720 h 102"/>
                <a:gd name="T46" fmla="*/ 0 w 225"/>
                <a:gd name="T47" fmla="*/ 292754 h 102"/>
                <a:gd name="T48" fmla="*/ 660280 w 225"/>
                <a:gd name="T49" fmla="*/ 292754 h 102"/>
                <a:gd name="T50" fmla="*/ 660280 w 225"/>
                <a:gd name="T51" fmla="*/ 325282 h 102"/>
                <a:gd name="T52" fmla="*/ 670037 w 225"/>
                <a:gd name="T53" fmla="*/ 328535 h 102"/>
                <a:gd name="T54" fmla="*/ 725332 w 225"/>
                <a:gd name="T55" fmla="*/ 279743 h 102"/>
                <a:gd name="T56" fmla="*/ 725332 w 225"/>
                <a:gd name="T57" fmla="*/ 263479 h 102"/>
                <a:gd name="T58" fmla="*/ 670037 w 225"/>
                <a:gd name="T59" fmla="*/ 217939 h 102"/>
                <a:gd name="T60" fmla="*/ 120347 w 225"/>
                <a:gd name="T61" fmla="*/ 100838 h 102"/>
                <a:gd name="T62" fmla="*/ 120347 w 225"/>
                <a:gd name="T63" fmla="*/ 227698 h 102"/>
                <a:gd name="T64" fmla="*/ 165883 w 225"/>
                <a:gd name="T65" fmla="*/ 227698 h 102"/>
                <a:gd name="T66" fmla="*/ 165883 w 225"/>
                <a:gd name="T67" fmla="*/ 100838 h 102"/>
                <a:gd name="T68" fmla="*/ 120347 w 225"/>
                <a:gd name="T69" fmla="*/ 100838 h 102"/>
                <a:gd name="T70" fmla="*/ 208167 w 225"/>
                <a:gd name="T71" fmla="*/ 130113 h 102"/>
                <a:gd name="T72" fmla="*/ 208167 w 225"/>
                <a:gd name="T73" fmla="*/ 227698 h 102"/>
                <a:gd name="T74" fmla="*/ 253703 w 225"/>
                <a:gd name="T75" fmla="*/ 227698 h 102"/>
                <a:gd name="T76" fmla="*/ 253703 w 225"/>
                <a:gd name="T77" fmla="*/ 130113 h 102"/>
                <a:gd name="T78" fmla="*/ 208167 w 225"/>
                <a:gd name="T79" fmla="*/ 130113 h 102"/>
                <a:gd name="T80" fmla="*/ 383808 w 225"/>
                <a:gd name="T81" fmla="*/ 100838 h 102"/>
                <a:gd name="T82" fmla="*/ 383808 w 225"/>
                <a:gd name="T83" fmla="*/ 227698 h 102"/>
                <a:gd name="T84" fmla="*/ 429344 w 225"/>
                <a:gd name="T85" fmla="*/ 227698 h 102"/>
                <a:gd name="T86" fmla="*/ 429344 w 225"/>
                <a:gd name="T87" fmla="*/ 100838 h 102"/>
                <a:gd name="T88" fmla="*/ 383808 w 225"/>
                <a:gd name="T89" fmla="*/ 100838 h 102"/>
                <a:gd name="T90" fmla="*/ 471628 w 225"/>
                <a:gd name="T91" fmla="*/ 126860 h 102"/>
                <a:gd name="T92" fmla="*/ 471628 w 225"/>
                <a:gd name="T93" fmla="*/ 214686 h 102"/>
                <a:gd name="T94" fmla="*/ 517165 w 225"/>
                <a:gd name="T95" fmla="*/ 214686 h 102"/>
                <a:gd name="T96" fmla="*/ 517165 w 225"/>
                <a:gd name="T97" fmla="*/ 126860 h 102"/>
                <a:gd name="T98" fmla="*/ 471628 w 225"/>
                <a:gd name="T99" fmla="*/ 126860 h 102"/>
                <a:gd name="T100" fmla="*/ 559449 w 225"/>
                <a:gd name="T101" fmla="*/ 100838 h 102"/>
                <a:gd name="T102" fmla="*/ 559449 w 225"/>
                <a:gd name="T103" fmla="*/ 227698 h 102"/>
                <a:gd name="T104" fmla="*/ 604985 w 225"/>
                <a:gd name="T105" fmla="*/ 227698 h 102"/>
                <a:gd name="T106" fmla="*/ 604985 w 225"/>
                <a:gd name="T107" fmla="*/ 100838 h 102"/>
                <a:gd name="T108" fmla="*/ 559449 w 225"/>
                <a:gd name="T109" fmla="*/ 100838 h 10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25" h="102">
                  <a:moveTo>
                    <a:pt x="105" y="12"/>
                  </a:moveTo>
                  <a:cubicBezTo>
                    <a:pt x="105" y="1"/>
                    <a:pt x="105" y="1"/>
                    <a:pt x="105" y="1"/>
                  </a:cubicBezTo>
                  <a:cubicBezTo>
                    <a:pt x="91" y="1"/>
                    <a:pt x="91" y="1"/>
                    <a:pt x="91" y="1"/>
                  </a:cubicBezTo>
                  <a:cubicBezTo>
                    <a:pt x="91" y="12"/>
                    <a:pt x="91" y="12"/>
                    <a:pt x="91" y="12"/>
                  </a:cubicBezTo>
                  <a:cubicBezTo>
                    <a:pt x="22" y="12"/>
                    <a:pt x="22" y="12"/>
                    <a:pt x="22" y="12"/>
                  </a:cubicBezTo>
                  <a:cubicBezTo>
                    <a:pt x="22" y="2"/>
                    <a:pt x="22" y="2"/>
                    <a:pt x="22" y="2"/>
                  </a:cubicBezTo>
                  <a:cubicBezTo>
                    <a:pt x="22" y="0"/>
                    <a:pt x="21" y="0"/>
                    <a:pt x="19" y="1"/>
                  </a:cubicBezTo>
                  <a:cubicBezTo>
                    <a:pt x="2" y="16"/>
                    <a:pt x="2" y="16"/>
                    <a:pt x="2" y="16"/>
                  </a:cubicBezTo>
                  <a:cubicBezTo>
                    <a:pt x="0" y="17"/>
                    <a:pt x="0" y="19"/>
                    <a:pt x="2" y="20"/>
                  </a:cubicBezTo>
                  <a:cubicBezTo>
                    <a:pt x="19" y="35"/>
                    <a:pt x="19" y="35"/>
                    <a:pt x="19" y="35"/>
                  </a:cubicBezTo>
                  <a:cubicBezTo>
                    <a:pt x="21" y="36"/>
                    <a:pt x="22" y="36"/>
                    <a:pt x="22" y="34"/>
                  </a:cubicBezTo>
                  <a:cubicBezTo>
                    <a:pt x="22" y="24"/>
                    <a:pt x="22" y="24"/>
                    <a:pt x="22" y="24"/>
                  </a:cubicBezTo>
                  <a:cubicBezTo>
                    <a:pt x="91" y="24"/>
                    <a:pt x="91" y="24"/>
                    <a:pt x="91" y="24"/>
                  </a:cubicBezTo>
                  <a:cubicBezTo>
                    <a:pt x="91" y="70"/>
                    <a:pt x="91" y="70"/>
                    <a:pt x="91" y="70"/>
                  </a:cubicBezTo>
                  <a:cubicBezTo>
                    <a:pt x="105" y="70"/>
                    <a:pt x="105" y="70"/>
                    <a:pt x="105" y="70"/>
                  </a:cubicBezTo>
                  <a:cubicBezTo>
                    <a:pt x="105" y="24"/>
                    <a:pt x="105" y="24"/>
                    <a:pt x="105" y="24"/>
                  </a:cubicBezTo>
                  <a:cubicBezTo>
                    <a:pt x="225" y="24"/>
                    <a:pt x="225" y="24"/>
                    <a:pt x="225" y="24"/>
                  </a:cubicBezTo>
                  <a:cubicBezTo>
                    <a:pt x="225" y="12"/>
                    <a:pt x="225" y="12"/>
                    <a:pt x="225" y="12"/>
                  </a:cubicBezTo>
                  <a:lnTo>
                    <a:pt x="105" y="12"/>
                  </a:lnTo>
                  <a:close/>
                  <a:moveTo>
                    <a:pt x="206" y="67"/>
                  </a:moveTo>
                  <a:cubicBezTo>
                    <a:pt x="204" y="65"/>
                    <a:pt x="203" y="66"/>
                    <a:pt x="203" y="68"/>
                  </a:cubicBezTo>
                  <a:cubicBezTo>
                    <a:pt x="203" y="78"/>
                    <a:pt x="203" y="78"/>
                    <a:pt x="203" y="78"/>
                  </a:cubicBezTo>
                  <a:cubicBezTo>
                    <a:pt x="0" y="78"/>
                    <a:pt x="0" y="78"/>
                    <a:pt x="0" y="78"/>
                  </a:cubicBezTo>
                  <a:cubicBezTo>
                    <a:pt x="0" y="90"/>
                    <a:pt x="0" y="90"/>
                    <a:pt x="0" y="90"/>
                  </a:cubicBezTo>
                  <a:cubicBezTo>
                    <a:pt x="203" y="90"/>
                    <a:pt x="203" y="90"/>
                    <a:pt x="203" y="90"/>
                  </a:cubicBezTo>
                  <a:cubicBezTo>
                    <a:pt x="203" y="100"/>
                    <a:pt x="203" y="100"/>
                    <a:pt x="203" y="100"/>
                  </a:cubicBezTo>
                  <a:cubicBezTo>
                    <a:pt x="203" y="102"/>
                    <a:pt x="204" y="102"/>
                    <a:pt x="206" y="101"/>
                  </a:cubicBezTo>
                  <a:cubicBezTo>
                    <a:pt x="223" y="86"/>
                    <a:pt x="223" y="86"/>
                    <a:pt x="223" y="86"/>
                  </a:cubicBezTo>
                  <a:cubicBezTo>
                    <a:pt x="225" y="85"/>
                    <a:pt x="225" y="83"/>
                    <a:pt x="223" y="81"/>
                  </a:cubicBezTo>
                  <a:lnTo>
                    <a:pt x="206" y="67"/>
                  </a:lnTo>
                  <a:close/>
                  <a:moveTo>
                    <a:pt x="37" y="31"/>
                  </a:moveTo>
                  <a:cubicBezTo>
                    <a:pt x="37" y="70"/>
                    <a:pt x="37" y="70"/>
                    <a:pt x="37" y="70"/>
                  </a:cubicBezTo>
                  <a:cubicBezTo>
                    <a:pt x="51" y="70"/>
                    <a:pt x="51" y="70"/>
                    <a:pt x="51" y="70"/>
                  </a:cubicBezTo>
                  <a:cubicBezTo>
                    <a:pt x="51" y="31"/>
                    <a:pt x="51" y="31"/>
                    <a:pt x="51" y="31"/>
                  </a:cubicBezTo>
                  <a:lnTo>
                    <a:pt x="37" y="31"/>
                  </a:lnTo>
                  <a:close/>
                  <a:moveTo>
                    <a:pt x="64" y="40"/>
                  </a:moveTo>
                  <a:cubicBezTo>
                    <a:pt x="64" y="70"/>
                    <a:pt x="64" y="70"/>
                    <a:pt x="64" y="70"/>
                  </a:cubicBezTo>
                  <a:cubicBezTo>
                    <a:pt x="78" y="70"/>
                    <a:pt x="78" y="70"/>
                    <a:pt x="78" y="70"/>
                  </a:cubicBezTo>
                  <a:cubicBezTo>
                    <a:pt x="78" y="40"/>
                    <a:pt x="78" y="40"/>
                    <a:pt x="78" y="40"/>
                  </a:cubicBezTo>
                  <a:lnTo>
                    <a:pt x="64" y="40"/>
                  </a:lnTo>
                  <a:close/>
                  <a:moveTo>
                    <a:pt x="118" y="31"/>
                  </a:moveTo>
                  <a:cubicBezTo>
                    <a:pt x="118" y="70"/>
                    <a:pt x="118" y="70"/>
                    <a:pt x="118" y="70"/>
                  </a:cubicBezTo>
                  <a:cubicBezTo>
                    <a:pt x="132" y="70"/>
                    <a:pt x="132" y="70"/>
                    <a:pt x="132" y="70"/>
                  </a:cubicBezTo>
                  <a:cubicBezTo>
                    <a:pt x="132" y="31"/>
                    <a:pt x="132" y="31"/>
                    <a:pt x="132" y="31"/>
                  </a:cubicBezTo>
                  <a:lnTo>
                    <a:pt x="118" y="31"/>
                  </a:lnTo>
                  <a:close/>
                  <a:moveTo>
                    <a:pt x="145" y="39"/>
                  </a:moveTo>
                  <a:cubicBezTo>
                    <a:pt x="145" y="66"/>
                    <a:pt x="145" y="66"/>
                    <a:pt x="145" y="66"/>
                  </a:cubicBezTo>
                  <a:cubicBezTo>
                    <a:pt x="159" y="66"/>
                    <a:pt x="159" y="66"/>
                    <a:pt x="159" y="66"/>
                  </a:cubicBezTo>
                  <a:cubicBezTo>
                    <a:pt x="159" y="39"/>
                    <a:pt x="159" y="39"/>
                    <a:pt x="159" y="39"/>
                  </a:cubicBezTo>
                  <a:lnTo>
                    <a:pt x="145" y="39"/>
                  </a:lnTo>
                  <a:close/>
                  <a:moveTo>
                    <a:pt x="172" y="31"/>
                  </a:moveTo>
                  <a:cubicBezTo>
                    <a:pt x="172" y="70"/>
                    <a:pt x="172" y="70"/>
                    <a:pt x="172" y="70"/>
                  </a:cubicBezTo>
                  <a:cubicBezTo>
                    <a:pt x="186" y="70"/>
                    <a:pt x="186" y="70"/>
                    <a:pt x="186" y="70"/>
                  </a:cubicBezTo>
                  <a:cubicBezTo>
                    <a:pt x="186" y="31"/>
                    <a:pt x="186" y="31"/>
                    <a:pt x="186" y="31"/>
                  </a:cubicBezTo>
                  <a:lnTo>
                    <a:pt x="172" y="31"/>
                  </a:lnTo>
                  <a:close/>
                </a:path>
              </a:pathLst>
            </a:custGeom>
            <a:solidFill>
              <a:srgbClr val="FFFFFF"/>
            </a:solidFill>
            <a:ln>
              <a:noFill/>
            </a:ln>
            <a:extLst/>
          </p:spPr>
          <p:txBody>
            <a:bodyPr/>
            <a:lstStyle/>
            <a:p>
              <a:pPr eaLnBrk="1" fontAlgn="auto" hangingPunct="1">
                <a:spcBef>
                  <a:spcPts val="0"/>
                </a:spcBef>
                <a:spcAft>
                  <a:spcPts val="0"/>
                </a:spcAft>
                <a:defRPr/>
              </a:pPr>
              <a:endParaRPr lang="en-US" kern="0" dirty="0">
                <a:solidFill>
                  <a:srgbClr val="000000"/>
                </a:solidFill>
                <a:latin typeface="Calibri"/>
              </a:endParaRPr>
            </a:p>
          </p:txBody>
        </p:sp>
      </p:grpSp>
      <p:grpSp>
        <p:nvGrpSpPr>
          <p:cNvPr id="77857" name="Group 119"/>
          <p:cNvGrpSpPr>
            <a:grpSpLocks/>
          </p:cNvGrpSpPr>
          <p:nvPr/>
        </p:nvGrpSpPr>
        <p:grpSpPr bwMode="auto">
          <a:xfrm>
            <a:off x="4824413" y="4972050"/>
            <a:ext cx="366712" cy="365125"/>
            <a:chOff x="6058433" y="5411357"/>
            <a:chExt cx="366772" cy="365760"/>
          </a:xfrm>
        </p:grpSpPr>
        <p:sp>
          <p:nvSpPr>
            <p:cNvPr id="121" name="Oval 120">
              <a:extLst>
                <a:ext uri="{FF2B5EF4-FFF2-40B4-BE49-F238E27FC236}"/>
              </a:extLst>
            </p:cNvPr>
            <p:cNvSpPr/>
            <p:nvPr/>
          </p:nvSpPr>
          <p:spPr bwMode="ltGray">
            <a:xfrm>
              <a:off x="6060020" y="5411357"/>
              <a:ext cx="365185" cy="365760"/>
            </a:xfrm>
            <a:prstGeom prst="ellipse">
              <a:avLst/>
            </a:prstGeom>
            <a:solidFill>
              <a:srgbClr val="A7A8AA">
                <a:lumMod val="75000"/>
              </a:srgbClr>
            </a:solidFill>
            <a:ln w="3175" cap="flat" cmpd="sng" algn="ctr">
              <a:noFill/>
              <a:prstDash val="solid"/>
            </a:ln>
            <a:effectLst/>
          </p:spPr>
          <p:txBody>
            <a:bodyPr anchor="ctr"/>
            <a:lstStyle/>
            <a:p>
              <a:pPr algn="ctr" defTabSz="871196" eaLnBrk="1" fontAlgn="auto" hangingPunct="1">
                <a:spcBef>
                  <a:spcPts val="0"/>
                </a:spcBef>
                <a:spcAft>
                  <a:spcPts val="0"/>
                </a:spcAft>
                <a:defRPr/>
              </a:pPr>
              <a:endParaRPr lang="en-GB" sz="1000" kern="0" dirty="0">
                <a:solidFill>
                  <a:srgbClr val="FFFFFF"/>
                </a:solidFill>
                <a:latin typeface="Calibri"/>
                <a:cs typeface="+mn-cs"/>
              </a:endParaRPr>
            </a:p>
          </p:txBody>
        </p:sp>
        <p:sp>
          <p:nvSpPr>
            <p:cNvPr id="122" name="Freeform 1347">
              <a:extLst>
                <a:ext uri="{FF2B5EF4-FFF2-40B4-BE49-F238E27FC236}"/>
              </a:extLst>
            </p:cNvPr>
            <p:cNvSpPr>
              <a:spLocks noEditPoints="1"/>
            </p:cNvSpPr>
            <p:nvPr/>
          </p:nvSpPr>
          <p:spPr bwMode="auto">
            <a:xfrm>
              <a:off x="6058433" y="5430440"/>
              <a:ext cx="360421" cy="324413"/>
            </a:xfrm>
            <a:custGeom>
              <a:avLst/>
              <a:gdLst/>
              <a:ahLst/>
              <a:cxnLst>
                <a:cxn ang="0">
                  <a:pos x="487" y="0"/>
                </a:cxn>
                <a:cxn ang="0">
                  <a:pos x="82" y="579"/>
                </a:cxn>
                <a:cxn ang="0">
                  <a:pos x="634" y="836"/>
                </a:cxn>
                <a:cxn ang="0">
                  <a:pos x="866" y="426"/>
                </a:cxn>
                <a:cxn ang="0">
                  <a:pos x="756" y="375"/>
                </a:cxn>
                <a:cxn ang="0">
                  <a:pos x="843" y="302"/>
                </a:cxn>
                <a:cxn ang="0">
                  <a:pos x="757" y="178"/>
                </a:cxn>
                <a:cxn ang="0">
                  <a:pos x="596" y="238"/>
                </a:cxn>
                <a:cxn ang="0">
                  <a:pos x="571" y="62"/>
                </a:cxn>
                <a:cxn ang="0">
                  <a:pos x="757" y="178"/>
                </a:cxn>
                <a:cxn ang="0">
                  <a:pos x="110" y="388"/>
                </a:cxn>
                <a:cxn ang="0">
                  <a:pos x="190" y="271"/>
                </a:cxn>
                <a:cxn ang="0">
                  <a:pos x="246" y="526"/>
                </a:cxn>
                <a:cxn ang="0">
                  <a:pos x="567" y="220"/>
                </a:cxn>
                <a:cxn ang="0">
                  <a:pos x="512" y="68"/>
                </a:cxn>
                <a:cxn ang="0">
                  <a:pos x="567" y="220"/>
                </a:cxn>
                <a:cxn ang="0">
                  <a:pos x="462" y="58"/>
                </a:cxn>
                <a:cxn ang="0">
                  <a:pos x="374" y="70"/>
                </a:cxn>
                <a:cxn ang="0">
                  <a:pos x="446" y="57"/>
                </a:cxn>
                <a:cxn ang="0">
                  <a:pos x="361" y="137"/>
                </a:cxn>
                <a:cxn ang="0">
                  <a:pos x="309" y="97"/>
                </a:cxn>
                <a:cxn ang="0">
                  <a:pos x="234" y="169"/>
                </a:cxn>
                <a:cxn ang="0">
                  <a:pos x="290" y="321"/>
                </a:cxn>
                <a:cxn ang="0">
                  <a:pos x="234" y="169"/>
                </a:cxn>
                <a:cxn ang="0">
                  <a:pos x="428" y="321"/>
                </a:cxn>
                <a:cxn ang="0">
                  <a:pos x="323" y="329"/>
                </a:cxn>
                <a:cxn ang="0">
                  <a:pos x="417" y="188"/>
                </a:cxn>
                <a:cxn ang="0">
                  <a:pos x="461" y="309"/>
                </a:cxn>
                <a:cxn ang="0">
                  <a:pos x="312" y="363"/>
                </a:cxn>
                <a:cxn ang="0">
                  <a:pos x="440" y="353"/>
                </a:cxn>
                <a:cxn ang="0">
                  <a:pos x="359" y="543"/>
                </a:cxn>
                <a:cxn ang="0">
                  <a:pos x="280" y="535"/>
                </a:cxn>
                <a:cxn ang="0">
                  <a:pos x="472" y="341"/>
                </a:cxn>
                <a:cxn ang="0">
                  <a:pos x="712" y="378"/>
                </a:cxn>
                <a:cxn ang="0">
                  <a:pos x="472" y="341"/>
                </a:cxn>
                <a:cxn ang="0">
                  <a:pos x="262" y="708"/>
                </a:cxn>
                <a:cxn ang="0">
                  <a:pos x="131" y="561"/>
                </a:cxn>
                <a:cxn ang="0">
                  <a:pos x="245" y="562"/>
                </a:cxn>
                <a:cxn ang="0">
                  <a:pos x="279" y="570"/>
                </a:cxn>
                <a:cxn ang="0">
                  <a:pos x="359" y="578"/>
                </a:cxn>
                <a:cxn ang="0">
                  <a:pos x="568" y="706"/>
                </a:cxn>
                <a:cxn ang="0">
                  <a:pos x="301" y="718"/>
                </a:cxn>
                <a:cxn ang="0">
                  <a:pos x="735" y="404"/>
                </a:cxn>
                <a:cxn ang="0">
                  <a:pos x="815" y="534"/>
                </a:cxn>
                <a:cxn ang="0">
                  <a:pos x="545" y="541"/>
                </a:cxn>
                <a:cxn ang="0">
                  <a:pos x="322" y="761"/>
                </a:cxn>
                <a:cxn ang="0">
                  <a:pos x="580" y="739"/>
                </a:cxn>
                <a:cxn ang="0">
                  <a:pos x="487" y="811"/>
                </a:cxn>
                <a:cxn ang="0">
                  <a:pos x="632" y="781"/>
                </a:cxn>
                <a:cxn ang="0">
                  <a:pos x="825" y="578"/>
                </a:cxn>
                <a:cxn ang="0">
                  <a:pos x="632" y="781"/>
                </a:cxn>
              </a:cxnLst>
              <a:rect l="0" t="0" r="r" b="b"/>
              <a:pathLst>
                <a:path w="973" h="863">
                  <a:moveTo>
                    <a:pt x="892" y="284"/>
                  </a:moveTo>
                  <a:cubicBezTo>
                    <a:pt x="828" y="109"/>
                    <a:pt x="663" y="0"/>
                    <a:pt x="487" y="0"/>
                  </a:cubicBezTo>
                  <a:cubicBezTo>
                    <a:pt x="438" y="0"/>
                    <a:pt x="388" y="8"/>
                    <a:pt x="339" y="26"/>
                  </a:cubicBezTo>
                  <a:cubicBezTo>
                    <a:pt x="116" y="108"/>
                    <a:pt x="0" y="355"/>
                    <a:pt x="82" y="579"/>
                  </a:cubicBezTo>
                  <a:cubicBezTo>
                    <a:pt x="145" y="754"/>
                    <a:pt x="311" y="863"/>
                    <a:pt x="487" y="863"/>
                  </a:cubicBezTo>
                  <a:cubicBezTo>
                    <a:pt x="536" y="863"/>
                    <a:pt x="586" y="854"/>
                    <a:pt x="634" y="836"/>
                  </a:cubicBezTo>
                  <a:cubicBezTo>
                    <a:pt x="858" y="755"/>
                    <a:pt x="973" y="508"/>
                    <a:pt x="892" y="284"/>
                  </a:cubicBezTo>
                  <a:close/>
                  <a:moveTo>
                    <a:pt x="866" y="426"/>
                  </a:moveTo>
                  <a:cubicBezTo>
                    <a:pt x="860" y="450"/>
                    <a:pt x="851" y="475"/>
                    <a:pt x="837" y="499"/>
                  </a:cubicBezTo>
                  <a:cubicBezTo>
                    <a:pt x="819" y="457"/>
                    <a:pt x="791" y="415"/>
                    <a:pt x="756" y="375"/>
                  </a:cubicBezTo>
                  <a:cubicBezTo>
                    <a:pt x="788" y="325"/>
                    <a:pt x="805" y="272"/>
                    <a:pt x="801" y="220"/>
                  </a:cubicBezTo>
                  <a:cubicBezTo>
                    <a:pt x="818" y="245"/>
                    <a:pt x="832" y="272"/>
                    <a:pt x="843" y="302"/>
                  </a:cubicBezTo>
                  <a:cubicBezTo>
                    <a:pt x="858" y="342"/>
                    <a:pt x="865" y="384"/>
                    <a:pt x="866" y="426"/>
                  </a:cubicBezTo>
                  <a:close/>
                  <a:moveTo>
                    <a:pt x="757" y="178"/>
                  </a:moveTo>
                  <a:cubicBezTo>
                    <a:pt x="777" y="232"/>
                    <a:pt x="766" y="293"/>
                    <a:pt x="732" y="349"/>
                  </a:cubicBezTo>
                  <a:cubicBezTo>
                    <a:pt x="692" y="309"/>
                    <a:pt x="646" y="271"/>
                    <a:pt x="596" y="238"/>
                  </a:cubicBezTo>
                  <a:cubicBezTo>
                    <a:pt x="620" y="198"/>
                    <a:pt x="626" y="156"/>
                    <a:pt x="612" y="118"/>
                  </a:cubicBezTo>
                  <a:cubicBezTo>
                    <a:pt x="604" y="96"/>
                    <a:pt x="590" y="77"/>
                    <a:pt x="571" y="62"/>
                  </a:cubicBezTo>
                  <a:cubicBezTo>
                    <a:pt x="638" y="77"/>
                    <a:pt x="698" y="110"/>
                    <a:pt x="747" y="156"/>
                  </a:cubicBezTo>
                  <a:cubicBezTo>
                    <a:pt x="751" y="163"/>
                    <a:pt x="754" y="170"/>
                    <a:pt x="757" y="178"/>
                  </a:cubicBezTo>
                  <a:close/>
                  <a:moveTo>
                    <a:pt x="117" y="411"/>
                  </a:moveTo>
                  <a:cubicBezTo>
                    <a:pt x="114" y="403"/>
                    <a:pt x="112" y="396"/>
                    <a:pt x="110" y="388"/>
                  </a:cubicBezTo>
                  <a:cubicBezTo>
                    <a:pt x="118" y="320"/>
                    <a:pt x="144" y="256"/>
                    <a:pt x="185" y="202"/>
                  </a:cubicBezTo>
                  <a:cubicBezTo>
                    <a:pt x="180" y="226"/>
                    <a:pt x="182" y="249"/>
                    <a:pt x="190" y="271"/>
                  </a:cubicBezTo>
                  <a:cubicBezTo>
                    <a:pt x="203" y="310"/>
                    <a:pt x="236" y="338"/>
                    <a:pt x="279" y="354"/>
                  </a:cubicBezTo>
                  <a:cubicBezTo>
                    <a:pt x="262" y="411"/>
                    <a:pt x="251" y="469"/>
                    <a:pt x="246" y="526"/>
                  </a:cubicBezTo>
                  <a:cubicBezTo>
                    <a:pt x="183" y="505"/>
                    <a:pt x="136" y="464"/>
                    <a:pt x="117" y="411"/>
                  </a:cubicBezTo>
                  <a:close/>
                  <a:moveTo>
                    <a:pt x="567" y="220"/>
                  </a:moveTo>
                  <a:cubicBezTo>
                    <a:pt x="519" y="191"/>
                    <a:pt x="468" y="168"/>
                    <a:pt x="417" y="152"/>
                  </a:cubicBezTo>
                  <a:cubicBezTo>
                    <a:pt x="448" y="113"/>
                    <a:pt x="480" y="84"/>
                    <a:pt x="512" y="68"/>
                  </a:cubicBezTo>
                  <a:cubicBezTo>
                    <a:pt x="545" y="80"/>
                    <a:pt x="569" y="102"/>
                    <a:pt x="579" y="130"/>
                  </a:cubicBezTo>
                  <a:cubicBezTo>
                    <a:pt x="589" y="157"/>
                    <a:pt x="585" y="189"/>
                    <a:pt x="567" y="220"/>
                  </a:cubicBezTo>
                  <a:close/>
                  <a:moveTo>
                    <a:pt x="446" y="57"/>
                  </a:moveTo>
                  <a:cubicBezTo>
                    <a:pt x="451" y="57"/>
                    <a:pt x="457" y="58"/>
                    <a:pt x="462" y="58"/>
                  </a:cubicBezTo>
                  <a:cubicBezTo>
                    <a:pt x="439" y="75"/>
                    <a:pt x="416" y="98"/>
                    <a:pt x="394" y="125"/>
                  </a:cubicBezTo>
                  <a:cubicBezTo>
                    <a:pt x="374" y="70"/>
                    <a:pt x="374" y="70"/>
                    <a:pt x="374" y="70"/>
                  </a:cubicBezTo>
                  <a:cubicBezTo>
                    <a:pt x="385" y="66"/>
                    <a:pt x="397" y="63"/>
                    <a:pt x="409" y="61"/>
                  </a:cubicBezTo>
                  <a:cubicBezTo>
                    <a:pt x="421" y="59"/>
                    <a:pt x="434" y="57"/>
                    <a:pt x="446" y="57"/>
                  </a:cubicBezTo>
                  <a:close/>
                  <a:moveTo>
                    <a:pt x="341" y="81"/>
                  </a:moveTo>
                  <a:cubicBezTo>
                    <a:pt x="361" y="137"/>
                    <a:pt x="361" y="137"/>
                    <a:pt x="361" y="137"/>
                  </a:cubicBezTo>
                  <a:cubicBezTo>
                    <a:pt x="327" y="130"/>
                    <a:pt x="295" y="128"/>
                    <a:pt x="266" y="130"/>
                  </a:cubicBezTo>
                  <a:cubicBezTo>
                    <a:pt x="278" y="117"/>
                    <a:pt x="293" y="106"/>
                    <a:pt x="309" y="97"/>
                  </a:cubicBezTo>
                  <a:cubicBezTo>
                    <a:pt x="319" y="91"/>
                    <a:pt x="330" y="86"/>
                    <a:pt x="341" y="81"/>
                  </a:cubicBezTo>
                  <a:close/>
                  <a:moveTo>
                    <a:pt x="234" y="169"/>
                  </a:moveTo>
                  <a:cubicBezTo>
                    <a:pt x="269" y="161"/>
                    <a:pt x="312" y="162"/>
                    <a:pt x="361" y="173"/>
                  </a:cubicBezTo>
                  <a:cubicBezTo>
                    <a:pt x="332" y="217"/>
                    <a:pt x="308" y="268"/>
                    <a:pt x="290" y="321"/>
                  </a:cubicBezTo>
                  <a:cubicBezTo>
                    <a:pt x="257" y="309"/>
                    <a:pt x="232" y="288"/>
                    <a:pt x="222" y="259"/>
                  </a:cubicBezTo>
                  <a:cubicBezTo>
                    <a:pt x="212" y="232"/>
                    <a:pt x="216" y="200"/>
                    <a:pt x="234" y="169"/>
                  </a:cubicBezTo>
                  <a:close/>
                  <a:moveTo>
                    <a:pt x="384" y="200"/>
                  </a:moveTo>
                  <a:cubicBezTo>
                    <a:pt x="428" y="321"/>
                    <a:pt x="428" y="321"/>
                    <a:pt x="428" y="321"/>
                  </a:cubicBezTo>
                  <a:cubicBezTo>
                    <a:pt x="404" y="328"/>
                    <a:pt x="379" y="332"/>
                    <a:pt x="356" y="332"/>
                  </a:cubicBezTo>
                  <a:cubicBezTo>
                    <a:pt x="344" y="332"/>
                    <a:pt x="334" y="330"/>
                    <a:pt x="323" y="329"/>
                  </a:cubicBezTo>
                  <a:cubicBezTo>
                    <a:pt x="340" y="283"/>
                    <a:pt x="360" y="239"/>
                    <a:pt x="384" y="200"/>
                  </a:cubicBezTo>
                  <a:close/>
                  <a:moveTo>
                    <a:pt x="417" y="188"/>
                  </a:moveTo>
                  <a:cubicBezTo>
                    <a:pt x="461" y="203"/>
                    <a:pt x="504" y="223"/>
                    <a:pt x="546" y="248"/>
                  </a:cubicBezTo>
                  <a:cubicBezTo>
                    <a:pt x="524" y="273"/>
                    <a:pt x="495" y="294"/>
                    <a:pt x="461" y="309"/>
                  </a:cubicBezTo>
                  <a:lnTo>
                    <a:pt x="417" y="188"/>
                  </a:lnTo>
                  <a:close/>
                  <a:moveTo>
                    <a:pt x="312" y="363"/>
                  </a:moveTo>
                  <a:cubicBezTo>
                    <a:pt x="326" y="365"/>
                    <a:pt x="340" y="366"/>
                    <a:pt x="356" y="366"/>
                  </a:cubicBezTo>
                  <a:cubicBezTo>
                    <a:pt x="384" y="366"/>
                    <a:pt x="412" y="362"/>
                    <a:pt x="440" y="353"/>
                  </a:cubicBezTo>
                  <a:cubicBezTo>
                    <a:pt x="501" y="520"/>
                    <a:pt x="501" y="520"/>
                    <a:pt x="501" y="520"/>
                  </a:cubicBezTo>
                  <a:cubicBezTo>
                    <a:pt x="454" y="535"/>
                    <a:pt x="405" y="543"/>
                    <a:pt x="359" y="543"/>
                  </a:cubicBezTo>
                  <a:cubicBezTo>
                    <a:pt x="359" y="543"/>
                    <a:pt x="359" y="543"/>
                    <a:pt x="359" y="543"/>
                  </a:cubicBezTo>
                  <a:cubicBezTo>
                    <a:pt x="331" y="543"/>
                    <a:pt x="305" y="541"/>
                    <a:pt x="280" y="535"/>
                  </a:cubicBezTo>
                  <a:cubicBezTo>
                    <a:pt x="284" y="479"/>
                    <a:pt x="295" y="420"/>
                    <a:pt x="312" y="363"/>
                  </a:cubicBezTo>
                  <a:close/>
                  <a:moveTo>
                    <a:pt x="472" y="341"/>
                  </a:moveTo>
                  <a:cubicBezTo>
                    <a:pt x="514" y="324"/>
                    <a:pt x="550" y="298"/>
                    <a:pt x="576" y="266"/>
                  </a:cubicBezTo>
                  <a:cubicBezTo>
                    <a:pt x="627" y="299"/>
                    <a:pt x="673" y="337"/>
                    <a:pt x="712" y="378"/>
                  </a:cubicBezTo>
                  <a:cubicBezTo>
                    <a:pt x="671" y="431"/>
                    <a:pt x="609" y="478"/>
                    <a:pt x="533" y="508"/>
                  </a:cubicBezTo>
                  <a:lnTo>
                    <a:pt x="472" y="341"/>
                  </a:lnTo>
                  <a:close/>
                  <a:moveTo>
                    <a:pt x="245" y="562"/>
                  </a:moveTo>
                  <a:cubicBezTo>
                    <a:pt x="243" y="615"/>
                    <a:pt x="249" y="665"/>
                    <a:pt x="262" y="708"/>
                  </a:cubicBezTo>
                  <a:cubicBezTo>
                    <a:pt x="236" y="699"/>
                    <a:pt x="213" y="686"/>
                    <a:pt x="194" y="671"/>
                  </a:cubicBezTo>
                  <a:cubicBezTo>
                    <a:pt x="167" y="639"/>
                    <a:pt x="145" y="602"/>
                    <a:pt x="131" y="561"/>
                  </a:cubicBezTo>
                  <a:cubicBezTo>
                    <a:pt x="120" y="531"/>
                    <a:pt x="113" y="501"/>
                    <a:pt x="110" y="471"/>
                  </a:cubicBezTo>
                  <a:cubicBezTo>
                    <a:pt x="140" y="513"/>
                    <a:pt x="187" y="544"/>
                    <a:pt x="245" y="562"/>
                  </a:cubicBezTo>
                  <a:close/>
                  <a:moveTo>
                    <a:pt x="301" y="718"/>
                  </a:moveTo>
                  <a:cubicBezTo>
                    <a:pt x="285" y="675"/>
                    <a:pt x="278" y="625"/>
                    <a:pt x="279" y="570"/>
                  </a:cubicBezTo>
                  <a:cubicBezTo>
                    <a:pt x="304" y="575"/>
                    <a:pt x="331" y="578"/>
                    <a:pt x="359" y="578"/>
                  </a:cubicBezTo>
                  <a:cubicBezTo>
                    <a:pt x="359" y="578"/>
                    <a:pt x="359" y="578"/>
                    <a:pt x="359" y="578"/>
                  </a:cubicBezTo>
                  <a:cubicBezTo>
                    <a:pt x="410" y="578"/>
                    <a:pt x="461" y="569"/>
                    <a:pt x="512" y="552"/>
                  </a:cubicBezTo>
                  <a:cubicBezTo>
                    <a:pt x="568" y="706"/>
                    <a:pt x="568" y="706"/>
                    <a:pt x="568" y="706"/>
                  </a:cubicBezTo>
                  <a:cubicBezTo>
                    <a:pt x="477" y="736"/>
                    <a:pt x="383" y="741"/>
                    <a:pt x="302" y="721"/>
                  </a:cubicBezTo>
                  <a:cubicBezTo>
                    <a:pt x="302" y="720"/>
                    <a:pt x="301" y="719"/>
                    <a:pt x="301" y="718"/>
                  </a:cubicBezTo>
                  <a:close/>
                  <a:moveTo>
                    <a:pt x="545" y="541"/>
                  </a:moveTo>
                  <a:cubicBezTo>
                    <a:pt x="625" y="509"/>
                    <a:pt x="690" y="460"/>
                    <a:pt x="735" y="404"/>
                  </a:cubicBezTo>
                  <a:cubicBezTo>
                    <a:pt x="771" y="445"/>
                    <a:pt x="798" y="489"/>
                    <a:pt x="813" y="531"/>
                  </a:cubicBezTo>
                  <a:cubicBezTo>
                    <a:pt x="814" y="532"/>
                    <a:pt x="814" y="533"/>
                    <a:pt x="815" y="534"/>
                  </a:cubicBezTo>
                  <a:cubicBezTo>
                    <a:pt x="765" y="602"/>
                    <a:pt x="690" y="658"/>
                    <a:pt x="601" y="694"/>
                  </a:cubicBezTo>
                  <a:lnTo>
                    <a:pt x="545" y="541"/>
                  </a:lnTo>
                  <a:close/>
                  <a:moveTo>
                    <a:pt x="334" y="778"/>
                  </a:moveTo>
                  <a:cubicBezTo>
                    <a:pt x="330" y="773"/>
                    <a:pt x="326" y="767"/>
                    <a:pt x="322" y="761"/>
                  </a:cubicBezTo>
                  <a:cubicBezTo>
                    <a:pt x="348" y="765"/>
                    <a:pt x="376" y="768"/>
                    <a:pt x="404" y="768"/>
                  </a:cubicBezTo>
                  <a:cubicBezTo>
                    <a:pt x="462" y="768"/>
                    <a:pt x="522" y="758"/>
                    <a:pt x="580" y="739"/>
                  </a:cubicBezTo>
                  <a:cubicBezTo>
                    <a:pt x="600" y="793"/>
                    <a:pt x="600" y="793"/>
                    <a:pt x="600" y="793"/>
                  </a:cubicBezTo>
                  <a:cubicBezTo>
                    <a:pt x="563" y="804"/>
                    <a:pt x="525" y="811"/>
                    <a:pt x="487" y="811"/>
                  </a:cubicBezTo>
                  <a:cubicBezTo>
                    <a:pt x="433" y="811"/>
                    <a:pt x="381" y="799"/>
                    <a:pt x="334" y="778"/>
                  </a:cubicBezTo>
                  <a:close/>
                  <a:moveTo>
                    <a:pt x="632" y="781"/>
                  </a:moveTo>
                  <a:cubicBezTo>
                    <a:pt x="613" y="727"/>
                    <a:pt x="613" y="727"/>
                    <a:pt x="613" y="727"/>
                  </a:cubicBezTo>
                  <a:cubicBezTo>
                    <a:pt x="698" y="693"/>
                    <a:pt x="772" y="641"/>
                    <a:pt x="825" y="578"/>
                  </a:cubicBezTo>
                  <a:cubicBezTo>
                    <a:pt x="826" y="585"/>
                    <a:pt x="827" y="592"/>
                    <a:pt x="826" y="599"/>
                  </a:cubicBezTo>
                  <a:cubicBezTo>
                    <a:pt x="786" y="682"/>
                    <a:pt x="717" y="746"/>
                    <a:pt x="632" y="781"/>
                  </a:cubicBezTo>
                  <a:close/>
                </a:path>
              </a:pathLst>
            </a:custGeom>
            <a:solidFill>
              <a:srgbClr val="FFFFFF"/>
            </a:solidFill>
            <a:ln w="9525">
              <a:noFill/>
              <a:round/>
              <a:headEnd/>
              <a:tailEnd/>
            </a:ln>
          </p:spPr>
          <p:txBody>
            <a:bodyPr lIns="80147" tIns="40074" rIns="80147" bIns="40074"/>
            <a:lstStyle/>
            <a:p>
              <a:pPr eaLnBrk="1" fontAlgn="auto" hangingPunct="1">
                <a:spcBef>
                  <a:spcPts val="0"/>
                </a:spcBef>
                <a:spcAft>
                  <a:spcPts val="0"/>
                </a:spcAft>
                <a:defRPr/>
              </a:pPr>
              <a:endParaRPr lang="en-US" kern="0" dirty="0">
                <a:solidFill>
                  <a:srgbClr val="000000"/>
                </a:solidFill>
                <a:latin typeface="Calibri"/>
              </a:endParaRPr>
            </a:p>
          </p:txBody>
        </p:sp>
      </p:grpSp>
      <p:grpSp>
        <p:nvGrpSpPr>
          <p:cNvPr id="77858" name="Group 125"/>
          <p:cNvGrpSpPr>
            <a:grpSpLocks/>
          </p:cNvGrpSpPr>
          <p:nvPr/>
        </p:nvGrpSpPr>
        <p:grpSpPr bwMode="auto">
          <a:xfrm>
            <a:off x="4824413" y="4595813"/>
            <a:ext cx="365125" cy="366712"/>
            <a:chOff x="4649510" y="5373777"/>
            <a:chExt cx="365760" cy="365760"/>
          </a:xfrm>
        </p:grpSpPr>
        <p:sp>
          <p:nvSpPr>
            <p:cNvPr id="127" name="Oval 126">
              <a:extLst>
                <a:ext uri="{FF2B5EF4-FFF2-40B4-BE49-F238E27FC236}"/>
              </a:extLst>
            </p:cNvPr>
            <p:cNvSpPr/>
            <p:nvPr/>
          </p:nvSpPr>
          <p:spPr bwMode="ltGray">
            <a:xfrm>
              <a:off x="4649510" y="5373777"/>
              <a:ext cx="365760" cy="365760"/>
            </a:xfrm>
            <a:prstGeom prst="ellipse">
              <a:avLst/>
            </a:prstGeom>
            <a:solidFill>
              <a:srgbClr val="A7A8AA">
                <a:lumMod val="75000"/>
              </a:srgbClr>
            </a:solidFill>
            <a:ln w="3175" cap="flat" cmpd="sng" algn="ctr">
              <a:noFill/>
              <a:prstDash val="solid"/>
            </a:ln>
            <a:effectLst/>
          </p:spPr>
          <p:txBody>
            <a:bodyPr anchor="ctr"/>
            <a:lstStyle/>
            <a:p>
              <a:pPr algn="ctr" defTabSz="871196" eaLnBrk="1" fontAlgn="auto" hangingPunct="1">
                <a:spcBef>
                  <a:spcPts val="0"/>
                </a:spcBef>
                <a:spcAft>
                  <a:spcPts val="0"/>
                </a:spcAft>
                <a:defRPr/>
              </a:pPr>
              <a:endParaRPr lang="en-GB" sz="1000" kern="0" dirty="0">
                <a:solidFill>
                  <a:srgbClr val="FFFFFF"/>
                </a:solidFill>
                <a:latin typeface="Calibri"/>
                <a:cs typeface="+mn-cs"/>
              </a:endParaRPr>
            </a:p>
          </p:txBody>
        </p:sp>
        <p:sp>
          <p:nvSpPr>
            <p:cNvPr id="128" name="Freeform 12">
              <a:extLst>
                <a:ext uri="{FF2B5EF4-FFF2-40B4-BE49-F238E27FC236}"/>
              </a:extLst>
            </p:cNvPr>
            <p:cNvSpPr>
              <a:spLocks noEditPoints="1"/>
            </p:cNvSpPr>
            <p:nvPr/>
          </p:nvSpPr>
          <p:spPr bwMode="auto">
            <a:xfrm>
              <a:off x="4741745" y="5426028"/>
              <a:ext cx="181290" cy="251758"/>
            </a:xfrm>
            <a:custGeom>
              <a:avLst/>
              <a:gdLst>
                <a:gd name="T0" fmla="*/ 66545 w 73"/>
                <a:gd name="T1" fmla="*/ 36419 h 152"/>
                <a:gd name="T2" fmla="*/ 53236 w 73"/>
                <a:gd name="T3" fmla="*/ 0 h 152"/>
                <a:gd name="T4" fmla="*/ 36600 w 73"/>
                <a:gd name="T5" fmla="*/ 9932 h 152"/>
                <a:gd name="T6" fmla="*/ 29945 w 73"/>
                <a:gd name="T7" fmla="*/ 36419 h 152"/>
                <a:gd name="T8" fmla="*/ 0 w 73"/>
                <a:gd name="T9" fmla="*/ 473441 h 152"/>
                <a:gd name="T10" fmla="*/ 212943 w 73"/>
                <a:gd name="T11" fmla="*/ 503238 h 152"/>
                <a:gd name="T12" fmla="*/ 242888 w 73"/>
                <a:gd name="T13" fmla="*/ 66216 h 152"/>
                <a:gd name="T14" fmla="*/ 79854 w 73"/>
                <a:gd name="T15" fmla="*/ 456887 h 152"/>
                <a:gd name="T16" fmla="*/ 39927 w 73"/>
                <a:gd name="T17" fmla="*/ 463509 h 152"/>
                <a:gd name="T18" fmla="*/ 33272 w 73"/>
                <a:gd name="T19" fmla="*/ 446955 h 152"/>
                <a:gd name="T20" fmla="*/ 73199 w 73"/>
                <a:gd name="T21" fmla="*/ 440333 h 152"/>
                <a:gd name="T22" fmla="*/ 79854 w 73"/>
                <a:gd name="T23" fmla="*/ 456887 h 152"/>
                <a:gd name="T24" fmla="*/ 73199 w 73"/>
                <a:gd name="T25" fmla="*/ 410536 h 152"/>
                <a:gd name="T26" fmla="*/ 33272 w 73"/>
                <a:gd name="T27" fmla="*/ 403915 h 152"/>
                <a:gd name="T28" fmla="*/ 39927 w 73"/>
                <a:gd name="T29" fmla="*/ 387361 h 152"/>
                <a:gd name="T30" fmla="*/ 79854 w 73"/>
                <a:gd name="T31" fmla="*/ 393982 h 152"/>
                <a:gd name="T32" fmla="*/ 79854 w 73"/>
                <a:gd name="T33" fmla="*/ 350942 h 152"/>
                <a:gd name="T34" fmla="*/ 39927 w 73"/>
                <a:gd name="T35" fmla="*/ 357564 h 152"/>
                <a:gd name="T36" fmla="*/ 33272 w 73"/>
                <a:gd name="T37" fmla="*/ 337699 h 152"/>
                <a:gd name="T38" fmla="*/ 73199 w 73"/>
                <a:gd name="T39" fmla="*/ 331078 h 152"/>
                <a:gd name="T40" fmla="*/ 79854 w 73"/>
                <a:gd name="T41" fmla="*/ 350942 h 152"/>
                <a:gd name="T42" fmla="*/ 136417 w 73"/>
                <a:gd name="T43" fmla="*/ 463509 h 152"/>
                <a:gd name="T44" fmla="*/ 99817 w 73"/>
                <a:gd name="T45" fmla="*/ 456887 h 152"/>
                <a:gd name="T46" fmla="*/ 103144 w 73"/>
                <a:gd name="T47" fmla="*/ 440333 h 152"/>
                <a:gd name="T48" fmla="*/ 143071 w 73"/>
                <a:gd name="T49" fmla="*/ 446955 h 152"/>
                <a:gd name="T50" fmla="*/ 143071 w 73"/>
                <a:gd name="T51" fmla="*/ 403915 h 152"/>
                <a:gd name="T52" fmla="*/ 103144 w 73"/>
                <a:gd name="T53" fmla="*/ 410536 h 152"/>
                <a:gd name="T54" fmla="*/ 99817 w 73"/>
                <a:gd name="T55" fmla="*/ 393982 h 152"/>
                <a:gd name="T56" fmla="*/ 136417 w 73"/>
                <a:gd name="T57" fmla="*/ 387361 h 152"/>
                <a:gd name="T58" fmla="*/ 143071 w 73"/>
                <a:gd name="T59" fmla="*/ 403915 h 152"/>
                <a:gd name="T60" fmla="*/ 123108 w 73"/>
                <a:gd name="T61" fmla="*/ 321145 h 152"/>
                <a:gd name="T62" fmla="*/ 123108 w 73"/>
                <a:gd name="T63" fmla="*/ 367496 h 152"/>
                <a:gd name="T64" fmla="*/ 209616 w 73"/>
                <a:gd name="T65" fmla="*/ 456887 h 152"/>
                <a:gd name="T66" fmla="*/ 169689 w 73"/>
                <a:gd name="T67" fmla="*/ 463509 h 152"/>
                <a:gd name="T68" fmla="*/ 163034 w 73"/>
                <a:gd name="T69" fmla="*/ 446955 h 152"/>
                <a:gd name="T70" fmla="*/ 202961 w 73"/>
                <a:gd name="T71" fmla="*/ 440333 h 152"/>
                <a:gd name="T72" fmla="*/ 209616 w 73"/>
                <a:gd name="T73" fmla="*/ 456887 h 152"/>
                <a:gd name="T74" fmla="*/ 202961 w 73"/>
                <a:gd name="T75" fmla="*/ 410536 h 152"/>
                <a:gd name="T76" fmla="*/ 163034 w 73"/>
                <a:gd name="T77" fmla="*/ 403915 h 152"/>
                <a:gd name="T78" fmla="*/ 169689 w 73"/>
                <a:gd name="T79" fmla="*/ 387361 h 152"/>
                <a:gd name="T80" fmla="*/ 209616 w 73"/>
                <a:gd name="T81" fmla="*/ 393982 h 152"/>
                <a:gd name="T82" fmla="*/ 209616 w 73"/>
                <a:gd name="T83" fmla="*/ 350942 h 152"/>
                <a:gd name="T84" fmla="*/ 169689 w 73"/>
                <a:gd name="T85" fmla="*/ 357564 h 152"/>
                <a:gd name="T86" fmla="*/ 163034 w 73"/>
                <a:gd name="T87" fmla="*/ 337699 h 152"/>
                <a:gd name="T88" fmla="*/ 202961 w 73"/>
                <a:gd name="T89" fmla="*/ 331078 h 152"/>
                <a:gd name="T90" fmla="*/ 209616 w 73"/>
                <a:gd name="T91" fmla="*/ 350942 h 152"/>
                <a:gd name="T92" fmla="*/ 33272 w 73"/>
                <a:gd name="T93" fmla="*/ 297970 h 152"/>
                <a:gd name="T94" fmla="*/ 209616 w 73"/>
                <a:gd name="T95" fmla="*/ 89391 h 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3" h="152">
                  <a:moveTo>
                    <a:pt x="64" y="11"/>
                  </a:moveTo>
                  <a:cubicBezTo>
                    <a:pt x="20" y="11"/>
                    <a:pt x="20" y="11"/>
                    <a:pt x="20" y="11"/>
                  </a:cubicBezTo>
                  <a:cubicBezTo>
                    <a:pt x="20" y="3"/>
                    <a:pt x="20" y="3"/>
                    <a:pt x="20" y="3"/>
                  </a:cubicBezTo>
                  <a:cubicBezTo>
                    <a:pt x="20" y="1"/>
                    <a:pt x="18" y="0"/>
                    <a:pt x="16" y="0"/>
                  </a:cubicBezTo>
                  <a:cubicBezTo>
                    <a:pt x="15" y="0"/>
                    <a:pt x="15" y="0"/>
                    <a:pt x="15" y="0"/>
                  </a:cubicBezTo>
                  <a:cubicBezTo>
                    <a:pt x="13" y="0"/>
                    <a:pt x="11" y="1"/>
                    <a:pt x="11" y="3"/>
                  </a:cubicBezTo>
                  <a:cubicBezTo>
                    <a:pt x="11" y="11"/>
                    <a:pt x="11" y="11"/>
                    <a:pt x="11" y="11"/>
                  </a:cubicBezTo>
                  <a:cubicBezTo>
                    <a:pt x="9" y="11"/>
                    <a:pt x="9" y="11"/>
                    <a:pt x="9" y="11"/>
                  </a:cubicBezTo>
                  <a:cubicBezTo>
                    <a:pt x="4" y="11"/>
                    <a:pt x="0" y="15"/>
                    <a:pt x="0" y="20"/>
                  </a:cubicBezTo>
                  <a:cubicBezTo>
                    <a:pt x="0" y="143"/>
                    <a:pt x="0" y="143"/>
                    <a:pt x="0" y="143"/>
                  </a:cubicBezTo>
                  <a:cubicBezTo>
                    <a:pt x="0" y="148"/>
                    <a:pt x="4" y="152"/>
                    <a:pt x="9" y="152"/>
                  </a:cubicBezTo>
                  <a:cubicBezTo>
                    <a:pt x="64" y="152"/>
                    <a:pt x="64" y="152"/>
                    <a:pt x="64" y="152"/>
                  </a:cubicBezTo>
                  <a:cubicBezTo>
                    <a:pt x="69" y="152"/>
                    <a:pt x="73" y="148"/>
                    <a:pt x="73" y="143"/>
                  </a:cubicBezTo>
                  <a:cubicBezTo>
                    <a:pt x="73" y="20"/>
                    <a:pt x="73" y="20"/>
                    <a:pt x="73" y="20"/>
                  </a:cubicBezTo>
                  <a:cubicBezTo>
                    <a:pt x="73" y="15"/>
                    <a:pt x="69" y="11"/>
                    <a:pt x="64" y="11"/>
                  </a:cubicBezTo>
                  <a:close/>
                  <a:moveTo>
                    <a:pt x="24" y="138"/>
                  </a:moveTo>
                  <a:cubicBezTo>
                    <a:pt x="24" y="139"/>
                    <a:pt x="23" y="140"/>
                    <a:pt x="22" y="140"/>
                  </a:cubicBezTo>
                  <a:cubicBezTo>
                    <a:pt x="12" y="140"/>
                    <a:pt x="12" y="140"/>
                    <a:pt x="12" y="140"/>
                  </a:cubicBezTo>
                  <a:cubicBezTo>
                    <a:pt x="11" y="140"/>
                    <a:pt x="10" y="139"/>
                    <a:pt x="10" y="138"/>
                  </a:cubicBezTo>
                  <a:cubicBezTo>
                    <a:pt x="10" y="135"/>
                    <a:pt x="10" y="135"/>
                    <a:pt x="10" y="135"/>
                  </a:cubicBezTo>
                  <a:cubicBezTo>
                    <a:pt x="10" y="134"/>
                    <a:pt x="11" y="133"/>
                    <a:pt x="12" y="133"/>
                  </a:cubicBezTo>
                  <a:cubicBezTo>
                    <a:pt x="22" y="133"/>
                    <a:pt x="22" y="133"/>
                    <a:pt x="22" y="133"/>
                  </a:cubicBezTo>
                  <a:cubicBezTo>
                    <a:pt x="23" y="133"/>
                    <a:pt x="24" y="134"/>
                    <a:pt x="24" y="135"/>
                  </a:cubicBezTo>
                  <a:lnTo>
                    <a:pt x="24" y="138"/>
                  </a:lnTo>
                  <a:close/>
                  <a:moveTo>
                    <a:pt x="24" y="122"/>
                  </a:moveTo>
                  <a:cubicBezTo>
                    <a:pt x="24" y="123"/>
                    <a:pt x="23" y="124"/>
                    <a:pt x="22" y="124"/>
                  </a:cubicBezTo>
                  <a:cubicBezTo>
                    <a:pt x="12" y="124"/>
                    <a:pt x="12" y="124"/>
                    <a:pt x="12" y="124"/>
                  </a:cubicBezTo>
                  <a:cubicBezTo>
                    <a:pt x="11" y="124"/>
                    <a:pt x="10" y="123"/>
                    <a:pt x="10" y="122"/>
                  </a:cubicBezTo>
                  <a:cubicBezTo>
                    <a:pt x="10" y="119"/>
                    <a:pt x="10" y="119"/>
                    <a:pt x="10" y="119"/>
                  </a:cubicBezTo>
                  <a:cubicBezTo>
                    <a:pt x="10" y="118"/>
                    <a:pt x="11" y="117"/>
                    <a:pt x="12" y="117"/>
                  </a:cubicBezTo>
                  <a:cubicBezTo>
                    <a:pt x="22" y="117"/>
                    <a:pt x="22" y="117"/>
                    <a:pt x="22" y="117"/>
                  </a:cubicBezTo>
                  <a:cubicBezTo>
                    <a:pt x="23" y="117"/>
                    <a:pt x="24" y="118"/>
                    <a:pt x="24" y="119"/>
                  </a:cubicBezTo>
                  <a:lnTo>
                    <a:pt x="24" y="122"/>
                  </a:lnTo>
                  <a:close/>
                  <a:moveTo>
                    <a:pt x="24" y="106"/>
                  </a:moveTo>
                  <a:cubicBezTo>
                    <a:pt x="24" y="107"/>
                    <a:pt x="23" y="108"/>
                    <a:pt x="22" y="108"/>
                  </a:cubicBezTo>
                  <a:cubicBezTo>
                    <a:pt x="12" y="108"/>
                    <a:pt x="12" y="108"/>
                    <a:pt x="12" y="108"/>
                  </a:cubicBezTo>
                  <a:cubicBezTo>
                    <a:pt x="11" y="108"/>
                    <a:pt x="10" y="107"/>
                    <a:pt x="10" y="106"/>
                  </a:cubicBezTo>
                  <a:cubicBezTo>
                    <a:pt x="10" y="102"/>
                    <a:pt x="10" y="102"/>
                    <a:pt x="10" y="102"/>
                  </a:cubicBezTo>
                  <a:cubicBezTo>
                    <a:pt x="10" y="101"/>
                    <a:pt x="11" y="100"/>
                    <a:pt x="12" y="100"/>
                  </a:cubicBezTo>
                  <a:cubicBezTo>
                    <a:pt x="22" y="100"/>
                    <a:pt x="22" y="100"/>
                    <a:pt x="22" y="100"/>
                  </a:cubicBezTo>
                  <a:cubicBezTo>
                    <a:pt x="23" y="100"/>
                    <a:pt x="24" y="101"/>
                    <a:pt x="24" y="102"/>
                  </a:cubicBezTo>
                  <a:lnTo>
                    <a:pt x="24" y="106"/>
                  </a:lnTo>
                  <a:close/>
                  <a:moveTo>
                    <a:pt x="43" y="138"/>
                  </a:moveTo>
                  <a:cubicBezTo>
                    <a:pt x="43" y="139"/>
                    <a:pt x="42" y="140"/>
                    <a:pt x="41" y="140"/>
                  </a:cubicBezTo>
                  <a:cubicBezTo>
                    <a:pt x="31" y="140"/>
                    <a:pt x="31" y="140"/>
                    <a:pt x="31" y="140"/>
                  </a:cubicBezTo>
                  <a:cubicBezTo>
                    <a:pt x="30" y="140"/>
                    <a:pt x="30" y="139"/>
                    <a:pt x="30" y="138"/>
                  </a:cubicBezTo>
                  <a:cubicBezTo>
                    <a:pt x="30" y="135"/>
                    <a:pt x="30" y="135"/>
                    <a:pt x="30" y="135"/>
                  </a:cubicBezTo>
                  <a:cubicBezTo>
                    <a:pt x="30" y="134"/>
                    <a:pt x="30" y="133"/>
                    <a:pt x="31" y="133"/>
                  </a:cubicBezTo>
                  <a:cubicBezTo>
                    <a:pt x="41" y="133"/>
                    <a:pt x="41" y="133"/>
                    <a:pt x="41" y="133"/>
                  </a:cubicBezTo>
                  <a:cubicBezTo>
                    <a:pt x="42" y="133"/>
                    <a:pt x="43" y="134"/>
                    <a:pt x="43" y="135"/>
                  </a:cubicBezTo>
                  <a:lnTo>
                    <a:pt x="43" y="138"/>
                  </a:lnTo>
                  <a:close/>
                  <a:moveTo>
                    <a:pt x="43" y="122"/>
                  </a:moveTo>
                  <a:cubicBezTo>
                    <a:pt x="43" y="123"/>
                    <a:pt x="42" y="124"/>
                    <a:pt x="41" y="124"/>
                  </a:cubicBezTo>
                  <a:cubicBezTo>
                    <a:pt x="31" y="124"/>
                    <a:pt x="31" y="124"/>
                    <a:pt x="31" y="124"/>
                  </a:cubicBezTo>
                  <a:cubicBezTo>
                    <a:pt x="30" y="124"/>
                    <a:pt x="30" y="123"/>
                    <a:pt x="30" y="122"/>
                  </a:cubicBezTo>
                  <a:cubicBezTo>
                    <a:pt x="30" y="119"/>
                    <a:pt x="30" y="119"/>
                    <a:pt x="30" y="119"/>
                  </a:cubicBezTo>
                  <a:cubicBezTo>
                    <a:pt x="30" y="118"/>
                    <a:pt x="30" y="117"/>
                    <a:pt x="31" y="117"/>
                  </a:cubicBezTo>
                  <a:cubicBezTo>
                    <a:pt x="41" y="117"/>
                    <a:pt x="41" y="117"/>
                    <a:pt x="41" y="117"/>
                  </a:cubicBezTo>
                  <a:cubicBezTo>
                    <a:pt x="42" y="117"/>
                    <a:pt x="43" y="118"/>
                    <a:pt x="43" y="119"/>
                  </a:cubicBezTo>
                  <a:lnTo>
                    <a:pt x="43" y="122"/>
                  </a:lnTo>
                  <a:close/>
                  <a:moveTo>
                    <a:pt x="30" y="104"/>
                  </a:moveTo>
                  <a:cubicBezTo>
                    <a:pt x="30" y="100"/>
                    <a:pt x="33" y="97"/>
                    <a:pt x="37" y="97"/>
                  </a:cubicBezTo>
                  <a:cubicBezTo>
                    <a:pt x="40" y="97"/>
                    <a:pt x="43" y="100"/>
                    <a:pt x="43" y="104"/>
                  </a:cubicBezTo>
                  <a:cubicBezTo>
                    <a:pt x="43" y="108"/>
                    <a:pt x="40" y="111"/>
                    <a:pt x="37" y="111"/>
                  </a:cubicBezTo>
                  <a:cubicBezTo>
                    <a:pt x="33" y="111"/>
                    <a:pt x="30" y="108"/>
                    <a:pt x="30" y="104"/>
                  </a:cubicBezTo>
                  <a:close/>
                  <a:moveTo>
                    <a:pt x="63" y="138"/>
                  </a:moveTo>
                  <a:cubicBezTo>
                    <a:pt x="63" y="139"/>
                    <a:pt x="62" y="140"/>
                    <a:pt x="61" y="140"/>
                  </a:cubicBezTo>
                  <a:cubicBezTo>
                    <a:pt x="51" y="140"/>
                    <a:pt x="51" y="140"/>
                    <a:pt x="51" y="140"/>
                  </a:cubicBezTo>
                  <a:cubicBezTo>
                    <a:pt x="50" y="140"/>
                    <a:pt x="49" y="139"/>
                    <a:pt x="49" y="138"/>
                  </a:cubicBezTo>
                  <a:cubicBezTo>
                    <a:pt x="49" y="135"/>
                    <a:pt x="49" y="135"/>
                    <a:pt x="49" y="135"/>
                  </a:cubicBezTo>
                  <a:cubicBezTo>
                    <a:pt x="49" y="134"/>
                    <a:pt x="50" y="133"/>
                    <a:pt x="51" y="133"/>
                  </a:cubicBezTo>
                  <a:cubicBezTo>
                    <a:pt x="61" y="133"/>
                    <a:pt x="61" y="133"/>
                    <a:pt x="61" y="133"/>
                  </a:cubicBezTo>
                  <a:cubicBezTo>
                    <a:pt x="62" y="133"/>
                    <a:pt x="63" y="134"/>
                    <a:pt x="63" y="135"/>
                  </a:cubicBezTo>
                  <a:lnTo>
                    <a:pt x="63" y="138"/>
                  </a:lnTo>
                  <a:close/>
                  <a:moveTo>
                    <a:pt x="63" y="122"/>
                  </a:moveTo>
                  <a:cubicBezTo>
                    <a:pt x="63" y="123"/>
                    <a:pt x="62" y="124"/>
                    <a:pt x="61" y="124"/>
                  </a:cubicBezTo>
                  <a:cubicBezTo>
                    <a:pt x="51" y="124"/>
                    <a:pt x="51" y="124"/>
                    <a:pt x="51" y="124"/>
                  </a:cubicBezTo>
                  <a:cubicBezTo>
                    <a:pt x="50" y="124"/>
                    <a:pt x="49" y="123"/>
                    <a:pt x="49" y="122"/>
                  </a:cubicBezTo>
                  <a:cubicBezTo>
                    <a:pt x="49" y="119"/>
                    <a:pt x="49" y="119"/>
                    <a:pt x="49" y="119"/>
                  </a:cubicBezTo>
                  <a:cubicBezTo>
                    <a:pt x="49" y="118"/>
                    <a:pt x="50" y="117"/>
                    <a:pt x="51" y="117"/>
                  </a:cubicBezTo>
                  <a:cubicBezTo>
                    <a:pt x="61" y="117"/>
                    <a:pt x="61" y="117"/>
                    <a:pt x="61" y="117"/>
                  </a:cubicBezTo>
                  <a:cubicBezTo>
                    <a:pt x="62" y="117"/>
                    <a:pt x="63" y="118"/>
                    <a:pt x="63" y="119"/>
                  </a:cubicBezTo>
                  <a:lnTo>
                    <a:pt x="63" y="122"/>
                  </a:lnTo>
                  <a:close/>
                  <a:moveTo>
                    <a:pt x="63" y="106"/>
                  </a:moveTo>
                  <a:cubicBezTo>
                    <a:pt x="63" y="107"/>
                    <a:pt x="62" y="108"/>
                    <a:pt x="61" y="108"/>
                  </a:cubicBezTo>
                  <a:cubicBezTo>
                    <a:pt x="51" y="108"/>
                    <a:pt x="51" y="108"/>
                    <a:pt x="51" y="108"/>
                  </a:cubicBezTo>
                  <a:cubicBezTo>
                    <a:pt x="50" y="108"/>
                    <a:pt x="49" y="107"/>
                    <a:pt x="49" y="106"/>
                  </a:cubicBezTo>
                  <a:cubicBezTo>
                    <a:pt x="49" y="102"/>
                    <a:pt x="49" y="102"/>
                    <a:pt x="49" y="102"/>
                  </a:cubicBezTo>
                  <a:cubicBezTo>
                    <a:pt x="49" y="101"/>
                    <a:pt x="50" y="100"/>
                    <a:pt x="51" y="100"/>
                  </a:cubicBezTo>
                  <a:cubicBezTo>
                    <a:pt x="61" y="100"/>
                    <a:pt x="61" y="100"/>
                    <a:pt x="61" y="100"/>
                  </a:cubicBezTo>
                  <a:cubicBezTo>
                    <a:pt x="62" y="100"/>
                    <a:pt x="63" y="101"/>
                    <a:pt x="63" y="102"/>
                  </a:cubicBezTo>
                  <a:lnTo>
                    <a:pt x="63" y="106"/>
                  </a:lnTo>
                  <a:close/>
                  <a:moveTo>
                    <a:pt x="63" y="90"/>
                  </a:moveTo>
                  <a:cubicBezTo>
                    <a:pt x="10" y="90"/>
                    <a:pt x="10" y="90"/>
                    <a:pt x="10" y="90"/>
                  </a:cubicBezTo>
                  <a:cubicBezTo>
                    <a:pt x="10" y="27"/>
                    <a:pt x="10" y="27"/>
                    <a:pt x="10" y="27"/>
                  </a:cubicBezTo>
                  <a:cubicBezTo>
                    <a:pt x="63" y="27"/>
                    <a:pt x="63" y="27"/>
                    <a:pt x="63" y="27"/>
                  </a:cubicBezTo>
                  <a:lnTo>
                    <a:pt x="63" y="90"/>
                  </a:lnTo>
                  <a:close/>
                </a:path>
              </a:pathLst>
            </a:custGeom>
            <a:solidFill>
              <a:srgbClr val="FFFFFF"/>
            </a:solidFill>
            <a:ln>
              <a:noFill/>
            </a:ln>
            <a:extLst/>
          </p:spPr>
          <p:txBody>
            <a:bodyPr/>
            <a:lstStyle/>
            <a:p>
              <a:pPr eaLnBrk="1" fontAlgn="auto" hangingPunct="1">
                <a:spcBef>
                  <a:spcPts val="0"/>
                </a:spcBef>
                <a:spcAft>
                  <a:spcPts val="0"/>
                </a:spcAft>
                <a:defRPr/>
              </a:pPr>
              <a:endParaRPr lang="en-US" kern="0" dirty="0">
                <a:solidFill>
                  <a:srgbClr val="000000"/>
                </a:solidFill>
                <a:latin typeface="Calibri"/>
              </a:endParaRPr>
            </a:p>
          </p:txBody>
        </p:sp>
      </p:grpSp>
      <p:grpSp>
        <p:nvGrpSpPr>
          <p:cNvPr id="77859" name="Group 131"/>
          <p:cNvGrpSpPr>
            <a:grpSpLocks/>
          </p:cNvGrpSpPr>
          <p:nvPr/>
        </p:nvGrpSpPr>
        <p:grpSpPr bwMode="auto">
          <a:xfrm>
            <a:off x="6813550" y="4251325"/>
            <a:ext cx="365125" cy="365125"/>
            <a:chOff x="4235632" y="3806921"/>
            <a:chExt cx="612775" cy="612775"/>
          </a:xfrm>
        </p:grpSpPr>
        <p:sp>
          <p:nvSpPr>
            <p:cNvPr id="133" name="Oval 132">
              <a:extLst>
                <a:ext uri="{FF2B5EF4-FFF2-40B4-BE49-F238E27FC236}"/>
              </a:extLst>
            </p:cNvPr>
            <p:cNvSpPr/>
            <p:nvPr/>
          </p:nvSpPr>
          <p:spPr bwMode="ltGray">
            <a:xfrm>
              <a:off x="4235632" y="3806921"/>
              <a:ext cx="612775" cy="612775"/>
            </a:xfrm>
            <a:prstGeom prst="ellipse">
              <a:avLst/>
            </a:prstGeom>
            <a:solidFill>
              <a:srgbClr val="A7A8AA">
                <a:lumMod val="75000"/>
              </a:srgbClr>
            </a:solidFill>
            <a:ln w="3175" cap="flat" cmpd="sng" algn="ctr">
              <a:noFill/>
              <a:prstDash val="solid"/>
            </a:ln>
            <a:effectLst/>
          </p:spPr>
          <p:txBody>
            <a:bodyPr anchor="ctr"/>
            <a:lstStyle/>
            <a:p>
              <a:pPr algn="ctr" defTabSz="871196" eaLnBrk="1" fontAlgn="auto" hangingPunct="1">
                <a:spcBef>
                  <a:spcPts val="0"/>
                </a:spcBef>
                <a:spcAft>
                  <a:spcPts val="0"/>
                </a:spcAft>
                <a:defRPr/>
              </a:pPr>
              <a:endParaRPr lang="en-GB" sz="1710" kern="0" dirty="0">
                <a:solidFill>
                  <a:srgbClr val="FFFFFF"/>
                </a:solidFill>
                <a:latin typeface="Georgia" pitchFamily="18" charset="0"/>
                <a:cs typeface="+mn-cs"/>
              </a:endParaRPr>
            </a:p>
          </p:txBody>
        </p:sp>
        <p:sp>
          <p:nvSpPr>
            <p:cNvPr id="134" name="Freeform 6">
              <a:extLst>
                <a:ext uri="{FF2B5EF4-FFF2-40B4-BE49-F238E27FC236}"/>
              </a:extLst>
            </p:cNvPr>
            <p:cNvSpPr>
              <a:spLocks noEditPoints="1"/>
            </p:cNvSpPr>
            <p:nvPr/>
          </p:nvSpPr>
          <p:spPr bwMode="auto">
            <a:xfrm>
              <a:off x="4302239" y="3980097"/>
              <a:ext cx="476898" cy="306387"/>
            </a:xfrm>
            <a:custGeom>
              <a:avLst/>
              <a:gdLst>
                <a:gd name="T0" fmla="*/ 421 w 902"/>
                <a:gd name="T1" fmla="*/ 6 h 583"/>
                <a:gd name="T2" fmla="*/ 306 w 902"/>
                <a:gd name="T3" fmla="*/ 7 h 583"/>
                <a:gd name="T4" fmla="*/ 238 w 902"/>
                <a:gd name="T5" fmla="*/ 59 h 583"/>
                <a:gd name="T6" fmla="*/ 233 w 902"/>
                <a:gd name="T7" fmla="*/ 108 h 583"/>
                <a:gd name="T8" fmla="*/ 282 w 902"/>
                <a:gd name="T9" fmla="*/ 295 h 583"/>
                <a:gd name="T10" fmla="*/ 321 w 902"/>
                <a:gd name="T11" fmla="*/ 291 h 583"/>
                <a:gd name="T12" fmla="*/ 368 w 902"/>
                <a:gd name="T13" fmla="*/ 272 h 583"/>
                <a:gd name="T14" fmla="*/ 451 w 902"/>
                <a:gd name="T15" fmla="*/ 142 h 583"/>
                <a:gd name="T16" fmla="*/ 485 w 902"/>
                <a:gd name="T17" fmla="*/ 105 h 583"/>
                <a:gd name="T18" fmla="*/ 530 w 902"/>
                <a:gd name="T19" fmla="*/ 117 h 583"/>
                <a:gd name="T20" fmla="*/ 572 w 902"/>
                <a:gd name="T21" fmla="*/ 293 h 583"/>
                <a:gd name="T22" fmla="*/ 614 w 902"/>
                <a:gd name="T23" fmla="*/ 283 h 583"/>
                <a:gd name="T24" fmla="*/ 690 w 902"/>
                <a:gd name="T25" fmla="*/ 296 h 583"/>
                <a:gd name="T26" fmla="*/ 697 w 902"/>
                <a:gd name="T27" fmla="*/ 369 h 583"/>
                <a:gd name="T28" fmla="*/ 637 w 902"/>
                <a:gd name="T29" fmla="*/ 394 h 583"/>
                <a:gd name="T30" fmla="*/ 542 w 902"/>
                <a:gd name="T31" fmla="*/ 396 h 583"/>
                <a:gd name="T32" fmla="*/ 506 w 902"/>
                <a:gd name="T33" fmla="*/ 404 h 583"/>
                <a:gd name="T34" fmla="*/ 468 w 902"/>
                <a:gd name="T35" fmla="*/ 413 h 583"/>
                <a:gd name="T36" fmla="*/ 429 w 902"/>
                <a:gd name="T37" fmla="*/ 395 h 583"/>
                <a:gd name="T38" fmla="*/ 385 w 902"/>
                <a:gd name="T39" fmla="*/ 424 h 583"/>
                <a:gd name="T40" fmla="*/ 342 w 902"/>
                <a:gd name="T41" fmla="*/ 393 h 583"/>
                <a:gd name="T42" fmla="*/ 376 w 902"/>
                <a:gd name="T43" fmla="*/ 454 h 583"/>
                <a:gd name="T44" fmla="*/ 586 w 902"/>
                <a:gd name="T45" fmla="*/ 565 h 583"/>
                <a:gd name="T46" fmla="*/ 809 w 902"/>
                <a:gd name="T47" fmla="*/ 382 h 583"/>
                <a:gd name="T48" fmla="*/ 884 w 902"/>
                <a:gd name="T49" fmla="*/ 261 h 583"/>
                <a:gd name="T50" fmla="*/ 899 w 902"/>
                <a:gd name="T51" fmla="*/ 126 h 583"/>
                <a:gd name="T52" fmla="*/ 859 w 902"/>
                <a:gd name="T53" fmla="*/ 38 h 583"/>
                <a:gd name="T54" fmla="*/ 782 w 902"/>
                <a:gd name="T55" fmla="*/ 1 h 583"/>
                <a:gd name="T56" fmla="*/ 642 w 902"/>
                <a:gd name="T57" fmla="*/ 18 h 583"/>
                <a:gd name="T58" fmla="*/ 647 w 902"/>
                <a:gd name="T59" fmla="*/ 323 h 583"/>
                <a:gd name="T60" fmla="*/ 664 w 902"/>
                <a:gd name="T61" fmla="*/ 349 h 583"/>
                <a:gd name="T62" fmla="*/ 623 w 902"/>
                <a:gd name="T63" fmla="*/ 361 h 583"/>
                <a:gd name="T64" fmla="*/ 533 w 902"/>
                <a:gd name="T65" fmla="*/ 367 h 583"/>
                <a:gd name="T66" fmla="*/ 497 w 902"/>
                <a:gd name="T67" fmla="*/ 252 h 583"/>
                <a:gd name="T68" fmla="*/ 468 w 902"/>
                <a:gd name="T69" fmla="*/ 382 h 583"/>
                <a:gd name="T70" fmla="*/ 401 w 902"/>
                <a:gd name="T71" fmla="*/ 381 h 583"/>
                <a:gd name="T72" fmla="*/ 385 w 902"/>
                <a:gd name="T73" fmla="*/ 394 h 583"/>
                <a:gd name="T74" fmla="*/ 351 w 902"/>
                <a:gd name="T75" fmla="*/ 358 h 583"/>
                <a:gd name="T76" fmla="*/ 292 w 902"/>
                <a:gd name="T77" fmla="*/ 360 h 583"/>
                <a:gd name="T78" fmla="*/ 235 w 902"/>
                <a:gd name="T79" fmla="*/ 365 h 583"/>
                <a:gd name="T80" fmla="*/ 194 w 902"/>
                <a:gd name="T81" fmla="*/ 375 h 583"/>
                <a:gd name="T82" fmla="*/ 149 w 902"/>
                <a:gd name="T83" fmla="*/ 354 h 583"/>
                <a:gd name="T84" fmla="*/ 110 w 902"/>
                <a:gd name="T85" fmla="*/ 390 h 583"/>
                <a:gd name="T86" fmla="*/ 72 w 902"/>
                <a:gd name="T87" fmla="*/ 349 h 583"/>
                <a:gd name="T88" fmla="*/ 15 w 902"/>
                <a:gd name="T89" fmla="*/ 361 h 583"/>
                <a:gd name="T90" fmla="*/ 1 w 902"/>
                <a:gd name="T91" fmla="*/ 341 h 583"/>
                <a:gd name="T92" fmla="*/ 67 w 902"/>
                <a:gd name="T93" fmla="*/ 305 h 583"/>
                <a:gd name="T94" fmla="*/ 90 w 902"/>
                <a:gd name="T95" fmla="*/ 312 h 583"/>
                <a:gd name="T96" fmla="*/ 109 w 902"/>
                <a:gd name="T97" fmla="*/ 323 h 583"/>
                <a:gd name="T98" fmla="*/ 170 w 902"/>
                <a:gd name="T99" fmla="*/ 330 h 583"/>
                <a:gd name="T100" fmla="*/ 215 w 902"/>
                <a:gd name="T101" fmla="*/ 134 h 583"/>
                <a:gd name="T102" fmla="*/ 296 w 902"/>
                <a:gd name="T103" fmla="*/ 323 h 583"/>
                <a:gd name="T104" fmla="*/ 348 w 902"/>
                <a:gd name="T105" fmla="*/ 310 h 583"/>
                <a:gd name="T106" fmla="*/ 372 w 902"/>
                <a:gd name="T107" fmla="*/ 308 h 583"/>
                <a:gd name="T108" fmla="*/ 390 w 902"/>
                <a:gd name="T109" fmla="*/ 324 h 583"/>
                <a:gd name="T110" fmla="*/ 451 w 902"/>
                <a:gd name="T111" fmla="*/ 328 h 583"/>
                <a:gd name="T112" fmla="*/ 494 w 902"/>
                <a:gd name="T113" fmla="*/ 134 h 583"/>
                <a:gd name="T114" fmla="*/ 513 w 902"/>
                <a:gd name="T115" fmla="*/ 147 h 583"/>
                <a:gd name="T116" fmla="*/ 598 w 902"/>
                <a:gd name="T117" fmla="*/ 331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2" h="583">
                  <a:moveTo>
                    <a:pt x="556" y="48"/>
                  </a:moveTo>
                  <a:lnTo>
                    <a:pt x="556" y="48"/>
                  </a:lnTo>
                  <a:lnTo>
                    <a:pt x="531" y="38"/>
                  </a:lnTo>
                  <a:lnTo>
                    <a:pt x="492" y="25"/>
                  </a:lnTo>
                  <a:lnTo>
                    <a:pt x="471" y="18"/>
                  </a:lnTo>
                  <a:lnTo>
                    <a:pt x="447" y="11"/>
                  </a:lnTo>
                  <a:lnTo>
                    <a:pt x="421" y="6"/>
                  </a:lnTo>
                  <a:lnTo>
                    <a:pt x="395" y="1"/>
                  </a:lnTo>
                  <a:lnTo>
                    <a:pt x="368" y="0"/>
                  </a:lnTo>
                  <a:lnTo>
                    <a:pt x="356" y="0"/>
                  </a:lnTo>
                  <a:lnTo>
                    <a:pt x="343" y="0"/>
                  </a:lnTo>
                  <a:lnTo>
                    <a:pt x="330" y="1"/>
                  </a:lnTo>
                  <a:lnTo>
                    <a:pt x="318" y="4"/>
                  </a:lnTo>
                  <a:lnTo>
                    <a:pt x="306" y="7"/>
                  </a:lnTo>
                  <a:lnTo>
                    <a:pt x="295" y="11"/>
                  </a:lnTo>
                  <a:lnTo>
                    <a:pt x="284" y="16"/>
                  </a:lnTo>
                  <a:lnTo>
                    <a:pt x="273" y="22"/>
                  </a:lnTo>
                  <a:lnTo>
                    <a:pt x="263" y="30"/>
                  </a:lnTo>
                  <a:lnTo>
                    <a:pt x="254" y="38"/>
                  </a:lnTo>
                  <a:lnTo>
                    <a:pt x="245" y="48"/>
                  </a:lnTo>
                  <a:lnTo>
                    <a:pt x="238" y="59"/>
                  </a:lnTo>
                  <a:lnTo>
                    <a:pt x="231" y="72"/>
                  </a:lnTo>
                  <a:lnTo>
                    <a:pt x="225" y="85"/>
                  </a:lnTo>
                  <a:lnTo>
                    <a:pt x="225" y="85"/>
                  </a:lnTo>
                  <a:lnTo>
                    <a:pt x="219" y="104"/>
                  </a:lnTo>
                  <a:lnTo>
                    <a:pt x="219" y="104"/>
                  </a:lnTo>
                  <a:lnTo>
                    <a:pt x="226" y="105"/>
                  </a:lnTo>
                  <a:lnTo>
                    <a:pt x="233" y="108"/>
                  </a:lnTo>
                  <a:lnTo>
                    <a:pt x="239" y="112"/>
                  </a:lnTo>
                  <a:lnTo>
                    <a:pt x="245" y="117"/>
                  </a:lnTo>
                  <a:lnTo>
                    <a:pt x="250" y="122"/>
                  </a:lnTo>
                  <a:lnTo>
                    <a:pt x="254" y="128"/>
                  </a:lnTo>
                  <a:lnTo>
                    <a:pt x="256" y="135"/>
                  </a:lnTo>
                  <a:lnTo>
                    <a:pt x="257" y="142"/>
                  </a:lnTo>
                  <a:lnTo>
                    <a:pt x="282" y="295"/>
                  </a:lnTo>
                  <a:lnTo>
                    <a:pt x="288" y="293"/>
                  </a:lnTo>
                  <a:lnTo>
                    <a:pt x="288" y="293"/>
                  </a:lnTo>
                  <a:lnTo>
                    <a:pt x="296" y="291"/>
                  </a:lnTo>
                  <a:lnTo>
                    <a:pt x="303" y="291"/>
                  </a:lnTo>
                  <a:lnTo>
                    <a:pt x="312" y="293"/>
                  </a:lnTo>
                  <a:lnTo>
                    <a:pt x="319" y="296"/>
                  </a:lnTo>
                  <a:lnTo>
                    <a:pt x="321" y="291"/>
                  </a:lnTo>
                  <a:lnTo>
                    <a:pt x="321" y="291"/>
                  </a:lnTo>
                  <a:lnTo>
                    <a:pt x="327" y="284"/>
                  </a:lnTo>
                  <a:lnTo>
                    <a:pt x="335" y="279"/>
                  </a:lnTo>
                  <a:lnTo>
                    <a:pt x="343" y="275"/>
                  </a:lnTo>
                  <a:lnTo>
                    <a:pt x="351" y="272"/>
                  </a:lnTo>
                  <a:lnTo>
                    <a:pt x="360" y="271"/>
                  </a:lnTo>
                  <a:lnTo>
                    <a:pt x="368" y="272"/>
                  </a:lnTo>
                  <a:lnTo>
                    <a:pt x="378" y="275"/>
                  </a:lnTo>
                  <a:lnTo>
                    <a:pt x="385" y="279"/>
                  </a:lnTo>
                  <a:lnTo>
                    <a:pt x="385" y="279"/>
                  </a:lnTo>
                  <a:lnTo>
                    <a:pt x="392" y="285"/>
                  </a:lnTo>
                  <a:lnTo>
                    <a:pt x="398" y="293"/>
                  </a:lnTo>
                  <a:lnTo>
                    <a:pt x="430" y="293"/>
                  </a:lnTo>
                  <a:lnTo>
                    <a:pt x="451" y="142"/>
                  </a:lnTo>
                  <a:lnTo>
                    <a:pt x="451" y="142"/>
                  </a:lnTo>
                  <a:lnTo>
                    <a:pt x="454" y="134"/>
                  </a:lnTo>
                  <a:lnTo>
                    <a:pt x="458" y="125"/>
                  </a:lnTo>
                  <a:lnTo>
                    <a:pt x="464" y="118"/>
                  </a:lnTo>
                  <a:lnTo>
                    <a:pt x="470" y="112"/>
                  </a:lnTo>
                  <a:lnTo>
                    <a:pt x="477" y="107"/>
                  </a:lnTo>
                  <a:lnTo>
                    <a:pt x="485" y="105"/>
                  </a:lnTo>
                  <a:lnTo>
                    <a:pt x="495" y="102"/>
                  </a:lnTo>
                  <a:lnTo>
                    <a:pt x="503" y="104"/>
                  </a:lnTo>
                  <a:lnTo>
                    <a:pt x="503" y="104"/>
                  </a:lnTo>
                  <a:lnTo>
                    <a:pt x="512" y="105"/>
                  </a:lnTo>
                  <a:lnTo>
                    <a:pt x="518" y="108"/>
                  </a:lnTo>
                  <a:lnTo>
                    <a:pt x="524" y="112"/>
                  </a:lnTo>
                  <a:lnTo>
                    <a:pt x="530" y="117"/>
                  </a:lnTo>
                  <a:lnTo>
                    <a:pt x="535" y="122"/>
                  </a:lnTo>
                  <a:lnTo>
                    <a:pt x="538" y="128"/>
                  </a:lnTo>
                  <a:lnTo>
                    <a:pt x="541" y="135"/>
                  </a:lnTo>
                  <a:lnTo>
                    <a:pt x="543" y="142"/>
                  </a:lnTo>
                  <a:lnTo>
                    <a:pt x="566" y="295"/>
                  </a:lnTo>
                  <a:lnTo>
                    <a:pt x="572" y="293"/>
                  </a:lnTo>
                  <a:lnTo>
                    <a:pt x="572" y="293"/>
                  </a:lnTo>
                  <a:lnTo>
                    <a:pt x="580" y="291"/>
                  </a:lnTo>
                  <a:lnTo>
                    <a:pt x="589" y="291"/>
                  </a:lnTo>
                  <a:lnTo>
                    <a:pt x="596" y="293"/>
                  </a:lnTo>
                  <a:lnTo>
                    <a:pt x="603" y="296"/>
                  </a:lnTo>
                  <a:lnTo>
                    <a:pt x="607" y="291"/>
                  </a:lnTo>
                  <a:lnTo>
                    <a:pt x="607" y="291"/>
                  </a:lnTo>
                  <a:lnTo>
                    <a:pt x="614" y="283"/>
                  </a:lnTo>
                  <a:lnTo>
                    <a:pt x="623" y="277"/>
                  </a:lnTo>
                  <a:lnTo>
                    <a:pt x="667" y="277"/>
                  </a:lnTo>
                  <a:lnTo>
                    <a:pt x="667" y="277"/>
                  </a:lnTo>
                  <a:lnTo>
                    <a:pt x="674" y="278"/>
                  </a:lnTo>
                  <a:lnTo>
                    <a:pt x="680" y="282"/>
                  </a:lnTo>
                  <a:lnTo>
                    <a:pt x="685" y="288"/>
                  </a:lnTo>
                  <a:lnTo>
                    <a:pt x="690" y="296"/>
                  </a:lnTo>
                  <a:lnTo>
                    <a:pt x="695" y="305"/>
                  </a:lnTo>
                  <a:lnTo>
                    <a:pt x="697" y="314"/>
                  </a:lnTo>
                  <a:lnTo>
                    <a:pt x="700" y="325"/>
                  </a:lnTo>
                  <a:lnTo>
                    <a:pt x="701" y="336"/>
                  </a:lnTo>
                  <a:lnTo>
                    <a:pt x="701" y="348"/>
                  </a:lnTo>
                  <a:lnTo>
                    <a:pt x="700" y="358"/>
                  </a:lnTo>
                  <a:lnTo>
                    <a:pt x="697" y="369"/>
                  </a:lnTo>
                  <a:lnTo>
                    <a:pt x="694" y="377"/>
                  </a:lnTo>
                  <a:lnTo>
                    <a:pt x="689" y="384"/>
                  </a:lnTo>
                  <a:lnTo>
                    <a:pt x="682" y="390"/>
                  </a:lnTo>
                  <a:lnTo>
                    <a:pt x="674" y="394"/>
                  </a:lnTo>
                  <a:lnTo>
                    <a:pt x="665" y="395"/>
                  </a:lnTo>
                  <a:lnTo>
                    <a:pt x="665" y="395"/>
                  </a:lnTo>
                  <a:lnTo>
                    <a:pt x="637" y="394"/>
                  </a:lnTo>
                  <a:lnTo>
                    <a:pt x="623" y="393"/>
                  </a:lnTo>
                  <a:lnTo>
                    <a:pt x="584" y="393"/>
                  </a:lnTo>
                  <a:lnTo>
                    <a:pt x="584" y="393"/>
                  </a:lnTo>
                  <a:lnTo>
                    <a:pt x="576" y="392"/>
                  </a:lnTo>
                  <a:lnTo>
                    <a:pt x="567" y="389"/>
                  </a:lnTo>
                  <a:lnTo>
                    <a:pt x="542" y="396"/>
                  </a:lnTo>
                  <a:lnTo>
                    <a:pt x="542" y="396"/>
                  </a:lnTo>
                  <a:lnTo>
                    <a:pt x="536" y="398"/>
                  </a:lnTo>
                  <a:lnTo>
                    <a:pt x="536" y="398"/>
                  </a:lnTo>
                  <a:lnTo>
                    <a:pt x="529" y="399"/>
                  </a:lnTo>
                  <a:lnTo>
                    <a:pt x="521" y="398"/>
                  </a:lnTo>
                  <a:lnTo>
                    <a:pt x="514" y="396"/>
                  </a:lnTo>
                  <a:lnTo>
                    <a:pt x="507" y="393"/>
                  </a:lnTo>
                  <a:lnTo>
                    <a:pt x="506" y="404"/>
                  </a:lnTo>
                  <a:lnTo>
                    <a:pt x="495" y="402"/>
                  </a:lnTo>
                  <a:lnTo>
                    <a:pt x="495" y="402"/>
                  </a:lnTo>
                  <a:lnTo>
                    <a:pt x="494" y="404"/>
                  </a:lnTo>
                  <a:lnTo>
                    <a:pt x="494" y="404"/>
                  </a:lnTo>
                  <a:lnTo>
                    <a:pt x="485" y="408"/>
                  </a:lnTo>
                  <a:lnTo>
                    <a:pt x="477" y="412"/>
                  </a:lnTo>
                  <a:lnTo>
                    <a:pt x="468" y="413"/>
                  </a:lnTo>
                  <a:lnTo>
                    <a:pt x="460" y="413"/>
                  </a:lnTo>
                  <a:lnTo>
                    <a:pt x="450" y="412"/>
                  </a:lnTo>
                  <a:lnTo>
                    <a:pt x="443" y="408"/>
                  </a:lnTo>
                  <a:lnTo>
                    <a:pt x="435" y="402"/>
                  </a:lnTo>
                  <a:lnTo>
                    <a:pt x="429" y="396"/>
                  </a:lnTo>
                  <a:lnTo>
                    <a:pt x="429" y="395"/>
                  </a:lnTo>
                  <a:lnTo>
                    <a:pt x="429" y="395"/>
                  </a:lnTo>
                  <a:lnTo>
                    <a:pt x="424" y="404"/>
                  </a:lnTo>
                  <a:lnTo>
                    <a:pt x="418" y="411"/>
                  </a:lnTo>
                  <a:lnTo>
                    <a:pt x="412" y="416"/>
                  </a:lnTo>
                  <a:lnTo>
                    <a:pt x="403" y="420"/>
                  </a:lnTo>
                  <a:lnTo>
                    <a:pt x="403" y="420"/>
                  </a:lnTo>
                  <a:lnTo>
                    <a:pt x="395" y="423"/>
                  </a:lnTo>
                  <a:lnTo>
                    <a:pt x="385" y="424"/>
                  </a:lnTo>
                  <a:lnTo>
                    <a:pt x="377" y="423"/>
                  </a:lnTo>
                  <a:lnTo>
                    <a:pt x="368" y="420"/>
                  </a:lnTo>
                  <a:lnTo>
                    <a:pt x="360" y="417"/>
                  </a:lnTo>
                  <a:lnTo>
                    <a:pt x="354" y="411"/>
                  </a:lnTo>
                  <a:lnTo>
                    <a:pt x="348" y="404"/>
                  </a:lnTo>
                  <a:lnTo>
                    <a:pt x="343" y="396"/>
                  </a:lnTo>
                  <a:lnTo>
                    <a:pt x="342" y="393"/>
                  </a:lnTo>
                  <a:lnTo>
                    <a:pt x="342" y="393"/>
                  </a:lnTo>
                  <a:lnTo>
                    <a:pt x="341" y="393"/>
                  </a:lnTo>
                  <a:lnTo>
                    <a:pt x="312" y="393"/>
                  </a:lnTo>
                  <a:lnTo>
                    <a:pt x="312" y="393"/>
                  </a:lnTo>
                  <a:lnTo>
                    <a:pt x="327" y="410"/>
                  </a:lnTo>
                  <a:lnTo>
                    <a:pt x="343" y="425"/>
                  </a:lnTo>
                  <a:lnTo>
                    <a:pt x="376" y="454"/>
                  </a:lnTo>
                  <a:lnTo>
                    <a:pt x="408" y="483"/>
                  </a:lnTo>
                  <a:lnTo>
                    <a:pt x="442" y="508"/>
                  </a:lnTo>
                  <a:lnTo>
                    <a:pt x="474" y="531"/>
                  </a:lnTo>
                  <a:lnTo>
                    <a:pt x="504" y="552"/>
                  </a:lnTo>
                  <a:lnTo>
                    <a:pt x="556" y="583"/>
                  </a:lnTo>
                  <a:lnTo>
                    <a:pt x="556" y="583"/>
                  </a:lnTo>
                  <a:lnTo>
                    <a:pt x="586" y="565"/>
                  </a:lnTo>
                  <a:lnTo>
                    <a:pt x="618" y="545"/>
                  </a:lnTo>
                  <a:lnTo>
                    <a:pt x="650" y="522"/>
                  </a:lnTo>
                  <a:lnTo>
                    <a:pt x="684" y="498"/>
                  </a:lnTo>
                  <a:lnTo>
                    <a:pt x="717" y="471"/>
                  </a:lnTo>
                  <a:lnTo>
                    <a:pt x="749" y="443"/>
                  </a:lnTo>
                  <a:lnTo>
                    <a:pt x="780" y="413"/>
                  </a:lnTo>
                  <a:lnTo>
                    <a:pt x="809" y="382"/>
                  </a:lnTo>
                  <a:lnTo>
                    <a:pt x="823" y="365"/>
                  </a:lnTo>
                  <a:lnTo>
                    <a:pt x="836" y="349"/>
                  </a:lnTo>
                  <a:lnTo>
                    <a:pt x="847" y="332"/>
                  </a:lnTo>
                  <a:lnTo>
                    <a:pt x="858" y="314"/>
                  </a:lnTo>
                  <a:lnTo>
                    <a:pt x="868" y="298"/>
                  </a:lnTo>
                  <a:lnTo>
                    <a:pt x="877" y="279"/>
                  </a:lnTo>
                  <a:lnTo>
                    <a:pt x="884" y="261"/>
                  </a:lnTo>
                  <a:lnTo>
                    <a:pt x="891" y="242"/>
                  </a:lnTo>
                  <a:lnTo>
                    <a:pt x="896" y="224"/>
                  </a:lnTo>
                  <a:lnTo>
                    <a:pt x="900" y="205"/>
                  </a:lnTo>
                  <a:lnTo>
                    <a:pt x="902" y="185"/>
                  </a:lnTo>
                  <a:lnTo>
                    <a:pt x="902" y="166"/>
                  </a:lnTo>
                  <a:lnTo>
                    <a:pt x="901" y="146"/>
                  </a:lnTo>
                  <a:lnTo>
                    <a:pt x="899" y="126"/>
                  </a:lnTo>
                  <a:lnTo>
                    <a:pt x="894" y="106"/>
                  </a:lnTo>
                  <a:lnTo>
                    <a:pt x="888" y="85"/>
                  </a:lnTo>
                  <a:lnTo>
                    <a:pt x="888" y="85"/>
                  </a:lnTo>
                  <a:lnTo>
                    <a:pt x="882" y="72"/>
                  </a:lnTo>
                  <a:lnTo>
                    <a:pt x="874" y="59"/>
                  </a:lnTo>
                  <a:lnTo>
                    <a:pt x="867" y="48"/>
                  </a:lnTo>
                  <a:lnTo>
                    <a:pt x="859" y="38"/>
                  </a:lnTo>
                  <a:lnTo>
                    <a:pt x="849" y="30"/>
                  </a:lnTo>
                  <a:lnTo>
                    <a:pt x="839" y="22"/>
                  </a:lnTo>
                  <a:lnTo>
                    <a:pt x="829" y="16"/>
                  </a:lnTo>
                  <a:lnTo>
                    <a:pt x="818" y="11"/>
                  </a:lnTo>
                  <a:lnTo>
                    <a:pt x="806" y="7"/>
                  </a:lnTo>
                  <a:lnTo>
                    <a:pt x="795" y="4"/>
                  </a:lnTo>
                  <a:lnTo>
                    <a:pt x="782" y="1"/>
                  </a:lnTo>
                  <a:lnTo>
                    <a:pt x="770" y="0"/>
                  </a:lnTo>
                  <a:lnTo>
                    <a:pt x="756" y="0"/>
                  </a:lnTo>
                  <a:lnTo>
                    <a:pt x="744" y="0"/>
                  </a:lnTo>
                  <a:lnTo>
                    <a:pt x="718" y="1"/>
                  </a:lnTo>
                  <a:lnTo>
                    <a:pt x="691" y="6"/>
                  </a:lnTo>
                  <a:lnTo>
                    <a:pt x="666" y="11"/>
                  </a:lnTo>
                  <a:lnTo>
                    <a:pt x="642" y="18"/>
                  </a:lnTo>
                  <a:lnTo>
                    <a:pt x="620" y="25"/>
                  </a:lnTo>
                  <a:lnTo>
                    <a:pt x="582" y="38"/>
                  </a:lnTo>
                  <a:lnTo>
                    <a:pt x="556" y="48"/>
                  </a:lnTo>
                  <a:lnTo>
                    <a:pt x="556" y="48"/>
                  </a:lnTo>
                  <a:close/>
                  <a:moveTo>
                    <a:pt x="623" y="323"/>
                  </a:moveTo>
                  <a:lnTo>
                    <a:pt x="647" y="323"/>
                  </a:lnTo>
                  <a:lnTo>
                    <a:pt x="647" y="323"/>
                  </a:lnTo>
                  <a:lnTo>
                    <a:pt x="650" y="323"/>
                  </a:lnTo>
                  <a:lnTo>
                    <a:pt x="653" y="323"/>
                  </a:lnTo>
                  <a:lnTo>
                    <a:pt x="656" y="325"/>
                  </a:lnTo>
                  <a:lnTo>
                    <a:pt x="659" y="328"/>
                  </a:lnTo>
                  <a:lnTo>
                    <a:pt x="662" y="334"/>
                  </a:lnTo>
                  <a:lnTo>
                    <a:pt x="665" y="341"/>
                  </a:lnTo>
                  <a:lnTo>
                    <a:pt x="664" y="349"/>
                  </a:lnTo>
                  <a:lnTo>
                    <a:pt x="662" y="352"/>
                  </a:lnTo>
                  <a:lnTo>
                    <a:pt x="660" y="355"/>
                  </a:lnTo>
                  <a:lnTo>
                    <a:pt x="658" y="358"/>
                  </a:lnTo>
                  <a:lnTo>
                    <a:pt x="655" y="360"/>
                  </a:lnTo>
                  <a:lnTo>
                    <a:pt x="650" y="361"/>
                  </a:lnTo>
                  <a:lnTo>
                    <a:pt x="645" y="361"/>
                  </a:lnTo>
                  <a:lnTo>
                    <a:pt x="623" y="361"/>
                  </a:lnTo>
                  <a:lnTo>
                    <a:pt x="584" y="361"/>
                  </a:lnTo>
                  <a:lnTo>
                    <a:pt x="584" y="361"/>
                  </a:lnTo>
                  <a:lnTo>
                    <a:pt x="580" y="361"/>
                  </a:lnTo>
                  <a:lnTo>
                    <a:pt x="578" y="360"/>
                  </a:lnTo>
                  <a:lnTo>
                    <a:pt x="572" y="357"/>
                  </a:lnTo>
                  <a:lnTo>
                    <a:pt x="533" y="367"/>
                  </a:lnTo>
                  <a:lnTo>
                    <a:pt x="533" y="367"/>
                  </a:lnTo>
                  <a:lnTo>
                    <a:pt x="531" y="367"/>
                  </a:lnTo>
                  <a:lnTo>
                    <a:pt x="531" y="367"/>
                  </a:lnTo>
                  <a:lnTo>
                    <a:pt x="525" y="367"/>
                  </a:lnTo>
                  <a:lnTo>
                    <a:pt x="519" y="365"/>
                  </a:lnTo>
                  <a:lnTo>
                    <a:pt x="515" y="360"/>
                  </a:lnTo>
                  <a:lnTo>
                    <a:pt x="513" y="354"/>
                  </a:lnTo>
                  <a:lnTo>
                    <a:pt x="497" y="252"/>
                  </a:lnTo>
                  <a:lnTo>
                    <a:pt x="480" y="370"/>
                  </a:lnTo>
                  <a:lnTo>
                    <a:pt x="479" y="370"/>
                  </a:lnTo>
                  <a:lnTo>
                    <a:pt x="479" y="370"/>
                  </a:lnTo>
                  <a:lnTo>
                    <a:pt x="478" y="375"/>
                  </a:lnTo>
                  <a:lnTo>
                    <a:pt x="474" y="379"/>
                  </a:lnTo>
                  <a:lnTo>
                    <a:pt x="474" y="379"/>
                  </a:lnTo>
                  <a:lnTo>
                    <a:pt x="468" y="382"/>
                  </a:lnTo>
                  <a:lnTo>
                    <a:pt x="464" y="383"/>
                  </a:lnTo>
                  <a:lnTo>
                    <a:pt x="458" y="381"/>
                  </a:lnTo>
                  <a:lnTo>
                    <a:pt x="453" y="377"/>
                  </a:lnTo>
                  <a:lnTo>
                    <a:pt x="435" y="354"/>
                  </a:lnTo>
                  <a:lnTo>
                    <a:pt x="406" y="354"/>
                  </a:lnTo>
                  <a:lnTo>
                    <a:pt x="401" y="381"/>
                  </a:lnTo>
                  <a:lnTo>
                    <a:pt x="401" y="381"/>
                  </a:lnTo>
                  <a:lnTo>
                    <a:pt x="401" y="381"/>
                  </a:lnTo>
                  <a:lnTo>
                    <a:pt x="400" y="384"/>
                  </a:lnTo>
                  <a:lnTo>
                    <a:pt x="397" y="388"/>
                  </a:lnTo>
                  <a:lnTo>
                    <a:pt x="395" y="390"/>
                  </a:lnTo>
                  <a:lnTo>
                    <a:pt x="391" y="393"/>
                  </a:lnTo>
                  <a:lnTo>
                    <a:pt x="391" y="393"/>
                  </a:lnTo>
                  <a:lnTo>
                    <a:pt x="385" y="394"/>
                  </a:lnTo>
                  <a:lnTo>
                    <a:pt x="379" y="393"/>
                  </a:lnTo>
                  <a:lnTo>
                    <a:pt x="374" y="389"/>
                  </a:lnTo>
                  <a:lnTo>
                    <a:pt x="372" y="384"/>
                  </a:lnTo>
                  <a:lnTo>
                    <a:pt x="356" y="349"/>
                  </a:lnTo>
                  <a:lnTo>
                    <a:pt x="354" y="354"/>
                  </a:lnTo>
                  <a:lnTo>
                    <a:pt x="354" y="354"/>
                  </a:lnTo>
                  <a:lnTo>
                    <a:pt x="351" y="358"/>
                  </a:lnTo>
                  <a:lnTo>
                    <a:pt x="348" y="360"/>
                  </a:lnTo>
                  <a:lnTo>
                    <a:pt x="344" y="361"/>
                  </a:lnTo>
                  <a:lnTo>
                    <a:pt x="341" y="361"/>
                  </a:lnTo>
                  <a:lnTo>
                    <a:pt x="300" y="361"/>
                  </a:lnTo>
                  <a:lnTo>
                    <a:pt x="300" y="361"/>
                  </a:lnTo>
                  <a:lnTo>
                    <a:pt x="296" y="361"/>
                  </a:lnTo>
                  <a:lnTo>
                    <a:pt x="292" y="360"/>
                  </a:lnTo>
                  <a:lnTo>
                    <a:pt x="288" y="357"/>
                  </a:lnTo>
                  <a:lnTo>
                    <a:pt x="249" y="367"/>
                  </a:lnTo>
                  <a:lnTo>
                    <a:pt x="249" y="367"/>
                  </a:lnTo>
                  <a:lnTo>
                    <a:pt x="247" y="367"/>
                  </a:lnTo>
                  <a:lnTo>
                    <a:pt x="247" y="367"/>
                  </a:lnTo>
                  <a:lnTo>
                    <a:pt x="241" y="367"/>
                  </a:lnTo>
                  <a:lnTo>
                    <a:pt x="235" y="365"/>
                  </a:lnTo>
                  <a:lnTo>
                    <a:pt x="231" y="360"/>
                  </a:lnTo>
                  <a:lnTo>
                    <a:pt x="229" y="354"/>
                  </a:lnTo>
                  <a:lnTo>
                    <a:pt x="213" y="252"/>
                  </a:lnTo>
                  <a:lnTo>
                    <a:pt x="195" y="370"/>
                  </a:lnTo>
                  <a:lnTo>
                    <a:pt x="195" y="370"/>
                  </a:lnTo>
                  <a:lnTo>
                    <a:pt x="195" y="370"/>
                  </a:lnTo>
                  <a:lnTo>
                    <a:pt x="194" y="375"/>
                  </a:lnTo>
                  <a:lnTo>
                    <a:pt x="190" y="379"/>
                  </a:lnTo>
                  <a:lnTo>
                    <a:pt x="190" y="379"/>
                  </a:lnTo>
                  <a:lnTo>
                    <a:pt x="184" y="382"/>
                  </a:lnTo>
                  <a:lnTo>
                    <a:pt x="178" y="383"/>
                  </a:lnTo>
                  <a:lnTo>
                    <a:pt x="173" y="381"/>
                  </a:lnTo>
                  <a:lnTo>
                    <a:pt x="168" y="377"/>
                  </a:lnTo>
                  <a:lnTo>
                    <a:pt x="149" y="354"/>
                  </a:lnTo>
                  <a:lnTo>
                    <a:pt x="121" y="354"/>
                  </a:lnTo>
                  <a:lnTo>
                    <a:pt x="115" y="381"/>
                  </a:lnTo>
                  <a:lnTo>
                    <a:pt x="115" y="381"/>
                  </a:lnTo>
                  <a:lnTo>
                    <a:pt x="115" y="381"/>
                  </a:lnTo>
                  <a:lnTo>
                    <a:pt x="115" y="384"/>
                  </a:lnTo>
                  <a:lnTo>
                    <a:pt x="113" y="388"/>
                  </a:lnTo>
                  <a:lnTo>
                    <a:pt x="110" y="390"/>
                  </a:lnTo>
                  <a:lnTo>
                    <a:pt x="107" y="393"/>
                  </a:lnTo>
                  <a:lnTo>
                    <a:pt x="107" y="393"/>
                  </a:lnTo>
                  <a:lnTo>
                    <a:pt x="101" y="394"/>
                  </a:lnTo>
                  <a:lnTo>
                    <a:pt x="95" y="393"/>
                  </a:lnTo>
                  <a:lnTo>
                    <a:pt x="90" y="389"/>
                  </a:lnTo>
                  <a:lnTo>
                    <a:pt x="86" y="384"/>
                  </a:lnTo>
                  <a:lnTo>
                    <a:pt x="72" y="349"/>
                  </a:lnTo>
                  <a:lnTo>
                    <a:pt x="69" y="354"/>
                  </a:lnTo>
                  <a:lnTo>
                    <a:pt x="69" y="354"/>
                  </a:lnTo>
                  <a:lnTo>
                    <a:pt x="67" y="358"/>
                  </a:lnTo>
                  <a:lnTo>
                    <a:pt x="63" y="360"/>
                  </a:lnTo>
                  <a:lnTo>
                    <a:pt x="60" y="361"/>
                  </a:lnTo>
                  <a:lnTo>
                    <a:pt x="55" y="361"/>
                  </a:lnTo>
                  <a:lnTo>
                    <a:pt x="15" y="361"/>
                  </a:lnTo>
                  <a:lnTo>
                    <a:pt x="15" y="361"/>
                  </a:lnTo>
                  <a:lnTo>
                    <a:pt x="9" y="360"/>
                  </a:lnTo>
                  <a:lnTo>
                    <a:pt x="4" y="358"/>
                  </a:lnTo>
                  <a:lnTo>
                    <a:pt x="1" y="353"/>
                  </a:lnTo>
                  <a:lnTo>
                    <a:pt x="0" y="347"/>
                  </a:lnTo>
                  <a:lnTo>
                    <a:pt x="0" y="347"/>
                  </a:lnTo>
                  <a:lnTo>
                    <a:pt x="1" y="341"/>
                  </a:lnTo>
                  <a:lnTo>
                    <a:pt x="4" y="336"/>
                  </a:lnTo>
                  <a:lnTo>
                    <a:pt x="9" y="332"/>
                  </a:lnTo>
                  <a:lnTo>
                    <a:pt x="15" y="331"/>
                  </a:lnTo>
                  <a:lnTo>
                    <a:pt x="48" y="331"/>
                  </a:lnTo>
                  <a:lnTo>
                    <a:pt x="62" y="310"/>
                  </a:lnTo>
                  <a:lnTo>
                    <a:pt x="62" y="310"/>
                  </a:lnTo>
                  <a:lnTo>
                    <a:pt x="67" y="305"/>
                  </a:lnTo>
                  <a:lnTo>
                    <a:pt x="72" y="302"/>
                  </a:lnTo>
                  <a:lnTo>
                    <a:pt x="78" y="302"/>
                  </a:lnTo>
                  <a:lnTo>
                    <a:pt x="84" y="305"/>
                  </a:lnTo>
                  <a:lnTo>
                    <a:pt x="84" y="305"/>
                  </a:lnTo>
                  <a:lnTo>
                    <a:pt x="88" y="308"/>
                  </a:lnTo>
                  <a:lnTo>
                    <a:pt x="90" y="312"/>
                  </a:lnTo>
                  <a:lnTo>
                    <a:pt x="90" y="312"/>
                  </a:lnTo>
                  <a:lnTo>
                    <a:pt x="97" y="329"/>
                  </a:lnTo>
                  <a:lnTo>
                    <a:pt x="97" y="329"/>
                  </a:lnTo>
                  <a:lnTo>
                    <a:pt x="100" y="326"/>
                  </a:lnTo>
                  <a:lnTo>
                    <a:pt x="102" y="325"/>
                  </a:lnTo>
                  <a:lnTo>
                    <a:pt x="106" y="324"/>
                  </a:lnTo>
                  <a:lnTo>
                    <a:pt x="109" y="323"/>
                  </a:lnTo>
                  <a:lnTo>
                    <a:pt x="109" y="323"/>
                  </a:lnTo>
                  <a:lnTo>
                    <a:pt x="156" y="323"/>
                  </a:lnTo>
                  <a:lnTo>
                    <a:pt x="156" y="323"/>
                  </a:lnTo>
                  <a:lnTo>
                    <a:pt x="161" y="324"/>
                  </a:lnTo>
                  <a:lnTo>
                    <a:pt x="165" y="325"/>
                  </a:lnTo>
                  <a:lnTo>
                    <a:pt x="167" y="328"/>
                  </a:lnTo>
                  <a:lnTo>
                    <a:pt x="170" y="330"/>
                  </a:lnTo>
                  <a:lnTo>
                    <a:pt x="170" y="330"/>
                  </a:lnTo>
                  <a:lnTo>
                    <a:pt x="197" y="147"/>
                  </a:lnTo>
                  <a:lnTo>
                    <a:pt x="197" y="147"/>
                  </a:lnTo>
                  <a:lnTo>
                    <a:pt x="200" y="141"/>
                  </a:lnTo>
                  <a:lnTo>
                    <a:pt x="203" y="136"/>
                  </a:lnTo>
                  <a:lnTo>
                    <a:pt x="209" y="134"/>
                  </a:lnTo>
                  <a:lnTo>
                    <a:pt x="215" y="134"/>
                  </a:lnTo>
                  <a:lnTo>
                    <a:pt x="215" y="134"/>
                  </a:lnTo>
                  <a:lnTo>
                    <a:pt x="220" y="135"/>
                  </a:lnTo>
                  <a:lnTo>
                    <a:pt x="224" y="138"/>
                  </a:lnTo>
                  <a:lnTo>
                    <a:pt x="226" y="142"/>
                  </a:lnTo>
                  <a:lnTo>
                    <a:pt x="227" y="147"/>
                  </a:lnTo>
                  <a:lnTo>
                    <a:pt x="227" y="147"/>
                  </a:lnTo>
                  <a:lnTo>
                    <a:pt x="256" y="334"/>
                  </a:lnTo>
                  <a:lnTo>
                    <a:pt x="296" y="323"/>
                  </a:lnTo>
                  <a:lnTo>
                    <a:pt x="296" y="323"/>
                  </a:lnTo>
                  <a:lnTo>
                    <a:pt x="301" y="323"/>
                  </a:lnTo>
                  <a:lnTo>
                    <a:pt x="306" y="324"/>
                  </a:lnTo>
                  <a:lnTo>
                    <a:pt x="310" y="326"/>
                  </a:lnTo>
                  <a:lnTo>
                    <a:pt x="313" y="331"/>
                  </a:lnTo>
                  <a:lnTo>
                    <a:pt x="332" y="331"/>
                  </a:lnTo>
                  <a:lnTo>
                    <a:pt x="348" y="310"/>
                  </a:lnTo>
                  <a:lnTo>
                    <a:pt x="348" y="310"/>
                  </a:lnTo>
                  <a:lnTo>
                    <a:pt x="351" y="305"/>
                  </a:lnTo>
                  <a:lnTo>
                    <a:pt x="357" y="302"/>
                  </a:lnTo>
                  <a:lnTo>
                    <a:pt x="364" y="302"/>
                  </a:lnTo>
                  <a:lnTo>
                    <a:pt x="368" y="305"/>
                  </a:lnTo>
                  <a:lnTo>
                    <a:pt x="368" y="305"/>
                  </a:lnTo>
                  <a:lnTo>
                    <a:pt x="372" y="308"/>
                  </a:lnTo>
                  <a:lnTo>
                    <a:pt x="374" y="312"/>
                  </a:lnTo>
                  <a:lnTo>
                    <a:pt x="374" y="312"/>
                  </a:lnTo>
                  <a:lnTo>
                    <a:pt x="382" y="329"/>
                  </a:lnTo>
                  <a:lnTo>
                    <a:pt x="382" y="329"/>
                  </a:lnTo>
                  <a:lnTo>
                    <a:pt x="384" y="326"/>
                  </a:lnTo>
                  <a:lnTo>
                    <a:pt x="386" y="325"/>
                  </a:lnTo>
                  <a:lnTo>
                    <a:pt x="390" y="324"/>
                  </a:lnTo>
                  <a:lnTo>
                    <a:pt x="394" y="323"/>
                  </a:lnTo>
                  <a:lnTo>
                    <a:pt x="394" y="323"/>
                  </a:lnTo>
                  <a:lnTo>
                    <a:pt x="442" y="323"/>
                  </a:lnTo>
                  <a:lnTo>
                    <a:pt x="442" y="323"/>
                  </a:lnTo>
                  <a:lnTo>
                    <a:pt x="445" y="324"/>
                  </a:lnTo>
                  <a:lnTo>
                    <a:pt x="449" y="325"/>
                  </a:lnTo>
                  <a:lnTo>
                    <a:pt x="451" y="328"/>
                  </a:lnTo>
                  <a:lnTo>
                    <a:pt x="454" y="330"/>
                  </a:lnTo>
                  <a:lnTo>
                    <a:pt x="455" y="330"/>
                  </a:lnTo>
                  <a:lnTo>
                    <a:pt x="482" y="147"/>
                  </a:lnTo>
                  <a:lnTo>
                    <a:pt x="482" y="147"/>
                  </a:lnTo>
                  <a:lnTo>
                    <a:pt x="484" y="141"/>
                  </a:lnTo>
                  <a:lnTo>
                    <a:pt x="488" y="136"/>
                  </a:lnTo>
                  <a:lnTo>
                    <a:pt x="494" y="134"/>
                  </a:lnTo>
                  <a:lnTo>
                    <a:pt x="500" y="134"/>
                  </a:lnTo>
                  <a:lnTo>
                    <a:pt x="500" y="134"/>
                  </a:lnTo>
                  <a:lnTo>
                    <a:pt x="504" y="135"/>
                  </a:lnTo>
                  <a:lnTo>
                    <a:pt x="508" y="138"/>
                  </a:lnTo>
                  <a:lnTo>
                    <a:pt x="511" y="142"/>
                  </a:lnTo>
                  <a:lnTo>
                    <a:pt x="513" y="147"/>
                  </a:lnTo>
                  <a:lnTo>
                    <a:pt x="513" y="147"/>
                  </a:lnTo>
                  <a:lnTo>
                    <a:pt x="541" y="334"/>
                  </a:lnTo>
                  <a:lnTo>
                    <a:pt x="580" y="323"/>
                  </a:lnTo>
                  <a:lnTo>
                    <a:pt x="580" y="323"/>
                  </a:lnTo>
                  <a:lnTo>
                    <a:pt x="585" y="323"/>
                  </a:lnTo>
                  <a:lnTo>
                    <a:pt x="591" y="324"/>
                  </a:lnTo>
                  <a:lnTo>
                    <a:pt x="595" y="326"/>
                  </a:lnTo>
                  <a:lnTo>
                    <a:pt x="598" y="331"/>
                  </a:lnTo>
                  <a:lnTo>
                    <a:pt x="617" y="331"/>
                  </a:lnTo>
                  <a:lnTo>
                    <a:pt x="623"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78191" tIns="39095" rIns="78191" bIns="39095"/>
            <a:lstStyle/>
            <a:p>
              <a:pPr defTabSz="871196" eaLnBrk="1" fontAlgn="auto" hangingPunct="1">
                <a:spcBef>
                  <a:spcPts val="0"/>
                </a:spcBef>
                <a:spcAft>
                  <a:spcPts val="0"/>
                </a:spcAft>
                <a:defRPr/>
              </a:pPr>
              <a:endParaRPr lang="en-GB" sz="1710" kern="0" dirty="0">
                <a:solidFill>
                  <a:srgbClr val="000000"/>
                </a:solidFill>
                <a:latin typeface="Calibri"/>
              </a:endParaRPr>
            </a:p>
          </p:txBody>
        </p:sp>
      </p:grpSp>
      <p:grpSp>
        <p:nvGrpSpPr>
          <p:cNvPr id="77860" name="Group 134"/>
          <p:cNvGrpSpPr>
            <a:grpSpLocks/>
          </p:cNvGrpSpPr>
          <p:nvPr/>
        </p:nvGrpSpPr>
        <p:grpSpPr bwMode="auto">
          <a:xfrm>
            <a:off x="6829425" y="3594100"/>
            <a:ext cx="360363" cy="360363"/>
            <a:chOff x="1384866" y="3980948"/>
            <a:chExt cx="360000" cy="360000"/>
          </a:xfrm>
        </p:grpSpPr>
        <p:sp>
          <p:nvSpPr>
            <p:cNvPr id="136" name="Oval 252">
              <a:extLst>
                <a:ext uri="{FF2B5EF4-FFF2-40B4-BE49-F238E27FC236}"/>
              </a:extLst>
            </p:cNvPr>
            <p:cNvSpPr>
              <a:spLocks noChangeArrowheads="1"/>
            </p:cNvSpPr>
            <p:nvPr/>
          </p:nvSpPr>
          <p:spPr bwMode="gray">
            <a:xfrm>
              <a:off x="1384866" y="3980948"/>
              <a:ext cx="360000" cy="360000"/>
            </a:xfrm>
            <a:prstGeom prst="ellipse">
              <a:avLst/>
            </a:prstGeom>
            <a:solidFill>
              <a:srgbClr val="FF7A0B"/>
            </a:solidFill>
            <a:ln>
              <a:noFill/>
            </a:ln>
            <a:extLst/>
          </p:spPr>
          <p:txBody>
            <a:bodyPr wrap="none" anchor="ctr"/>
            <a:lstStyle/>
            <a:p>
              <a:pPr eaLnBrk="1" fontAlgn="auto" hangingPunct="1">
                <a:lnSpc>
                  <a:spcPct val="90000"/>
                </a:lnSpc>
                <a:spcBef>
                  <a:spcPts val="0"/>
                </a:spcBef>
                <a:spcAft>
                  <a:spcPts val="0"/>
                </a:spcAft>
                <a:defRPr/>
              </a:pPr>
              <a:endParaRPr lang="en-US" kern="0" dirty="0">
                <a:solidFill>
                  <a:srgbClr val="000000"/>
                </a:solidFill>
              </a:endParaRPr>
            </a:p>
          </p:txBody>
        </p:sp>
        <p:grpSp>
          <p:nvGrpSpPr>
            <p:cNvPr id="77890" name="Group 136"/>
            <p:cNvGrpSpPr>
              <a:grpSpLocks/>
            </p:cNvGrpSpPr>
            <p:nvPr/>
          </p:nvGrpSpPr>
          <p:grpSpPr bwMode="auto">
            <a:xfrm>
              <a:off x="1410189" y="4112894"/>
              <a:ext cx="296498" cy="175134"/>
              <a:chOff x="1410189" y="4112894"/>
              <a:chExt cx="296498" cy="175134"/>
            </a:xfrm>
          </p:grpSpPr>
          <p:grpSp>
            <p:nvGrpSpPr>
              <p:cNvPr id="77891" name="Group 137"/>
              <p:cNvGrpSpPr>
                <a:grpSpLocks/>
              </p:cNvGrpSpPr>
              <p:nvPr/>
            </p:nvGrpSpPr>
            <p:grpSpPr bwMode="auto">
              <a:xfrm>
                <a:off x="1571704" y="4135274"/>
                <a:ext cx="134983" cy="102111"/>
                <a:chOff x="1571262" y="4096484"/>
                <a:chExt cx="156676" cy="118521"/>
              </a:xfrm>
            </p:grpSpPr>
            <p:sp>
              <p:nvSpPr>
                <p:cNvPr id="142" name="Freeform 2633">
                  <a:extLst>
                    <a:ext uri="{FF2B5EF4-FFF2-40B4-BE49-F238E27FC236}"/>
                  </a:extLst>
                </p:cNvPr>
                <p:cNvSpPr>
                  <a:spLocks/>
                </p:cNvSpPr>
                <p:nvPr/>
              </p:nvSpPr>
              <p:spPr bwMode="auto">
                <a:xfrm>
                  <a:off x="1619468" y="4152974"/>
                  <a:ext cx="60746" cy="5523"/>
                </a:xfrm>
                <a:custGeom>
                  <a:avLst/>
                  <a:gdLst>
                    <a:gd name="T0" fmla="*/ 5 w 222"/>
                    <a:gd name="T1" fmla="*/ 16 h 16"/>
                    <a:gd name="T2" fmla="*/ 218 w 222"/>
                    <a:gd name="T3" fmla="*/ 16 h 16"/>
                    <a:gd name="T4" fmla="*/ 222 w 222"/>
                    <a:gd name="T5" fmla="*/ 0 h 16"/>
                    <a:gd name="T6" fmla="*/ 0 w 222"/>
                    <a:gd name="T7" fmla="*/ 0 h 16"/>
                    <a:gd name="T8" fmla="*/ 5 w 222"/>
                    <a:gd name="T9" fmla="*/ 16 h 16"/>
                  </a:gdLst>
                  <a:ahLst/>
                  <a:cxnLst>
                    <a:cxn ang="0">
                      <a:pos x="T0" y="T1"/>
                    </a:cxn>
                    <a:cxn ang="0">
                      <a:pos x="T2" y="T3"/>
                    </a:cxn>
                    <a:cxn ang="0">
                      <a:pos x="T4" y="T5"/>
                    </a:cxn>
                    <a:cxn ang="0">
                      <a:pos x="T6" y="T7"/>
                    </a:cxn>
                    <a:cxn ang="0">
                      <a:pos x="T8" y="T9"/>
                    </a:cxn>
                  </a:cxnLst>
                  <a:rect l="0" t="0" r="r" b="b"/>
                  <a:pathLst>
                    <a:path w="222" h="16">
                      <a:moveTo>
                        <a:pt x="5" y="16"/>
                      </a:moveTo>
                      <a:lnTo>
                        <a:pt x="218" y="16"/>
                      </a:lnTo>
                      <a:lnTo>
                        <a:pt x="222" y="0"/>
                      </a:lnTo>
                      <a:lnTo>
                        <a:pt x="0" y="0"/>
                      </a:lnTo>
                      <a:lnTo>
                        <a:pt x="5" y="16"/>
                      </a:ln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3" name="Rectangle 2634">
                  <a:extLst>
                    <a:ext uri="{FF2B5EF4-FFF2-40B4-BE49-F238E27FC236}"/>
                  </a:extLst>
                </p:cNvPr>
                <p:cNvSpPr>
                  <a:spLocks noChangeArrowheads="1"/>
                </p:cNvSpPr>
                <p:nvPr/>
              </p:nvSpPr>
              <p:spPr bwMode="auto">
                <a:xfrm>
                  <a:off x="1637875" y="4182427"/>
                  <a:ext cx="3682" cy="12886"/>
                </a:xfrm>
                <a:prstGeom prst="rect">
                  <a:avLst/>
                </a:prstGeom>
                <a:solidFill>
                  <a:srgbClr val="FFFFFF"/>
                </a:solidFill>
                <a:ln w="9525">
                  <a:noFill/>
                  <a:miter lim="800000"/>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4" name="Rectangle 2635">
                  <a:extLst>
                    <a:ext uri="{FF2B5EF4-FFF2-40B4-BE49-F238E27FC236}"/>
                  </a:extLst>
                </p:cNvPr>
                <p:cNvSpPr>
                  <a:spLocks noChangeArrowheads="1"/>
                </p:cNvSpPr>
                <p:nvPr/>
              </p:nvSpPr>
              <p:spPr bwMode="auto">
                <a:xfrm>
                  <a:off x="1659965" y="4182427"/>
                  <a:ext cx="1841" cy="12886"/>
                </a:xfrm>
                <a:prstGeom prst="rect">
                  <a:avLst/>
                </a:prstGeom>
                <a:solidFill>
                  <a:srgbClr val="FFFFFF"/>
                </a:solidFill>
                <a:ln w="9525">
                  <a:noFill/>
                  <a:miter lim="800000"/>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5" name="Freeform 2636">
                  <a:extLst>
                    <a:ext uri="{FF2B5EF4-FFF2-40B4-BE49-F238E27FC236}"/>
                  </a:extLst>
                </p:cNvPr>
                <p:cNvSpPr>
                  <a:spLocks noEditPoints="1"/>
                </p:cNvSpPr>
                <p:nvPr/>
              </p:nvSpPr>
              <p:spPr bwMode="auto">
                <a:xfrm>
                  <a:off x="1577130" y="4095911"/>
                  <a:ext cx="143580" cy="104923"/>
                </a:xfrm>
                <a:custGeom>
                  <a:avLst/>
                  <a:gdLst>
                    <a:gd name="T0" fmla="*/ 165 w 224"/>
                    <a:gd name="T1" fmla="*/ 0 h 161"/>
                    <a:gd name="T2" fmla="*/ 57 w 224"/>
                    <a:gd name="T3" fmla="*/ 0 h 161"/>
                    <a:gd name="T4" fmla="*/ 0 w 224"/>
                    <a:gd name="T5" fmla="*/ 91 h 161"/>
                    <a:gd name="T6" fmla="*/ 0 w 224"/>
                    <a:gd name="T7" fmla="*/ 116 h 161"/>
                    <a:gd name="T8" fmla="*/ 23 w 224"/>
                    <a:gd name="T9" fmla="*/ 161 h 161"/>
                    <a:gd name="T10" fmla="*/ 201 w 224"/>
                    <a:gd name="T11" fmla="*/ 161 h 161"/>
                    <a:gd name="T12" fmla="*/ 224 w 224"/>
                    <a:gd name="T13" fmla="*/ 116 h 161"/>
                    <a:gd name="T14" fmla="*/ 224 w 224"/>
                    <a:gd name="T15" fmla="*/ 90 h 161"/>
                    <a:gd name="T16" fmla="*/ 165 w 224"/>
                    <a:gd name="T17" fmla="*/ 0 h 161"/>
                    <a:gd name="T18" fmla="*/ 26 w 224"/>
                    <a:gd name="T19" fmla="*/ 152 h 161"/>
                    <a:gd name="T20" fmla="*/ 17 w 224"/>
                    <a:gd name="T21" fmla="*/ 143 h 161"/>
                    <a:gd name="T22" fmla="*/ 26 w 224"/>
                    <a:gd name="T23" fmla="*/ 134 h 161"/>
                    <a:gd name="T24" fmla="*/ 35 w 224"/>
                    <a:gd name="T25" fmla="*/ 143 h 161"/>
                    <a:gd name="T26" fmla="*/ 26 w 224"/>
                    <a:gd name="T27" fmla="*/ 152 h 161"/>
                    <a:gd name="T28" fmla="*/ 51 w 224"/>
                    <a:gd name="T29" fmla="*/ 99 h 161"/>
                    <a:gd name="T30" fmla="*/ 7 w 224"/>
                    <a:gd name="T31" fmla="*/ 95 h 161"/>
                    <a:gd name="T32" fmla="*/ 8 w 224"/>
                    <a:gd name="T33" fmla="*/ 80 h 161"/>
                    <a:gd name="T34" fmla="*/ 36 w 224"/>
                    <a:gd name="T35" fmla="*/ 72 h 161"/>
                    <a:gd name="T36" fmla="*/ 51 w 224"/>
                    <a:gd name="T37" fmla="*/ 99 h 161"/>
                    <a:gd name="T38" fmla="*/ 154 w 224"/>
                    <a:gd name="T39" fmla="*/ 143 h 161"/>
                    <a:gd name="T40" fmla="*/ 154 w 224"/>
                    <a:gd name="T41" fmla="*/ 146 h 161"/>
                    <a:gd name="T42" fmla="*/ 147 w 224"/>
                    <a:gd name="T43" fmla="*/ 153 h 161"/>
                    <a:gd name="T44" fmla="*/ 79 w 224"/>
                    <a:gd name="T45" fmla="*/ 153 h 161"/>
                    <a:gd name="T46" fmla="*/ 72 w 224"/>
                    <a:gd name="T47" fmla="*/ 146 h 161"/>
                    <a:gd name="T48" fmla="*/ 72 w 224"/>
                    <a:gd name="T49" fmla="*/ 143 h 161"/>
                    <a:gd name="T50" fmla="*/ 76 w 224"/>
                    <a:gd name="T51" fmla="*/ 135 h 161"/>
                    <a:gd name="T52" fmla="*/ 151 w 224"/>
                    <a:gd name="T53" fmla="*/ 135 h 161"/>
                    <a:gd name="T54" fmla="*/ 154 w 224"/>
                    <a:gd name="T55" fmla="*/ 143 h 161"/>
                    <a:gd name="T56" fmla="*/ 145 w 224"/>
                    <a:gd name="T57" fmla="*/ 108 h 161"/>
                    <a:gd name="T58" fmla="*/ 112 w 224"/>
                    <a:gd name="T59" fmla="*/ 108 h 161"/>
                    <a:gd name="T60" fmla="*/ 78 w 224"/>
                    <a:gd name="T61" fmla="*/ 108 h 161"/>
                    <a:gd name="T62" fmla="*/ 66 w 224"/>
                    <a:gd name="T63" fmla="*/ 80 h 161"/>
                    <a:gd name="T64" fmla="*/ 112 w 224"/>
                    <a:gd name="T65" fmla="*/ 80 h 161"/>
                    <a:gd name="T66" fmla="*/ 157 w 224"/>
                    <a:gd name="T67" fmla="*/ 80 h 161"/>
                    <a:gd name="T68" fmla="*/ 145 w 224"/>
                    <a:gd name="T69" fmla="*/ 108 h 161"/>
                    <a:gd name="T70" fmla="*/ 199 w 224"/>
                    <a:gd name="T71" fmla="*/ 152 h 161"/>
                    <a:gd name="T72" fmla="*/ 191 w 224"/>
                    <a:gd name="T73" fmla="*/ 143 h 161"/>
                    <a:gd name="T74" fmla="*/ 199 w 224"/>
                    <a:gd name="T75" fmla="*/ 134 h 161"/>
                    <a:gd name="T76" fmla="*/ 208 w 224"/>
                    <a:gd name="T77" fmla="*/ 143 h 161"/>
                    <a:gd name="T78" fmla="*/ 199 w 224"/>
                    <a:gd name="T79" fmla="*/ 152 h 161"/>
                    <a:gd name="T80" fmla="*/ 216 w 224"/>
                    <a:gd name="T81" fmla="*/ 80 h 161"/>
                    <a:gd name="T82" fmla="*/ 217 w 224"/>
                    <a:gd name="T83" fmla="*/ 95 h 161"/>
                    <a:gd name="T84" fmla="*/ 173 w 224"/>
                    <a:gd name="T85" fmla="*/ 99 h 161"/>
                    <a:gd name="T86" fmla="*/ 188 w 224"/>
                    <a:gd name="T87" fmla="*/ 72 h 161"/>
                    <a:gd name="T88" fmla="*/ 216 w 224"/>
                    <a:gd name="T89" fmla="*/ 80 h 161"/>
                    <a:gd name="T90" fmla="*/ 111 w 224"/>
                    <a:gd name="T91" fmla="*/ 45 h 161"/>
                    <a:gd name="T92" fmla="*/ 27 w 224"/>
                    <a:gd name="T93" fmla="*/ 45 h 161"/>
                    <a:gd name="T94" fmla="*/ 55 w 224"/>
                    <a:gd name="T95" fmla="*/ 5 h 161"/>
                    <a:gd name="T96" fmla="*/ 111 w 224"/>
                    <a:gd name="T97" fmla="*/ 3 h 161"/>
                    <a:gd name="T98" fmla="*/ 167 w 224"/>
                    <a:gd name="T99" fmla="*/ 5 h 161"/>
                    <a:gd name="T100" fmla="*/ 195 w 224"/>
                    <a:gd name="T101" fmla="*/ 45 h 161"/>
                    <a:gd name="T102" fmla="*/ 111 w 224"/>
                    <a:gd name="T103" fmla="*/ 4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4" h="161">
                      <a:moveTo>
                        <a:pt x="165" y="0"/>
                      </a:moveTo>
                      <a:cubicBezTo>
                        <a:pt x="57" y="0"/>
                        <a:pt x="57" y="0"/>
                        <a:pt x="57" y="0"/>
                      </a:cubicBezTo>
                      <a:cubicBezTo>
                        <a:pt x="44" y="0"/>
                        <a:pt x="0" y="66"/>
                        <a:pt x="0" y="91"/>
                      </a:cubicBezTo>
                      <a:cubicBezTo>
                        <a:pt x="0" y="116"/>
                        <a:pt x="0" y="116"/>
                        <a:pt x="0" y="116"/>
                      </a:cubicBezTo>
                      <a:cubicBezTo>
                        <a:pt x="0" y="141"/>
                        <a:pt x="10" y="161"/>
                        <a:pt x="23" y="161"/>
                      </a:cubicBezTo>
                      <a:cubicBezTo>
                        <a:pt x="201" y="161"/>
                        <a:pt x="201" y="161"/>
                        <a:pt x="201" y="161"/>
                      </a:cubicBezTo>
                      <a:cubicBezTo>
                        <a:pt x="214" y="161"/>
                        <a:pt x="224" y="141"/>
                        <a:pt x="224" y="116"/>
                      </a:cubicBezTo>
                      <a:cubicBezTo>
                        <a:pt x="224" y="90"/>
                        <a:pt x="224" y="90"/>
                        <a:pt x="224" y="90"/>
                      </a:cubicBezTo>
                      <a:cubicBezTo>
                        <a:pt x="224" y="66"/>
                        <a:pt x="177" y="0"/>
                        <a:pt x="165" y="0"/>
                      </a:cubicBezTo>
                      <a:close/>
                      <a:moveTo>
                        <a:pt x="26" y="152"/>
                      </a:moveTo>
                      <a:cubicBezTo>
                        <a:pt x="21" y="152"/>
                        <a:pt x="17" y="148"/>
                        <a:pt x="17" y="143"/>
                      </a:cubicBezTo>
                      <a:cubicBezTo>
                        <a:pt x="17" y="138"/>
                        <a:pt x="21" y="134"/>
                        <a:pt x="26" y="134"/>
                      </a:cubicBezTo>
                      <a:cubicBezTo>
                        <a:pt x="31" y="134"/>
                        <a:pt x="35" y="138"/>
                        <a:pt x="35" y="143"/>
                      </a:cubicBezTo>
                      <a:cubicBezTo>
                        <a:pt x="35" y="148"/>
                        <a:pt x="31" y="152"/>
                        <a:pt x="26" y="152"/>
                      </a:cubicBezTo>
                      <a:close/>
                      <a:moveTo>
                        <a:pt x="51" y="99"/>
                      </a:moveTo>
                      <a:cubicBezTo>
                        <a:pt x="7" y="95"/>
                        <a:pt x="7" y="95"/>
                        <a:pt x="7" y="95"/>
                      </a:cubicBezTo>
                      <a:cubicBezTo>
                        <a:pt x="8" y="80"/>
                        <a:pt x="8" y="80"/>
                        <a:pt x="8" y="80"/>
                      </a:cubicBezTo>
                      <a:cubicBezTo>
                        <a:pt x="11" y="65"/>
                        <a:pt x="36" y="72"/>
                        <a:pt x="36" y="72"/>
                      </a:cubicBezTo>
                      <a:cubicBezTo>
                        <a:pt x="51" y="77"/>
                        <a:pt x="51" y="99"/>
                        <a:pt x="51" y="99"/>
                      </a:cubicBezTo>
                      <a:close/>
                      <a:moveTo>
                        <a:pt x="154" y="143"/>
                      </a:moveTo>
                      <a:cubicBezTo>
                        <a:pt x="154" y="146"/>
                        <a:pt x="154" y="146"/>
                        <a:pt x="154" y="146"/>
                      </a:cubicBezTo>
                      <a:cubicBezTo>
                        <a:pt x="154" y="150"/>
                        <a:pt x="151" y="153"/>
                        <a:pt x="147" y="153"/>
                      </a:cubicBezTo>
                      <a:cubicBezTo>
                        <a:pt x="79" y="153"/>
                        <a:pt x="79" y="153"/>
                        <a:pt x="79" y="153"/>
                      </a:cubicBezTo>
                      <a:cubicBezTo>
                        <a:pt x="75" y="153"/>
                        <a:pt x="72" y="150"/>
                        <a:pt x="72" y="146"/>
                      </a:cubicBezTo>
                      <a:cubicBezTo>
                        <a:pt x="72" y="143"/>
                        <a:pt x="72" y="143"/>
                        <a:pt x="72" y="143"/>
                      </a:cubicBezTo>
                      <a:cubicBezTo>
                        <a:pt x="72" y="139"/>
                        <a:pt x="72" y="135"/>
                        <a:pt x="76" y="135"/>
                      </a:cubicBezTo>
                      <a:cubicBezTo>
                        <a:pt x="151" y="135"/>
                        <a:pt x="151" y="135"/>
                        <a:pt x="151" y="135"/>
                      </a:cubicBezTo>
                      <a:cubicBezTo>
                        <a:pt x="155" y="135"/>
                        <a:pt x="154" y="139"/>
                        <a:pt x="154" y="143"/>
                      </a:cubicBezTo>
                      <a:close/>
                      <a:moveTo>
                        <a:pt x="145" y="108"/>
                      </a:moveTo>
                      <a:cubicBezTo>
                        <a:pt x="112" y="108"/>
                        <a:pt x="112" y="108"/>
                        <a:pt x="112" y="108"/>
                      </a:cubicBezTo>
                      <a:cubicBezTo>
                        <a:pt x="78" y="108"/>
                        <a:pt x="78" y="108"/>
                        <a:pt x="78" y="108"/>
                      </a:cubicBezTo>
                      <a:cubicBezTo>
                        <a:pt x="62" y="106"/>
                        <a:pt x="66" y="80"/>
                        <a:pt x="66" y="80"/>
                      </a:cubicBezTo>
                      <a:cubicBezTo>
                        <a:pt x="112" y="80"/>
                        <a:pt x="112" y="80"/>
                        <a:pt x="112" y="80"/>
                      </a:cubicBezTo>
                      <a:cubicBezTo>
                        <a:pt x="157" y="80"/>
                        <a:pt x="157" y="80"/>
                        <a:pt x="157" y="80"/>
                      </a:cubicBezTo>
                      <a:cubicBezTo>
                        <a:pt x="157" y="80"/>
                        <a:pt x="161" y="106"/>
                        <a:pt x="145" y="108"/>
                      </a:cubicBezTo>
                      <a:close/>
                      <a:moveTo>
                        <a:pt x="199" y="152"/>
                      </a:moveTo>
                      <a:cubicBezTo>
                        <a:pt x="195" y="152"/>
                        <a:pt x="191" y="148"/>
                        <a:pt x="191" y="143"/>
                      </a:cubicBezTo>
                      <a:cubicBezTo>
                        <a:pt x="191" y="138"/>
                        <a:pt x="195" y="134"/>
                        <a:pt x="199" y="134"/>
                      </a:cubicBezTo>
                      <a:cubicBezTo>
                        <a:pt x="204" y="134"/>
                        <a:pt x="208" y="138"/>
                        <a:pt x="208" y="143"/>
                      </a:cubicBezTo>
                      <a:cubicBezTo>
                        <a:pt x="208" y="148"/>
                        <a:pt x="204" y="152"/>
                        <a:pt x="199" y="152"/>
                      </a:cubicBezTo>
                      <a:close/>
                      <a:moveTo>
                        <a:pt x="216" y="80"/>
                      </a:moveTo>
                      <a:cubicBezTo>
                        <a:pt x="217" y="95"/>
                        <a:pt x="217" y="95"/>
                        <a:pt x="217" y="95"/>
                      </a:cubicBezTo>
                      <a:cubicBezTo>
                        <a:pt x="173" y="99"/>
                        <a:pt x="173" y="99"/>
                        <a:pt x="173" y="99"/>
                      </a:cubicBezTo>
                      <a:cubicBezTo>
                        <a:pt x="173" y="99"/>
                        <a:pt x="173" y="77"/>
                        <a:pt x="188" y="72"/>
                      </a:cubicBezTo>
                      <a:cubicBezTo>
                        <a:pt x="188" y="72"/>
                        <a:pt x="213" y="65"/>
                        <a:pt x="216" y="80"/>
                      </a:cubicBezTo>
                      <a:close/>
                      <a:moveTo>
                        <a:pt x="111" y="45"/>
                      </a:moveTo>
                      <a:cubicBezTo>
                        <a:pt x="27" y="45"/>
                        <a:pt x="27" y="45"/>
                        <a:pt x="27" y="45"/>
                      </a:cubicBezTo>
                      <a:cubicBezTo>
                        <a:pt x="27" y="45"/>
                        <a:pt x="36" y="13"/>
                        <a:pt x="55" y="5"/>
                      </a:cubicBezTo>
                      <a:cubicBezTo>
                        <a:pt x="111" y="3"/>
                        <a:pt x="111" y="3"/>
                        <a:pt x="111" y="3"/>
                      </a:cubicBezTo>
                      <a:cubicBezTo>
                        <a:pt x="167" y="5"/>
                        <a:pt x="167" y="5"/>
                        <a:pt x="167" y="5"/>
                      </a:cubicBezTo>
                      <a:cubicBezTo>
                        <a:pt x="185" y="13"/>
                        <a:pt x="195" y="45"/>
                        <a:pt x="195" y="45"/>
                      </a:cubicBezTo>
                      <a:lnTo>
                        <a:pt x="111" y="45"/>
                      </a:ln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6" name="Freeform 2637">
                  <a:extLst>
                    <a:ext uri="{FF2B5EF4-FFF2-40B4-BE49-F238E27FC236}"/>
                  </a:extLst>
                </p:cNvPr>
                <p:cNvSpPr>
                  <a:spLocks/>
                </p:cNvSpPr>
                <p:nvPr/>
              </p:nvSpPr>
              <p:spPr bwMode="auto">
                <a:xfrm>
                  <a:off x="1711506" y="4119841"/>
                  <a:ext cx="16568" cy="14726"/>
                </a:xfrm>
                <a:custGeom>
                  <a:avLst/>
                  <a:gdLst>
                    <a:gd name="T0" fmla="*/ 1 w 26"/>
                    <a:gd name="T1" fmla="*/ 4 h 22"/>
                    <a:gd name="T2" fmla="*/ 0 w 26"/>
                    <a:gd name="T3" fmla="*/ 9 h 22"/>
                    <a:gd name="T4" fmla="*/ 7 w 26"/>
                    <a:gd name="T5" fmla="*/ 22 h 22"/>
                    <a:gd name="T6" fmla="*/ 25 w 26"/>
                    <a:gd name="T7" fmla="*/ 15 h 22"/>
                    <a:gd name="T8" fmla="*/ 1 w 26"/>
                    <a:gd name="T9" fmla="*/ 4 h 22"/>
                  </a:gdLst>
                  <a:ahLst/>
                  <a:cxnLst>
                    <a:cxn ang="0">
                      <a:pos x="T0" y="T1"/>
                    </a:cxn>
                    <a:cxn ang="0">
                      <a:pos x="T2" y="T3"/>
                    </a:cxn>
                    <a:cxn ang="0">
                      <a:pos x="T4" y="T5"/>
                    </a:cxn>
                    <a:cxn ang="0">
                      <a:pos x="T6" y="T7"/>
                    </a:cxn>
                    <a:cxn ang="0">
                      <a:pos x="T8" y="T9"/>
                    </a:cxn>
                  </a:cxnLst>
                  <a:rect l="0" t="0" r="r" b="b"/>
                  <a:pathLst>
                    <a:path w="26" h="22">
                      <a:moveTo>
                        <a:pt x="1" y="4"/>
                      </a:moveTo>
                      <a:cubicBezTo>
                        <a:pt x="0" y="9"/>
                        <a:pt x="0" y="9"/>
                        <a:pt x="0" y="9"/>
                      </a:cubicBezTo>
                      <a:cubicBezTo>
                        <a:pt x="7" y="22"/>
                        <a:pt x="7" y="22"/>
                        <a:pt x="7" y="22"/>
                      </a:cubicBezTo>
                      <a:cubicBezTo>
                        <a:pt x="26" y="22"/>
                        <a:pt x="25" y="15"/>
                        <a:pt x="25" y="15"/>
                      </a:cubicBezTo>
                      <a:cubicBezTo>
                        <a:pt x="19" y="0"/>
                        <a:pt x="1" y="4"/>
                        <a:pt x="1" y="4"/>
                      </a:cubicBez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7" name="Freeform 2638">
                  <a:extLst>
                    <a:ext uri="{FF2B5EF4-FFF2-40B4-BE49-F238E27FC236}"/>
                  </a:extLst>
                </p:cNvPr>
                <p:cNvSpPr>
                  <a:spLocks/>
                </p:cNvSpPr>
                <p:nvPr/>
              </p:nvSpPr>
              <p:spPr bwMode="auto">
                <a:xfrm>
                  <a:off x="1571608" y="4119841"/>
                  <a:ext cx="16568" cy="14726"/>
                </a:xfrm>
                <a:custGeom>
                  <a:avLst/>
                  <a:gdLst>
                    <a:gd name="T0" fmla="*/ 0 w 25"/>
                    <a:gd name="T1" fmla="*/ 15 h 22"/>
                    <a:gd name="T2" fmla="*/ 18 w 25"/>
                    <a:gd name="T3" fmla="*/ 22 h 22"/>
                    <a:gd name="T4" fmla="*/ 25 w 25"/>
                    <a:gd name="T5" fmla="*/ 9 h 22"/>
                    <a:gd name="T6" fmla="*/ 24 w 25"/>
                    <a:gd name="T7" fmla="*/ 4 h 22"/>
                    <a:gd name="T8" fmla="*/ 0 w 25"/>
                    <a:gd name="T9" fmla="*/ 15 h 22"/>
                  </a:gdLst>
                  <a:ahLst/>
                  <a:cxnLst>
                    <a:cxn ang="0">
                      <a:pos x="T0" y="T1"/>
                    </a:cxn>
                    <a:cxn ang="0">
                      <a:pos x="T2" y="T3"/>
                    </a:cxn>
                    <a:cxn ang="0">
                      <a:pos x="T4" y="T5"/>
                    </a:cxn>
                    <a:cxn ang="0">
                      <a:pos x="T6" y="T7"/>
                    </a:cxn>
                    <a:cxn ang="0">
                      <a:pos x="T8" y="T9"/>
                    </a:cxn>
                  </a:cxnLst>
                  <a:rect l="0" t="0" r="r" b="b"/>
                  <a:pathLst>
                    <a:path w="25" h="22">
                      <a:moveTo>
                        <a:pt x="0" y="15"/>
                      </a:moveTo>
                      <a:cubicBezTo>
                        <a:pt x="0" y="15"/>
                        <a:pt x="0" y="22"/>
                        <a:pt x="18" y="22"/>
                      </a:cubicBezTo>
                      <a:cubicBezTo>
                        <a:pt x="25" y="9"/>
                        <a:pt x="25" y="9"/>
                        <a:pt x="25" y="9"/>
                      </a:cubicBezTo>
                      <a:cubicBezTo>
                        <a:pt x="24" y="4"/>
                        <a:pt x="24" y="4"/>
                        <a:pt x="24" y="4"/>
                      </a:cubicBezTo>
                      <a:cubicBezTo>
                        <a:pt x="24" y="4"/>
                        <a:pt x="6" y="0"/>
                        <a:pt x="0" y="15"/>
                      </a:cubicBez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8" name="Freeform 2639">
                  <a:extLst>
                    <a:ext uri="{FF2B5EF4-FFF2-40B4-BE49-F238E27FC236}"/>
                  </a:extLst>
                </p:cNvPr>
                <p:cNvSpPr>
                  <a:spLocks/>
                </p:cNvSpPr>
                <p:nvPr/>
              </p:nvSpPr>
              <p:spPr bwMode="auto">
                <a:xfrm>
                  <a:off x="1704143" y="4182427"/>
                  <a:ext cx="18408" cy="33134"/>
                </a:xfrm>
                <a:custGeom>
                  <a:avLst/>
                  <a:gdLst>
                    <a:gd name="T0" fmla="*/ 6 w 30"/>
                    <a:gd name="T1" fmla="*/ 29 h 52"/>
                    <a:gd name="T2" fmla="*/ 0 w 30"/>
                    <a:gd name="T3" fmla="*/ 29 h 52"/>
                    <a:gd name="T4" fmla="*/ 0 w 30"/>
                    <a:gd name="T5" fmla="*/ 45 h 52"/>
                    <a:gd name="T6" fmla="*/ 7 w 30"/>
                    <a:gd name="T7" fmla="*/ 52 h 52"/>
                    <a:gd name="T8" fmla="*/ 22 w 30"/>
                    <a:gd name="T9" fmla="*/ 52 h 52"/>
                    <a:gd name="T10" fmla="*/ 30 w 30"/>
                    <a:gd name="T11" fmla="*/ 45 h 52"/>
                    <a:gd name="T12" fmla="*/ 30 w 30"/>
                    <a:gd name="T13" fmla="*/ 5 h 52"/>
                    <a:gd name="T14" fmla="*/ 27 w 30"/>
                    <a:gd name="T15" fmla="*/ 0 h 52"/>
                    <a:gd name="T16" fmla="*/ 6 w 30"/>
                    <a:gd name="T1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2">
                      <a:moveTo>
                        <a:pt x="6" y="29"/>
                      </a:moveTo>
                      <a:cubicBezTo>
                        <a:pt x="0" y="29"/>
                        <a:pt x="0" y="29"/>
                        <a:pt x="0" y="29"/>
                      </a:cubicBezTo>
                      <a:cubicBezTo>
                        <a:pt x="0" y="45"/>
                        <a:pt x="0" y="45"/>
                        <a:pt x="0" y="45"/>
                      </a:cubicBezTo>
                      <a:cubicBezTo>
                        <a:pt x="0" y="49"/>
                        <a:pt x="3" y="52"/>
                        <a:pt x="7" y="52"/>
                      </a:cubicBezTo>
                      <a:cubicBezTo>
                        <a:pt x="22" y="52"/>
                        <a:pt x="22" y="52"/>
                        <a:pt x="22" y="52"/>
                      </a:cubicBezTo>
                      <a:cubicBezTo>
                        <a:pt x="26" y="52"/>
                        <a:pt x="30" y="49"/>
                        <a:pt x="30" y="45"/>
                      </a:cubicBezTo>
                      <a:cubicBezTo>
                        <a:pt x="30" y="5"/>
                        <a:pt x="30" y="5"/>
                        <a:pt x="30" y="5"/>
                      </a:cubicBezTo>
                      <a:cubicBezTo>
                        <a:pt x="30" y="3"/>
                        <a:pt x="29" y="1"/>
                        <a:pt x="27" y="0"/>
                      </a:cubicBezTo>
                      <a:cubicBezTo>
                        <a:pt x="24" y="16"/>
                        <a:pt x="15" y="29"/>
                        <a:pt x="6" y="29"/>
                      </a:cubicBez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9" name="Freeform 2640">
                  <a:extLst>
                    <a:ext uri="{FF2B5EF4-FFF2-40B4-BE49-F238E27FC236}"/>
                  </a:extLst>
                </p:cNvPr>
                <p:cNvSpPr>
                  <a:spLocks/>
                </p:cNvSpPr>
                <p:nvPr/>
              </p:nvSpPr>
              <p:spPr bwMode="auto">
                <a:xfrm>
                  <a:off x="1577130" y="4182427"/>
                  <a:ext cx="18408" cy="33134"/>
                </a:xfrm>
                <a:custGeom>
                  <a:avLst/>
                  <a:gdLst>
                    <a:gd name="T0" fmla="*/ 2 w 30"/>
                    <a:gd name="T1" fmla="*/ 0 h 52"/>
                    <a:gd name="T2" fmla="*/ 0 w 30"/>
                    <a:gd name="T3" fmla="*/ 5 h 52"/>
                    <a:gd name="T4" fmla="*/ 0 w 30"/>
                    <a:gd name="T5" fmla="*/ 45 h 52"/>
                    <a:gd name="T6" fmla="*/ 7 w 30"/>
                    <a:gd name="T7" fmla="*/ 52 h 52"/>
                    <a:gd name="T8" fmla="*/ 22 w 30"/>
                    <a:gd name="T9" fmla="*/ 52 h 52"/>
                    <a:gd name="T10" fmla="*/ 30 w 30"/>
                    <a:gd name="T11" fmla="*/ 45 h 52"/>
                    <a:gd name="T12" fmla="*/ 30 w 30"/>
                    <a:gd name="T13" fmla="*/ 29 h 52"/>
                    <a:gd name="T14" fmla="*/ 23 w 30"/>
                    <a:gd name="T15" fmla="*/ 29 h 52"/>
                    <a:gd name="T16" fmla="*/ 2 w 3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52">
                      <a:moveTo>
                        <a:pt x="2" y="0"/>
                      </a:moveTo>
                      <a:cubicBezTo>
                        <a:pt x="1" y="1"/>
                        <a:pt x="0" y="3"/>
                        <a:pt x="0" y="5"/>
                      </a:cubicBezTo>
                      <a:cubicBezTo>
                        <a:pt x="0" y="45"/>
                        <a:pt x="0" y="45"/>
                        <a:pt x="0" y="45"/>
                      </a:cubicBezTo>
                      <a:cubicBezTo>
                        <a:pt x="0" y="49"/>
                        <a:pt x="3" y="52"/>
                        <a:pt x="7" y="52"/>
                      </a:cubicBezTo>
                      <a:cubicBezTo>
                        <a:pt x="22" y="52"/>
                        <a:pt x="22" y="52"/>
                        <a:pt x="22" y="52"/>
                      </a:cubicBezTo>
                      <a:cubicBezTo>
                        <a:pt x="26" y="52"/>
                        <a:pt x="30" y="49"/>
                        <a:pt x="30" y="45"/>
                      </a:cubicBezTo>
                      <a:cubicBezTo>
                        <a:pt x="30" y="29"/>
                        <a:pt x="30" y="29"/>
                        <a:pt x="30" y="29"/>
                      </a:cubicBezTo>
                      <a:cubicBezTo>
                        <a:pt x="23" y="29"/>
                        <a:pt x="23" y="29"/>
                        <a:pt x="23" y="29"/>
                      </a:cubicBezTo>
                      <a:cubicBezTo>
                        <a:pt x="14" y="29"/>
                        <a:pt x="5" y="16"/>
                        <a:pt x="2" y="0"/>
                      </a:cubicBez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grpSp>
          <p:sp>
            <p:nvSpPr>
              <p:cNvPr id="139" name="Freeform 2645">
                <a:extLst>
                  <a:ext uri="{FF2B5EF4-FFF2-40B4-BE49-F238E27FC236}"/>
                </a:extLst>
              </p:cNvPr>
              <p:cNvSpPr>
                <a:spLocks/>
              </p:cNvSpPr>
              <p:nvPr/>
            </p:nvSpPr>
            <p:spPr bwMode="auto">
              <a:xfrm>
                <a:off x="1533940" y="4263238"/>
                <a:ext cx="155418" cy="4758"/>
              </a:xfrm>
              <a:custGeom>
                <a:avLst/>
                <a:gdLst>
                  <a:gd name="T0" fmla="*/ 0 w 855"/>
                  <a:gd name="T1" fmla="*/ 0 h 19"/>
                  <a:gd name="T2" fmla="*/ 0 w 855"/>
                  <a:gd name="T3" fmla="*/ 19 h 19"/>
                  <a:gd name="T4" fmla="*/ 427 w 855"/>
                  <a:gd name="T5" fmla="*/ 19 h 19"/>
                  <a:gd name="T6" fmla="*/ 855 w 855"/>
                  <a:gd name="T7" fmla="*/ 19 h 19"/>
                  <a:gd name="T8" fmla="*/ 855 w 855"/>
                  <a:gd name="T9" fmla="*/ 0 h 19"/>
                  <a:gd name="T10" fmla="*/ 427 w 855"/>
                  <a:gd name="T11" fmla="*/ 0 h 19"/>
                  <a:gd name="T12" fmla="*/ 0 w 85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855" h="19">
                    <a:moveTo>
                      <a:pt x="0" y="0"/>
                    </a:moveTo>
                    <a:lnTo>
                      <a:pt x="0" y="19"/>
                    </a:lnTo>
                    <a:lnTo>
                      <a:pt x="427" y="19"/>
                    </a:lnTo>
                    <a:lnTo>
                      <a:pt x="855" y="19"/>
                    </a:lnTo>
                    <a:lnTo>
                      <a:pt x="855" y="0"/>
                    </a:lnTo>
                    <a:lnTo>
                      <a:pt x="427" y="0"/>
                    </a:lnTo>
                    <a:lnTo>
                      <a:pt x="0" y="0"/>
                    </a:ln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0" name="Freeform 2646">
                <a:extLst>
                  <a:ext uri="{FF2B5EF4-FFF2-40B4-BE49-F238E27FC236}"/>
                </a:extLst>
              </p:cNvPr>
              <p:cNvSpPr>
                <a:spLocks/>
              </p:cNvSpPr>
              <p:nvPr/>
            </p:nvSpPr>
            <p:spPr bwMode="auto">
              <a:xfrm>
                <a:off x="1551386" y="4255309"/>
                <a:ext cx="155418" cy="6344"/>
              </a:xfrm>
              <a:custGeom>
                <a:avLst/>
                <a:gdLst>
                  <a:gd name="T0" fmla="*/ 364 w 729"/>
                  <a:gd name="T1" fmla="*/ 0 h 21"/>
                  <a:gd name="T2" fmla="*/ 15 w 729"/>
                  <a:gd name="T3" fmla="*/ 0 h 21"/>
                  <a:gd name="T4" fmla="*/ 0 w 729"/>
                  <a:gd name="T5" fmla="*/ 21 h 21"/>
                  <a:gd name="T6" fmla="*/ 364 w 729"/>
                  <a:gd name="T7" fmla="*/ 21 h 21"/>
                  <a:gd name="T8" fmla="*/ 729 w 729"/>
                  <a:gd name="T9" fmla="*/ 21 h 21"/>
                  <a:gd name="T10" fmla="*/ 714 w 729"/>
                  <a:gd name="T11" fmla="*/ 0 h 21"/>
                  <a:gd name="T12" fmla="*/ 364 w 72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729" h="21">
                    <a:moveTo>
                      <a:pt x="364" y="0"/>
                    </a:moveTo>
                    <a:lnTo>
                      <a:pt x="15" y="0"/>
                    </a:lnTo>
                    <a:lnTo>
                      <a:pt x="0" y="21"/>
                    </a:lnTo>
                    <a:lnTo>
                      <a:pt x="364" y="21"/>
                    </a:lnTo>
                    <a:lnTo>
                      <a:pt x="729" y="21"/>
                    </a:lnTo>
                    <a:lnTo>
                      <a:pt x="714" y="0"/>
                    </a:lnTo>
                    <a:lnTo>
                      <a:pt x="364" y="0"/>
                    </a:lnTo>
                    <a:close/>
                  </a:path>
                </a:pathLst>
              </a:custGeom>
              <a:solidFill>
                <a:srgbClr val="FFFFFF"/>
              </a:solidFill>
              <a:ln w="9525">
                <a:noFill/>
                <a:round/>
                <a:headEnd/>
                <a:tailEnd/>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41" name="Freeform 110">
                <a:extLst>
                  <a:ext uri="{FF2B5EF4-FFF2-40B4-BE49-F238E27FC236}"/>
                </a:extLst>
              </p:cNvPr>
              <p:cNvSpPr>
                <a:spLocks noEditPoints="1"/>
              </p:cNvSpPr>
              <p:nvPr/>
            </p:nvSpPr>
            <p:spPr bwMode="auto">
              <a:xfrm flipH="1">
                <a:off x="1410240" y="4112578"/>
                <a:ext cx="152246" cy="176034"/>
              </a:xfrm>
              <a:custGeom>
                <a:avLst/>
                <a:gdLst>
                  <a:gd name="T0" fmla="*/ 33 w 158"/>
                  <a:gd name="T1" fmla="*/ 0 h 182"/>
                  <a:gd name="T2" fmla="*/ 11 w 158"/>
                  <a:gd name="T3" fmla="*/ 21 h 182"/>
                  <a:gd name="T4" fmla="*/ 33 w 158"/>
                  <a:gd name="T5" fmla="*/ 45 h 182"/>
                  <a:gd name="T6" fmla="*/ 56 w 158"/>
                  <a:gd name="T7" fmla="*/ 23 h 182"/>
                  <a:gd name="T8" fmla="*/ 35 w 158"/>
                  <a:gd name="T9" fmla="*/ 0 h 182"/>
                  <a:gd name="T10" fmla="*/ 33 w 158"/>
                  <a:gd name="T11" fmla="*/ 0 h 182"/>
                  <a:gd name="T12" fmla="*/ 65 w 158"/>
                  <a:gd name="T13" fmla="*/ 31 h 182"/>
                  <a:gd name="T14" fmla="*/ 57 w 158"/>
                  <a:gd name="T15" fmla="*/ 37 h 182"/>
                  <a:gd name="T16" fmla="*/ 47 w 158"/>
                  <a:gd name="T17" fmla="*/ 51 h 182"/>
                  <a:gd name="T18" fmla="*/ 50 w 158"/>
                  <a:gd name="T19" fmla="*/ 63 h 182"/>
                  <a:gd name="T20" fmla="*/ 70 w 158"/>
                  <a:gd name="T21" fmla="*/ 96 h 182"/>
                  <a:gd name="T22" fmla="*/ 42 w 158"/>
                  <a:gd name="T23" fmla="*/ 118 h 182"/>
                  <a:gd name="T24" fmla="*/ 37 w 158"/>
                  <a:gd name="T25" fmla="*/ 129 h 182"/>
                  <a:gd name="T26" fmla="*/ 39 w 158"/>
                  <a:gd name="T27" fmla="*/ 170 h 182"/>
                  <a:gd name="T28" fmla="*/ 53 w 158"/>
                  <a:gd name="T29" fmla="*/ 180 h 182"/>
                  <a:gd name="T30" fmla="*/ 61 w 158"/>
                  <a:gd name="T31" fmla="*/ 167 h 182"/>
                  <a:gd name="T32" fmla="*/ 60 w 158"/>
                  <a:gd name="T33" fmla="*/ 132 h 182"/>
                  <a:gd name="T34" fmla="*/ 100 w 158"/>
                  <a:gd name="T35" fmla="*/ 101 h 182"/>
                  <a:gd name="T36" fmla="*/ 105 w 158"/>
                  <a:gd name="T37" fmla="*/ 92 h 182"/>
                  <a:gd name="T38" fmla="*/ 101 w 158"/>
                  <a:gd name="T39" fmla="*/ 81 h 182"/>
                  <a:gd name="T40" fmla="*/ 82 w 158"/>
                  <a:gd name="T41" fmla="*/ 50 h 182"/>
                  <a:gd name="T42" fmla="*/ 98 w 158"/>
                  <a:gd name="T43" fmla="*/ 52 h 182"/>
                  <a:gd name="T44" fmla="*/ 114 w 158"/>
                  <a:gd name="T45" fmla="*/ 77 h 182"/>
                  <a:gd name="T46" fmla="*/ 128 w 158"/>
                  <a:gd name="T47" fmla="*/ 77 h 182"/>
                  <a:gd name="T48" fmla="*/ 128 w 158"/>
                  <a:gd name="T49" fmla="*/ 66 h 182"/>
                  <a:gd name="T50" fmla="*/ 111 w 158"/>
                  <a:gd name="T51" fmla="*/ 37 h 182"/>
                  <a:gd name="T52" fmla="*/ 102 w 158"/>
                  <a:gd name="T53" fmla="*/ 34 h 182"/>
                  <a:gd name="T54" fmla="*/ 65 w 158"/>
                  <a:gd name="T55" fmla="*/ 31 h 182"/>
                  <a:gd name="T56" fmla="*/ 42 w 158"/>
                  <a:gd name="T57" fmla="*/ 63 h 182"/>
                  <a:gd name="T58" fmla="*/ 29 w 158"/>
                  <a:gd name="T59" fmla="*/ 84 h 182"/>
                  <a:gd name="T60" fmla="*/ 13 w 158"/>
                  <a:gd name="T61" fmla="*/ 78 h 182"/>
                  <a:gd name="T62" fmla="*/ 2 w 158"/>
                  <a:gd name="T63" fmla="*/ 82 h 182"/>
                  <a:gd name="T64" fmla="*/ 1 w 158"/>
                  <a:gd name="T65" fmla="*/ 89 h 182"/>
                  <a:gd name="T66" fmla="*/ 8 w 158"/>
                  <a:gd name="T67" fmla="*/ 95 h 182"/>
                  <a:gd name="T68" fmla="*/ 30 w 158"/>
                  <a:gd name="T69" fmla="*/ 104 h 182"/>
                  <a:gd name="T70" fmla="*/ 38 w 158"/>
                  <a:gd name="T71" fmla="*/ 103 h 182"/>
                  <a:gd name="T72" fmla="*/ 41 w 158"/>
                  <a:gd name="T73" fmla="*/ 100 h 182"/>
                  <a:gd name="T74" fmla="*/ 53 w 158"/>
                  <a:gd name="T75" fmla="*/ 81 h 182"/>
                  <a:gd name="T76" fmla="*/ 42 w 158"/>
                  <a:gd name="T77" fmla="*/ 63 h 182"/>
                  <a:gd name="T78" fmla="*/ 109 w 158"/>
                  <a:gd name="T79" fmla="*/ 100 h 182"/>
                  <a:gd name="T80" fmla="*/ 107 w 158"/>
                  <a:gd name="T81" fmla="*/ 104 h 182"/>
                  <a:gd name="T82" fmla="*/ 92 w 158"/>
                  <a:gd name="T83" fmla="*/ 116 h 182"/>
                  <a:gd name="T84" fmla="*/ 114 w 158"/>
                  <a:gd name="T85" fmla="*/ 144 h 182"/>
                  <a:gd name="T86" fmla="*/ 122 w 158"/>
                  <a:gd name="T87" fmla="*/ 148 h 182"/>
                  <a:gd name="T88" fmla="*/ 130 w 158"/>
                  <a:gd name="T89" fmla="*/ 146 h 182"/>
                  <a:gd name="T90" fmla="*/ 152 w 158"/>
                  <a:gd name="T91" fmla="*/ 134 h 182"/>
                  <a:gd name="T92" fmla="*/ 157 w 158"/>
                  <a:gd name="T93" fmla="*/ 121 h 182"/>
                  <a:gd name="T94" fmla="*/ 147 w 158"/>
                  <a:gd name="T95" fmla="*/ 115 h 182"/>
                  <a:gd name="T96" fmla="*/ 139 w 158"/>
                  <a:gd name="T97" fmla="*/ 117 h 182"/>
                  <a:gd name="T98" fmla="*/ 127 w 158"/>
                  <a:gd name="T99" fmla="*/ 124 h 182"/>
                  <a:gd name="T100" fmla="*/ 111 w 158"/>
                  <a:gd name="T101" fmla="*/ 103 h 182"/>
                  <a:gd name="T102" fmla="*/ 109 w 158"/>
                  <a:gd name="T103" fmla="*/ 10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 h="182">
                    <a:moveTo>
                      <a:pt x="33" y="0"/>
                    </a:moveTo>
                    <a:cubicBezTo>
                      <a:pt x="21" y="0"/>
                      <a:pt x="12" y="9"/>
                      <a:pt x="11" y="21"/>
                    </a:cubicBezTo>
                    <a:cubicBezTo>
                      <a:pt x="11" y="33"/>
                      <a:pt x="20" y="44"/>
                      <a:pt x="33" y="45"/>
                    </a:cubicBezTo>
                    <a:cubicBezTo>
                      <a:pt x="45" y="45"/>
                      <a:pt x="56" y="36"/>
                      <a:pt x="56" y="23"/>
                    </a:cubicBezTo>
                    <a:cubicBezTo>
                      <a:pt x="57" y="11"/>
                      <a:pt x="48" y="0"/>
                      <a:pt x="35" y="0"/>
                    </a:cubicBezTo>
                    <a:cubicBezTo>
                      <a:pt x="34" y="0"/>
                      <a:pt x="34" y="0"/>
                      <a:pt x="33" y="0"/>
                    </a:cubicBezTo>
                    <a:close/>
                    <a:moveTo>
                      <a:pt x="65" y="31"/>
                    </a:moveTo>
                    <a:cubicBezTo>
                      <a:pt x="61" y="31"/>
                      <a:pt x="59" y="34"/>
                      <a:pt x="57" y="37"/>
                    </a:cubicBezTo>
                    <a:cubicBezTo>
                      <a:pt x="53" y="41"/>
                      <a:pt x="49" y="46"/>
                      <a:pt x="47" y="51"/>
                    </a:cubicBezTo>
                    <a:cubicBezTo>
                      <a:pt x="45" y="56"/>
                      <a:pt x="48" y="60"/>
                      <a:pt x="50" y="63"/>
                    </a:cubicBezTo>
                    <a:cubicBezTo>
                      <a:pt x="57" y="74"/>
                      <a:pt x="64" y="85"/>
                      <a:pt x="70" y="96"/>
                    </a:cubicBezTo>
                    <a:cubicBezTo>
                      <a:pt x="61" y="103"/>
                      <a:pt x="51" y="110"/>
                      <a:pt x="42" y="118"/>
                    </a:cubicBezTo>
                    <a:cubicBezTo>
                      <a:pt x="39" y="121"/>
                      <a:pt x="37" y="125"/>
                      <a:pt x="37" y="129"/>
                    </a:cubicBezTo>
                    <a:cubicBezTo>
                      <a:pt x="38" y="143"/>
                      <a:pt x="38" y="157"/>
                      <a:pt x="39" y="170"/>
                    </a:cubicBezTo>
                    <a:cubicBezTo>
                      <a:pt x="40" y="177"/>
                      <a:pt x="47" y="182"/>
                      <a:pt x="53" y="180"/>
                    </a:cubicBezTo>
                    <a:cubicBezTo>
                      <a:pt x="59" y="178"/>
                      <a:pt x="62" y="172"/>
                      <a:pt x="61" y="167"/>
                    </a:cubicBezTo>
                    <a:cubicBezTo>
                      <a:pt x="61" y="155"/>
                      <a:pt x="61" y="144"/>
                      <a:pt x="60" y="132"/>
                    </a:cubicBezTo>
                    <a:cubicBezTo>
                      <a:pt x="73" y="122"/>
                      <a:pt x="87" y="112"/>
                      <a:pt x="100" y="101"/>
                    </a:cubicBezTo>
                    <a:cubicBezTo>
                      <a:pt x="103" y="99"/>
                      <a:pt x="104" y="95"/>
                      <a:pt x="105" y="92"/>
                    </a:cubicBezTo>
                    <a:cubicBezTo>
                      <a:pt x="105" y="88"/>
                      <a:pt x="103" y="84"/>
                      <a:pt x="101" y="81"/>
                    </a:cubicBezTo>
                    <a:cubicBezTo>
                      <a:pt x="95" y="71"/>
                      <a:pt x="89" y="61"/>
                      <a:pt x="82" y="50"/>
                    </a:cubicBezTo>
                    <a:cubicBezTo>
                      <a:pt x="98" y="52"/>
                      <a:pt x="98" y="52"/>
                      <a:pt x="98" y="52"/>
                    </a:cubicBezTo>
                    <a:cubicBezTo>
                      <a:pt x="104" y="60"/>
                      <a:pt x="109" y="69"/>
                      <a:pt x="114" y="77"/>
                    </a:cubicBezTo>
                    <a:cubicBezTo>
                      <a:pt x="117" y="82"/>
                      <a:pt x="125" y="82"/>
                      <a:pt x="128" y="77"/>
                    </a:cubicBezTo>
                    <a:cubicBezTo>
                      <a:pt x="131" y="74"/>
                      <a:pt x="131" y="69"/>
                      <a:pt x="128" y="66"/>
                    </a:cubicBezTo>
                    <a:cubicBezTo>
                      <a:pt x="122" y="56"/>
                      <a:pt x="116" y="47"/>
                      <a:pt x="111" y="37"/>
                    </a:cubicBezTo>
                    <a:cubicBezTo>
                      <a:pt x="109" y="34"/>
                      <a:pt x="105" y="34"/>
                      <a:pt x="102" y="34"/>
                    </a:cubicBezTo>
                    <a:cubicBezTo>
                      <a:pt x="89" y="33"/>
                      <a:pt x="77" y="32"/>
                      <a:pt x="65" y="31"/>
                    </a:cubicBezTo>
                    <a:close/>
                    <a:moveTo>
                      <a:pt x="42" y="63"/>
                    </a:moveTo>
                    <a:cubicBezTo>
                      <a:pt x="29" y="84"/>
                      <a:pt x="29" y="84"/>
                      <a:pt x="29" y="84"/>
                    </a:cubicBezTo>
                    <a:cubicBezTo>
                      <a:pt x="23" y="82"/>
                      <a:pt x="18" y="80"/>
                      <a:pt x="13" y="78"/>
                    </a:cubicBezTo>
                    <a:cubicBezTo>
                      <a:pt x="9" y="77"/>
                      <a:pt x="4" y="78"/>
                      <a:pt x="2" y="82"/>
                    </a:cubicBezTo>
                    <a:cubicBezTo>
                      <a:pt x="1" y="84"/>
                      <a:pt x="0" y="86"/>
                      <a:pt x="1" y="89"/>
                    </a:cubicBezTo>
                    <a:cubicBezTo>
                      <a:pt x="2" y="92"/>
                      <a:pt x="5" y="94"/>
                      <a:pt x="8" y="95"/>
                    </a:cubicBezTo>
                    <a:cubicBezTo>
                      <a:pt x="15" y="98"/>
                      <a:pt x="23" y="101"/>
                      <a:pt x="30" y="104"/>
                    </a:cubicBezTo>
                    <a:cubicBezTo>
                      <a:pt x="32" y="104"/>
                      <a:pt x="35" y="105"/>
                      <a:pt x="38" y="103"/>
                    </a:cubicBezTo>
                    <a:cubicBezTo>
                      <a:pt x="39" y="103"/>
                      <a:pt x="40" y="101"/>
                      <a:pt x="41" y="100"/>
                    </a:cubicBezTo>
                    <a:cubicBezTo>
                      <a:pt x="53" y="81"/>
                      <a:pt x="53" y="81"/>
                      <a:pt x="53" y="81"/>
                    </a:cubicBezTo>
                    <a:cubicBezTo>
                      <a:pt x="50" y="75"/>
                      <a:pt x="46" y="69"/>
                      <a:pt x="42" y="63"/>
                    </a:cubicBezTo>
                    <a:close/>
                    <a:moveTo>
                      <a:pt x="109" y="100"/>
                    </a:moveTo>
                    <a:cubicBezTo>
                      <a:pt x="108" y="101"/>
                      <a:pt x="108" y="103"/>
                      <a:pt x="107" y="104"/>
                    </a:cubicBezTo>
                    <a:cubicBezTo>
                      <a:pt x="92" y="116"/>
                      <a:pt x="92" y="116"/>
                      <a:pt x="92" y="116"/>
                    </a:cubicBezTo>
                    <a:cubicBezTo>
                      <a:pt x="99" y="125"/>
                      <a:pt x="107" y="134"/>
                      <a:pt x="114" y="144"/>
                    </a:cubicBezTo>
                    <a:cubicBezTo>
                      <a:pt x="116" y="146"/>
                      <a:pt x="119" y="148"/>
                      <a:pt x="122" y="148"/>
                    </a:cubicBezTo>
                    <a:cubicBezTo>
                      <a:pt x="125" y="148"/>
                      <a:pt x="128" y="147"/>
                      <a:pt x="130" y="146"/>
                    </a:cubicBezTo>
                    <a:cubicBezTo>
                      <a:pt x="137" y="142"/>
                      <a:pt x="145" y="138"/>
                      <a:pt x="152" y="134"/>
                    </a:cubicBezTo>
                    <a:cubicBezTo>
                      <a:pt x="156" y="132"/>
                      <a:pt x="158" y="126"/>
                      <a:pt x="157" y="121"/>
                    </a:cubicBezTo>
                    <a:cubicBezTo>
                      <a:pt x="155" y="117"/>
                      <a:pt x="151" y="114"/>
                      <a:pt x="147" y="115"/>
                    </a:cubicBezTo>
                    <a:cubicBezTo>
                      <a:pt x="144" y="115"/>
                      <a:pt x="142" y="116"/>
                      <a:pt x="139" y="117"/>
                    </a:cubicBezTo>
                    <a:cubicBezTo>
                      <a:pt x="135" y="119"/>
                      <a:pt x="131" y="122"/>
                      <a:pt x="127" y="124"/>
                    </a:cubicBezTo>
                    <a:cubicBezTo>
                      <a:pt x="122" y="117"/>
                      <a:pt x="116" y="110"/>
                      <a:pt x="111" y="103"/>
                    </a:cubicBezTo>
                    <a:cubicBezTo>
                      <a:pt x="110" y="102"/>
                      <a:pt x="109" y="101"/>
                      <a:pt x="109" y="100"/>
                    </a:cubicBezTo>
                    <a:close/>
                  </a:path>
                </a:pathLst>
              </a:custGeom>
              <a:solidFill>
                <a:srgbClr val="FFFFFF"/>
              </a:solidFill>
              <a:ln>
                <a:noFill/>
              </a:ln>
              <a:extLst/>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grpSp>
      </p:grpSp>
      <p:grpSp>
        <p:nvGrpSpPr>
          <p:cNvPr id="77861" name="Gruppieren 5"/>
          <p:cNvGrpSpPr>
            <a:grpSpLocks/>
          </p:cNvGrpSpPr>
          <p:nvPr/>
        </p:nvGrpSpPr>
        <p:grpSpPr bwMode="auto">
          <a:xfrm>
            <a:off x="6824663" y="2878138"/>
            <a:ext cx="358775" cy="360362"/>
            <a:chOff x="1315816" y="1733333"/>
            <a:chExt cx="720000" cy="720000"/>
          </a:xfrm>
        </p:grpSpPr>
        <p:sp>
          <p:nvSpPr>
            <p:cNvPr id="151" name="Ellipse 382">
              <a:extLst>
                <a:ext uri="{FF2B5EF4-FFF2-40B4-BE49-F238E27FC236}"/>
              </a:extLst>
            </p:cNvPr>
            <p:cNvSpPr/>
            <p:nvPr/>
          </p:nvSpPr>
          <p:spPr bwMode="gray">
            <a:xfrm>
              <a:off x="1315816" y="1733333"/>
              <a:ext cx="720000" cy="720000"/>
            </a:xfrm>
            <a:prstGeom prst="ellipse">
              <a:avLst/>
            </a:prstGeom>
            <a:solidFill>
              <a:srgbClr val="FF7A0B"/>
            </a:solidFill>
            <a:ln w="12700">
              <a:noFill/>
              <a:round/>
              <a:headEnd/>
              <a:tailEnd/>
            </a:ln>
          </p:spPr>
          <p:txBody>
            <a:bodyPr anchor="ctr"/>
            <a:lstStyle/>
            <a:p>
              <a:pPr algn="ctr" eaLnBrk="1" fontAlgn="auto" hangingPunct="1">
                <a:lnSpc>
                  <a:spcPct val="90000"/>
                </a:lnSpc>
                <a:spcBef>
                  <a:spcPts val="0"/>
                </a:spcBef>
                <a:spcAft>
                  <a:spcPts val="0"/>
                </a:spcAft>
                <a:defRPr/>
              </a:pPr>
              <a:endParaRPr lang="en-US" kern="0" dirty="0">
                <a:solidFill>
                  <a:srgbClr val="000000"/>
                </a:solidFill>
              </a:endParaRPr>
            </a:p>
          </p:txBody>
        </p:sp>
        <p:sp>
          <p:nvSpPr>
            <p:cNvPr id="152" name="Freeform 243">
              <a:extLst>
                <a:ext uri="{FF2B5EF4-FFF2-40B4-BE49-F238E27FC236}"/>
              </a:extLst>
            </p:cNvPr>
            <p:cNvSpPr>
              <a:spLocks noEditPoints="1"/>
            </p:cNvSpPr>
            <p:nvPr/>
          </p:nvSpPr>
          <p:spPr bwMode="auto">
            <a:xfrm>
              <a:off x="1436878" y="1882407"/>
              <a:ext cx="477876" cy="421852"/>
            </a:xfrm>
            <a:custGeom>
              <a:avLst/>
              <a:gdLst>
                <a:gd name="T0" fmla="*/ 60 w 81"/>
                <a:gd name="T1" fmla="*/ 71 h 71"/>
                <a:gd name="T2" fmla="*/ 39 w 81"/>
                <a:gd name="T3" fmla="*/ 50 h 71"/>
                <a:gd name="T4" fmla="*/ 60 w 81"/>
                <a:gd name="T5" fmla="*/ 48 h 71"/>
                <a:gd name="T6" fmla="*/ 81 w 81"/>
                <a:gd name="T7" fmla="*/ 50 h 71"/>
                <a:gd name="T8" fmla="*/ 60 w 81"/>
                <a:gd name="T9" fmla="*/ 71 h 71"/>
                <a:gd name="T10" fmla="*/ 5 w 81"/>
                <a:gd name="T11" fmla="*/ 0 h 71"/>
                <a:gd name="T12" fmla="*/ 0 w 81"/>
                <a:gd name="T13" fmla="*/ 5 h 71"/>
                <a:gd name="T14" fmla="*/ 0 w 81"/>
                <a:gd name="T15" fmla="*/ 58 h 71"/>
                <a:gd name="T16" fmla="*/ 5 w 81"/>
                <a:gd name="T17" fmla="*/ 62 h 71"/>
                <a:gd name="T18" fmla="*/ 42 w 81"/>
                <a:gd name="T19" fmla="*/ 62 h 71"/>
                <a:gd name="T20" fmla="*/ 37 w 81"/>
                <a:gd name="T21" fmla="*/ 56 h 71"/>
                <a:gd name="T22" fmla="*/ 7 w 81"/>
                <a:gd name="T23" fmla="*/ 56 h 71"/>
                <a:gd name="T24" fmla="*/ 6 w 81"/>
                <a:gd name="T25" fmla="*/ 55 h 71"/>
                <a:gd name="T26" fmla="*/ 6 w 81"/>
                <a:gd name="T27" fmla="*/ 7 h 71"/>
                <a:gd name="T28" fmla="*/ 7 w 81"/>
                <a:gd name="T29" fmla="*/ 6 h 71"/>
                <a:gd name="T30" fmla="*/ 56 w 81"/>
                <a:gd name="T31" fmla="*/ 6 h 71"/>
                <a:gd name="T32" fmla="*/ 56 w 81"/>
                <a:gd name="T33" fmla="*/ 7 h 71"/>
                <a:gd name="T34" fmla="*/ 56 w 81"/>
                <a:gd name="T35" fmla="*/ 38 h 71"/>
                <a:gd name="T36" fmla="*/ 60 w 81"/>
                <a:gd name="T37" fmla="*/ 41 h 71"/>
                <a:gd name="T38" fmla="*/ 63 w 81"/>
                <a:gd name="T39" fmla="*/ 39 h 71"/>
                <a:gd name="T40" fmla="*/ 63 w 81"/>
                <a:gd name="T41" fmla="*/ 5 h 71"/>
                <a:gd name="T42" fmla="*/ 58 w 81"/>
                <a:gd name="T43" fmla="*/ 0 h 71"/>
                <a:gd name="T44" fmla="*/ 5 w 81"/>
                <a:gd name="T45" fmla="*/ 0 h 71"/>
                <a:gd name="T46" fmla="*/ 9 w 81"/>
                <a:gd name="T47" fmla="*/ 29 h 71"/>
                <a:gd name="T48" fmla="*/ 9 w 81"/>
                <a:gd name="T49" fmla="*/ 33 h 71"/>
                <a:gd name="T50" fmla="*/ 18 w 81"/>
                <a:gd name="T51" fmla="*/ 33 h 71"/>
                <a:gd name="T52" fmla="*/ 20 w 81"/>
                <a:gd name="T53" fmla="*/ 32 h 71"/>
                <a:gd name="T54" fmla="*/ 20 w 81"/>
                <a:gd name="T55" fmla="*/ 32 h 71"/>
                <a:gd name="T56" fmla="*/ 23 w 81"/>
                <a:gd name="T57" fmla="*/ 22 h 71"/>
                <a:gd name="T58" fmla="*/ 29 w 81"/>
                <a:gd name="T59" fmla="*/ 48 h 71"/>
                <a:gd name="T60" fmla="*/ 32 w 81"/>
                <a:gd name="T61" fmla="*/ 50 h 71"/>
                <a:gd name="T62" fmla="*/ 33 w 81"/>
                <a:gd name="T63" fmla="*/ 48 h 71"/>
                <a:gd name="T64" fmla="*/ 33 w 81"/>
                <a:gd name="T65" fmla="*/ 48 h 71"/>
                <a:gd name="T66" fmla="*/ 39 w 81"/>
                <a:gd name="T67" fmla="*/ 27 h 71"/>
                <a:gd name="T68" fmla="*/ 41 w 81"/>
                <a:gd name="T69" fmla="*/ 31 h 71"/>
                <a:gd name="T70" fmla="*/ 43 w 81"/>
                <a:gd name="T71" fmla="*/ 33 h 71"/>
                <a:gd name="T72" fmla="*/ 53 w 81"/>
                <a:gd name="T73" fmla="*/ 33 h 71"/>
                <a:gd name="T74" fmla="*/ 53 w 81"/>
                <a:gd name="T75" fmla="*/ 29 h 71"/>
                <a:gd name="T76" fmla="*/ 44 w 81"/>
                <a:gd name="T77" fmla="*/ 29 h 71"/>
                <a:gd name="T78" fmla="*/ 40 w 81"/>
                <a:gd name="T79" fmla="*/ 19 h 71"/>
                <a:gd name="T80" fmla="*/ 39 w 81"/>
                <a:gd name="T81" fmla="*/ 18 h 71"/>
                <a:gd name="T82" fmla="*/ 36 w 81"/>
                <a:gd name="T83" fmla="*/ 19 h 71"/>
                <a:gd name="T84" fmla="*/ 31 w 81"/>
                <a:gd name="T85" fmla="*/ 39 h 71"/>
                <a:gd name="T86" fmla="*/ 26 w 81"/>
                <a:gd name="T87" fmla="*/ 14 h 71"/>
                <a:gd name="T88" fmla="*/ 24 w 81"/>
                <a:gd name="T89" fmla="*/ 12 h 71"/>
                <a:gd name="T90" fmla="*/ 22 w 81"/>
                <a:gd name="T91" fmla="*/ 13 h 71"/>
                <a:gd name="T92" fmla="*/ 16 w 81"/>
                <a:gd name="T93" fmla="*/ 29 h 71"/>
                <a:gd name="T94" fmla="*/ 9 w 81"/>
                <a:gd name="T9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1" h="71">
                  <a:moveTo>
                    <a:pt x="60" y="71"/>
                  </a:moveTo>
                  <a:cubicBezTo>
                    <a:pt x="53" y="66"/>
                    <a:pt x="39" y="59"/>
                    <a:pt x="39" y="50"/>
                  </a:cubicBezTo>
                  <a:cubicBezTo>
                    <a:pt x="39" y="38"/>
                    <a:pt x="57" y="36"/>
                    <a:pt x="60" y="48"/>
                  </a:cubicBezTo>
                  <a:cubicBezTo>
                    <a:pt x="63" y="36"/>
                    <a:pt x="81" y="38"/>
                    <a:pt x="81" y="50"/>
                  </a:cubicBezTo>
                  <a:cubicBezTo>
                    <a:pt x="81" y="59"/>
                    <a:pt x="67" y="66"/>
                    <a:pt x="60" y="71"/>
                  </a:cubicBezTo>
                  <a:close/>
                  <a:moveTo>
                    <a:pt x="5" y="0"/>
                  </a:moveTo>
                  <a:cubicBezTo>
                    <a:pt x="2" y="0"/>
                    <a:pt x="0" y="2"/>
                    <a:pt x="0" y="5"/>
                  </a:cubicBezTo>
                  <a:cubicBezTo>
                    <a:pt x="0" y="58"/>
                    <a:pt x="0" y="58"/>
                    <a:pt x="0" y="58"/>
                  </a:cubicBezTo>
                  <a:cubicBezTo>
                    <a:pt x="0" y="60"/>
                    <a:pt x="2" y="62"/>
                    <a:pt x="5" y="62"/>
                  </a:cubicBezTo>
                  <a:cubicBezTo>
                    <a:pt x="42" y="62"/>
                    <a:pt x="42" y="62"/>
                    <a:pt x="42" y="62"/>
                  </a:cubicBezTo>
                  <a:cubicBezTo>
                    <a:pt x="40" y="60"/>
                    <a:pt x="38" y="58"/>
                    <a:pt x="37" y="56"/>
                  </a:cubicBezTo>
                  <a:cubicBezTo>
                    <a:pt x="7" y="56"/>
                    <a:pt x="7" y="56"/>
                    <a:pt x="7" y="56"/>
                  </a:cubicBezTo>
                  <a:cubicBezTo>
                    <a:pt x="7" y="56"/>
                    <a:pt x="6" y="56"/>
                    <a:pt x="6" y="55"/>
                  </a:cubicBezTo>
                  <a:cubicBezTo>
                    <a:pt x="6" y="39"/>
                    <a:pt x="6" y="23"/>
                    <a:pt x="6" y="7"/>
                  </a:cubicBezTo>
                  <a:cubicBezTo>
                    <a:pt x="6" y="6"/>
                    <a:pt x="7" y="6"/>
                    <a:pt x="7" y="6"/>
                  </a:cubicBezTo>
                  <a:cubicBezTo>
                    <a:pt x="23" y="6"/>
                    <a:pt x="39" y="6"/>
                    <a:pt x="56" y="6"/>
                  </a:cubicBezTo>
                  <a:cubicBezTo>
                    <a:pt x="56" y="6"/>
                    <a:pt x="56" y="6"/>
                    <a:pt x="56" y="7"/>
                  </a:cubicBezTo>
                  <a:cubicBezTo>
                    <a:pt x="56" y="38"/>
                    <a:pt x="56" y="38"/>
                    <a:pt x="56" y="38"/>
                  </a:cubicBezTo>
                  <a:cubicBezTo>
                    <a:pt x="58" y="39"/>
                    <a:pt x="59" y="40"/>
                    <a:pt x="60" y="41"/>
                  </a:cubicBezTo>
                  <a:cubicBezTo>
                    <a:pt x="61" y="40"/>
                    <a:pt x="62" y="39"/>
                    <a:pt x="63" y="39"/>
                  </a:cubicBezTo>
                  <a:cubicBezTo>
                    <a:pt x="63" y="5"/>
                    <a:pt x="63" y="5"/>
                    <a:pt x="63" y="5"/>
                  </a:cubicBezTo>
                  <a:cubicBezTo>
                    <a:pt x="63" y="2"/>
                    <a:pt x="61" y="0"/>
                    <a:pt x="58" y="0"/>
                  </a:cubicBezTo>
                  <a:cubicBezTo>
                    <a:pt x="40" y="0"/>
                    <a:pt x="23" y="0"/>
                    <a:pt x="5" y="0"/>
                  </a:cubicBezTo>
                  <a:close/>
                  <a:moveTo>
                    <a:pt x="9" y="29"/>
                  </a:moveTo>
                  <a:cubicBezTo>
                    <a:pt x="9" y="33"/>
                    <a:pt x="9" y="33"/>
                    <a:pt x="9" y="33"/>
                  </a:cubicBezTo>
                  <a:cubicBezTo>
                    <a:pt x="18" y="33"/>
                    <a:pt x="18" y="33"/>
                    <a:pt x="18" y="33"/>
                  </a:cubicBezTo>
                  <a:cubicBezTo>
                    <a:pt x="19" y="33"/>
                    <a:pt x="19" y="33"/>
                    <a:pt x="20" y="32"/>
                  </a:cubicBezTo>
                  <a:cubicBezTo>
                    <a:pt x="20" y="32"/>
                    <a:pt x="20" y="32"/>
                    <a:pt x="20" y="32"/>
                  </a:cubicBezTo>
                  <a:cubicBezTo>
                    <a:pt x="23" y="22"/>
                    <a:pt x="23" y="22"/>
                    <a:pt x="23" y="22"/>
                  </a:cubicBezTo>
                  <a:cubicBezTo>
                    <a:pt x="29" y="48"/>
                    <a:pt x="29" y="48"/>
                    <a:pt x="29" y="48"/>
                  </a:cubicBezTo>
                  <a:cubicBezTo>
                    <a:pt x="29" y="49"/>
                    <a:pt x="31" y="50"/>
                    <a:pt x="32" y="50"/>
                  </a:cubicBezTo>
                  <a:cubicBezTo>
                    <a:pt x="33" y="50"/>
                    <a:pt x="33" y="49"/>
                    <a:pt x="33" y="48"/>
                  </a:cubicBezTo>
                  <a:cubicBezTo>
                    <a:pt x="33" y="48"/>
                    <a:pt x="33" y="48"/>
                    <a:pt x="33" y="48"/>
                  </a:cubicBezTo>
                  <a:cubicBezTo>
                    <a:pt x="39" y="27"/>
                    <a:pt x="39" y="27"/>
                    <a:pt x="39" y="27"/>
                  </a:cubicBezTo>
                  <a:cubicBezTo>
                    <a:pt x="41" y="31"/>
                    <a:pt x="41" y="31"/>
                    <a:pt x="41" y="31"/>
                  </a:cubicBezTo>
                  <a:cubicBezTo>
                    <a:pt x="41" y="32"/>
                    <a:pt x="42" y="33"/>
                    <a:pt x="43" y="33"/>
                  </a:cubicBezTo>
                  <a:cubicBezTo>
                    <a:pt x="53" y="33"/>
                    <a:pt x="53" y="33"/>
                    <a:pt x="53" y="33"/>
                  </a:cubicBezTo>
                  <a:cubicBezTo>
                    <a:pt x="53" y="29"/>
                    <a:pt x="53" y="29"/>
                    <a:pt x="53" y="29"/>
                  </a:cubicBezTo>
                  <a:cubicBezTo>
                    <a:pt x="44" y="29"/>
                    <a:pt x="44" y="29"/>
                    <a:pt x="44" y="29"/>
                  </a:cubicBezTo>
                  <a:cubicBezTo>
                    <a:pt x="40" y="19"/>
                    <a:pt x="40" y="19"/>
                    <a:pt x="40" y="19"/>
                  </a:cubicBezTo>
                  <a:cubicBezTo>
                    <a:pt x="40" y="18"/>
                    <a:pt x="40" y="18"/>
                    <a:pt x="39" y="18"/>
                  </a:cubicBezTo>
                  <a:cubicBezTo>
                    <a:pt x="38" y="17"/>
                    <a:pt x="37" y="18"/>
                    <a:pt x="36" y="19"/>
                  </a:cubicBezTo>
                  <a:cubicBezTo>
                    <a:pt x="31" y="39"/>
                    <a:pt x="31" y="39"/>
                    <a:pt x="31" y="39"/>
                  </a:cubicBezTo>
                  <a:cubicBezTo>
                    <a:pt x="26" y="14"/>
                    <a:pt x="26" y="14"/>
                    <a:pt x="26" y="14"/>
                  </a:cubicBezTo>
                  <a:cubicBezTo>
                    <a:pt x="25" y="13"/>
                    <a:pt x="25" y="12"/>
                    <a:pt x="24" y="12"/>
                  </a:cubicBezTo>
                  <a:cubicBezTo>
                    <a:pt x="23" y="12"/>
                    <a:pt x="22" y="12"/>
                    <a:pt x="22" y="13"/>
                  </a:cubicBezTo>
                  <a:cubicBezTo>
                    <a:pt x="16" y="29"/>
                    <a:pt x="16" y="29"/>
                    <a:pt x="16" y="29"/>
                  </a:cubicBezTo>
                  <a:lnTo>
                    <a:pt x="9" y="29"/>
                  </a:lnTo>
                  <a:close/>
                </a:path>
              </a:pathLst>
            </a:custGeom>
            <a:solidFill>
              <a:srgbClr val="FFFFFF"/>
            </a:solidFill>
            <a:ln>
              <a:noFill/>
            </a:ln>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grpSp>
      <p:grpSp>
        <p:nvGrpSpPr>
          <p:cNvPr id="77862" name="Group 152"/>
          <p:cNvGrpSpPr>
            <a:grpSpLocks/>
          </p:cNvGrpSpPr>
          <p:nvPr/>
        </p:nvGrpSpPr>
        <p:grpSpPr bwMode="auto">
          <a:xfrm>
            <a:off x="6829425" y="3236913"/>
            <a:ext cx="360363" cy="358775"/>
            <a:chOff x="1238366" y="5034651"/>
            <a:chExt cx="360000" cy="360000"/>
          </a:xfrm>
        </p:grpSpPr>
        <p:sp>
          <p:nvSpPr>
            <p:cNvPr id="154" name="Ellipse 323">
              <a:extLst>
                <a:ext uri="{FF2B5EF4-FFF2-40B4-BE49-F238E27FC236}"/>
              </a:extLst>
            </p:cNvPr>
            <p:cNvSpPr/>
            <p:nvPr/>
          </p:nvSpPr>
          <p:spPr bwMode="gray">
            <a:xfrm>
              <a:off x="1238366" y="5034651"/>
              <a:ext cx="360000" cy="360000"/>
            </a:xfrm>
            <a:prstGeom prst="ellipse">
              <a:avLst/>
            </a:prstGeom>
            <a:solidFill>
              <a:srgbClr val="FF7A0B"/>
            </a:solidFill>
            <a:ln w="12700">
              <a:noFill/>
              <a:round/>
              <a:headEnd/>
              <a:tailEnd/>
            </a:ln>
          </p:spPr>
          <p:txBody>
            <a:bodyPr anchor="ctr"/>
            <a:lstStyle/>
            <a:p>
              <a:pPr algn="ctr" eaLnBrk="1" fontAlgn="auto" hangingPunct="1">
                <a:lnSpc>
                  <a:spcPct val="90000"/>
                </a:lnSpc>
                <a:spcBef>
                  <a:spcPts val="0"/>
                </a:spcBef>
                <a:spcAft>
                  <a:spcPts val="0"/>
                </a:spcAft>
                <a:defRPr/>
              </a:pPr>
              <a:endParaRPr lang="en-US" kern="0" dirty="0">
                <a:solidFill>
                  <a:srgbClr val="000000"/>
                </a:solidFill>
              </a:endParaRPr>
            </a:p>
          </p:txBody>
        </p:sp>
        <p:sp>
          <p:nvSpPr>
            <p:cNvPr id="155" name="Freeform 6">
              <a:extLst>
                <a:ext uri="{FF2B5EF4-FFF2-40B4-BE49-F238E27FC236}"/>
              </a:extLst>
            </p:cNvPr>
            <p:cNvSpPr>
              <a:spLocks noEditPoints="1"/>
            </p:cNvSpPr>
            <p:nvPr/>
          </p:nvSpPr>
          <p:spPr bwMode="auto">
            <a:xfrm rot="3439242">
              <a:off x="1354515" y="5117251"/>
              <a:ext cx="187965" cy="255331"/>
            </a:xfrm>
            <a:custGeom>
              <a:avLst/>
              <a:gdLst/>
              <a:ahLst/>
              <a:cxnLst>
                <a:cxn ang="0">
                  <a:pos x="668" y="303"/>
                </a:cxn>
                <a:cxn ang="0">
                  <a:pos x="524" y="53"/>
                </a:cxn>
                <a:cxn ang="0">
                  <a:pos x="274" y="60"/>
                </a:cxn>
                <a:cxn ang="0">
                  <a:pos x="182" y="98"/>
                </a:cxn>
                <a:cxn ang="0">
                  <a:pos x="177" y="234"/>
                </a:cxn>
                <a:cxn ang="0">
                  <a:pos x="200" y="250"/>
                </a:cxn>
                <a:cxn ang="0">
                  <a:pos x="321" y="170"/>
                </a:cxn>
                <a:cxn ang="0">
                  <a:pos x="327" y="106"/>
                </a:cxn>
                <a:cxn ang="0">
                  <a:pos x="585" y="303"/>
                </a:cxn>
                <a:cxn ang="0">
                  <a:pos x="304" y="537"/>
                </a:cxn>
                <a:cxn ang="0">
                  <a:pos x="304" y="628"/>
                </a:cxn>
                <a:cxn ang="0">
                  <a:pos x="668" y="303"/>
                </a:cxn>
                <a:cxn ang="0">
                  <a:pos x="133" y="693"/>
                </a:cxn>
                <a:cxn ang="0">
                  <a:pos x="107" y="636"/>
                </a:cxn>
                <a:cxn ang="0">
                  <a:pos x="152" y="628"/>
                </a:cxn>
                <a:cxn ang="0">
                  <a:pos x="152" y="545"/>
                </a:cxn>
                <a:cxn ang="0">
                  <a:pos x="1" y="643"/>
                </a:cxn>
                <a:cxn ang="0">
                  <a:pos x="75" y="752"/>
                </a:cxn>
                <a:cxn ang="0">
                  <a:pos x="445" y="817"/>
                </a:cxn>
                <a:cxn ang="0">
                  <a:pos x="319" y="916"/>
                </a:cxn>
                <a:cxn ang="0">
                  <a:pos x="499" y="848"/>
                </a:cxn>
                <a:cxn ang="0">
                  <a:pos x="494" y="757"/>
                </a:cxn>
                <a:cxn ang="0">
                  <a:pos x="372" y="692"/>
                </a:cxn>
                <a:cxn ang="0">
                  <a:pos x="133" y="693"/>
                </a:cxn>
              </a:cxnLst>
              <a:rect l="0" t="0" r="r" b="b"/>
              <a:pathLst>
                <a:path w="676" h="917">
                  <a:moveTo>
                    <a:pt x="668" y="303"/>
                  </a:moveTo>
                  <a:cubicBezTo>
                    <a:pt x="661" y="151"/>
                    <a:pt x="562" y="68"/>
                    <a:pt x="524" y="53"/>
                  </a:cubicBezTo>
                  <a:cubicBezTo>
                    <a:pt x="418" y="0"/>
                    <a:pt x="319" y="38"/>
                    <a:pt x="274" y="60"/>
                  </a:cubicBezTo>
                  <a:cubicBezTo>
                    <a:pt x="243" y="45"/>
                    <a:pt x="198" y="68"/>
                    <a:pt x="182" y="98"/>
                  </a:cubicBezTo>
                  <a:cubicBezTo>
                    <a:pt x="167" y="128"/>
                    <a:pt x="175" y="193"/>
                    <a:pt x="177" y="234"/>
                  </a:cubicBezTo>
                  <a:cubicBezTo>
                    <a:pt x="178" y="250"/>
                    <a:pt x="194" y="252"/>
                    <a:pt x="200" y="250"/>
                  </a:cubicBezTo>
                  <a:cubicBezTo>
                    <a:pt x="206" y="247"/>
                    <a:pt x="299" y="199"/>
                    <a:pt x="321" y="170"/>
                  </a:cubicBezTo>
                  <a:cubicBezTo>
                    <a:pt x="338" y="148"/>
                    <a:pt x="334" y="128"/>
                    <a:pt x="327" y="106"/>
                  </a:cubicBezTo>
                  <a:cubicBezTo>
                    <a:pt x="555" y="53"/>
                    <a:pt x="585" y="265"/>
                    <a:pt x="585" y="303"/>
                  </a:cubicBezTo>
                  <a:cubicBezTo>
                    <a:pt x="577" y="499"/>
                    <a:pt x="304" y="537"/>
                    <a:pt x="304" y="537"/>
                  </a:cubicBezTo>
                  <a:cubicBezTo>
                    <a:pt x="304" y="628"/>
                    <a:pt x="304" y="628"/>
                    <a:pt x="304" y="628"/>
                  </a:cubicBezTo>
                  <a:cubicBezTo>
                    <a:pt x="456" y="628"/>
                    <a:pt x="676" y="477"/>
                    <a:pt x="668" y="303"/>
                  </a:cubicBezTo>
                  <a:close/>
                  <a:moveTo>
                    <a:pt x="133" y="693"/>
                  </a:moveTo>
                  <a:cubicBezTo>
                    <a:pt x="85" y="690"/>
                    <a:pt x="91" y="646"/>
                    <a:pt x="107" y="636"/>
                  </a:cubicBezTo>
                  <a:cubicBezTo>
                    <a:pt x="123" y="625"/>
                    <a:pt x="152" y="628"/>
                    <a:pt x="152" y="628"/>
                  </a:cubicBezTo>
                  <a:cubicBezTo>
                    <a:pt x="152" y="545"/>
                    <a:pt x="152" y="545"/>
                    <a:pt x="152" y="545"/>
                  </a:cubicBezTo>
                  <a:cubicBezTo>
                    <a:pt x="76" y="545"/>
                    <a:pt x="1" y="578"/>
                    <a:pt x="1" y="643"/>
                  </a:cubicBezTo>
                  <a:cubicBezTo>
                    <a:pt x="0" y="705"/>
                    <a:pt x="31" y="737"/>
                    <a:pt x="75" y="752"/>
                  </a:cubicBezTo>
                  <a:cubicBezTo>
                    <a:pt x="191" y="791"/>
                    <a:pt x="444" y="698"/>
                    <a:pt x="445" y="817"/>
                  </a:cubicBezTo>
                  <a:cubicBezTo>
                    <a:pt x="445" y="909"/>
                    <a:pt x="220" y="917"/>
                    <a:pt x="319" y="916"/>
                  </a:cubicBezTo>
                  <a:cubicBezTo>
                    <a:pt x="428" y="914"/>
                    <a:pt x="480" y="886"/>
                    <a:pt x="499" y="848"/>
                  </a:cubicBezTo>
                  <a:cubicBezTo>
                    <a:pt x="506" y="835"/>
                    <a:pt x="517" y="794"/>
                    <a:pt x="494" y="757"/>
                  </a:cubicBezTo>
                  <a:cubicBezTo>
                    <a:pt x="471" y="711"/>
                    <a:pt x="412" y="693"/>
                    <a:pt x="372" y="692"/>
                  </a:cubicBezTo>
                  <a:cubicBezTo>
                    <a:pt x="333" y="691"/>
                    <a:pt x="165" y="694"/>
                    <a:pt x="133" y="693"/>
                  </a:cubicBezTo>
                  <a:close/>
                </a:path>
              </a:pathLst>
            </a:custGeom>
            <a:solidFill>
              <a:srgbClr val="FFFFFF"/>
            </a:solid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56" name="Ellipse 323">
              <a:extLst>
                <a:ext uri="{FF2B5EF4-FFF2-40B4-BE49-F238E27FC236}"/>
              </a:extLst>
            </p:cNvPr>
            <p:cNvSpPr/>
            <p:nvPr/>
          </p:nvSpPr>
          <p:spPr bwMode="gray">
            <a:xfrm>
              <a:off x="1319247" y="5157305"/>
              <a:ext cx="103083" cy="103540"/>
            </a:xfrm>
            <a:prstGeom prst="ellipse">
              <a:avLst/>
            </a:prstGeom>
            <a:solidFill>
              <a:srgbClr val="FF7A0B"/>
            </a:solidFill>
            <a:ln w="12700">
              <a:noFill/>
              <a:round/>
              <a:headEnd/>
              <a:tailEnd/>
            </a:ln>
          </p:spPr>
          <p:txBody>
            <a:bodyPr anchor="ctr"/>
            <a:lstStyle/>
            <a:p>
              <a:pPr algn="ctr" eaLnBrk="1" fontAlgn="auto" hangingPunct="1">
                <a:lnSpc>
                  <a:spcPct val="90000"/>
                </a:lnSpc>
                <a:spcBef>
                  <a:spcPts val="0"/>
                </a:spcBef>
                <a:spcAft>
                  <a:spcPts val="0"/>
                </a:spcAft>
                <a:defRPr/>
              </a:pPr>
              <a:endParaRPr lang="en-US" kern="0" dirty="0">
                <a:solidFill>
                  <a:srgbClr val="000000"/>
                </a:solidFill>
              </a:endParaRPr>
            </a:p>
          </p:txBody>
        </p:sp>
        <p:sp>
          <p:nvSpPr>
            <p:cNvPr id="157" name="Freihandform 13">
              <a:extLst>
                <a:ext uri="{FF2B5EF4-FFF2-40B4-BE49-F238E27FC236}"/>
              </a:extLst>
            </p:cNvPr>
            <p:cNvSpPr>
              <a:spLocks noChangeAspect="1"/>
            </p:cNvSpPr>
            <p:nvPr/>
          </p:nvSpPr>
          <p:spPr>
            <a:xfrm>
              <a:off x="1268499" y="5109518"/>
              <a:ext cx="199824" cy="195930"/>
            </a:xfrm>
            <a:custGeom>
              <a:avLst/>
              <a:gdLst>
                <a:gd name="connsiteX0" fmla="*/ 557551 w 1361400"/>
                <a:gd name="connsiteY0" fmla="*/ 475665 h 1334805"/>
                <a:gd name="connsiteX1" fmla="*/ 620036 w 1361400"/>
                <a:gd name="connsiteY1" fmla="*/ 934257 h 1334805"/>
                <a:gd name="connsiteX2" fmla="*/ 635261 w 1361400"/>
                <a:gd name="connsiteY2" fmla="*/ 943808 h 1334805"/>
                <a:gd name="connsiteX3" fmla="*/ 635976 w 1361400"/>
                <a:gd name="connsiteY3" fmla="*/ 943634 h 1334805"/>
                <a:gd name="connsiteX4" fmla="*/ 637996 w 1361400"/>
                <a:gd name="connsiteY4" fmla="*/ 943815 h 1334805"/>
                <a:gd name="connsiteX5" fmla="*/ 649984 w 1361400"/>
                <a:gd name="connsiteY5" fmla="*/ 936434 h 1334805"/>
                <a:gd name="connsiteX6" fmla="*/ 769030 w 1361400"/>
                <a:gd name="connsiteY6" fmla="*/ 652570 h 1334805"/>
                <a:gd name="connsiteX7" fmla="*/ 813400 w 1361400"/>
                <a:gd name="connsiteY7" fmla="*/ 770526 h 1334805"/>
                <a:gd name="connsiteX8" fmla="*/ 830571 w 1361400"/>
                <a:gd name="connsiteY8" fmla="*/ 777827 h 1334805"/>
                <a:gd name="connsiteX9" fmla="*/ 838834 w 1361400"/>
                <a:gd name="connsiteY9" fmla="*/ 772682 h 1334805"/>
                <a:gd name="connsiteX10" fmla="*/ 839333 w 1361400"/>
                <a:gd name="connsiteY10" fmla="*/ 771471 h 1334805"/>
                <a:gd name="connsiteX11" fmla="*/ 889959 w 1361400"/>
                <a:gd name="connsiteY11" fmla="*/ 711893 h 1334805"/>
                <a:gd name="connsiteX12" fmla="*/ 918311 w 1361400"/>
                <a:gd name="connsiteY12" fmla="*/ 733285 h 1334805"/>
                <a:gd name="connsiteX13" fmla="*/ 928157 w 1361400"/>
                <a:gd name="connsiteY13" fmla="*/ 736326 h 1334805"/>
                <a:gd name="connsiteX14" fmla="*/ 929084 w 1361400"/>
                <a:gd name="connsiteY14" fmla="*/ 736176 h 1334805"/>
                <a:gd name="connsiteX15" fmla="*/ 929530 w 1361400"/>
                <a:gd name="connsiteY15" fmla="*/ 736246 h 1334805"/>
                <a:gd name="connsiteX16" fmla="*/ 1253052 w 1361400"/>
                <a:gd name="connsiteY16" fmla="*/ 736246 h 1334805"/>
                <a:gd name="connsiteX17" fmla="*/ 1217166 w 1361400"/>
                <a:gd name="connsiteY17" fmla="*/ 797288 h 1334805"/>
                <a:gd name="connsiteX18" fmla="*/ 680700 w 1361400"/>
                <a:gd name="connsiteY18" fmla="*/ 1334805 h 1334805"/>
                <a:gd name="connsiteX19" fmla="*/ 144235 w 1361400"/>
                <a:gd name="connsiteY19" fmla="*/ 797288 h 1334805"/>
                <a:gd name="connsiteX20" fmla="*/ 105219 w 1361400"/>
                <a:gd name="connsiteY20" fmla="*/ 730923 h 1334805"/>
                <a:gd name="connsiteX21" fmla="*/ 406486 w 1361400"/>
                <a:gd name="connsiteY21" fmla="*/ 730923 h 1334805"/>
                <a:gd name="connsiteX22" fmla="*/ 407042 w 1361400"/>
                <a:gd name="connsiteY22" fmla="*/ 730836 h 1334805"/>
                <a:gd name="connsiteX23" fmla="*/ 407422 w 1361400"/>
                <a:gd name="connsiteY23" fmla="*/ 730928 h 1334805"/>
                <a:gd name="connsiteX24" fmla="*/ 420977 w 1361400"/>
                <a:gd name="connsiteY24" fmla="*/ 725413 h 1334805"/>
                <a:gd name="connsiteX25" fmla="*/ 441729 w 1361400"/>
                <a:gd name="connsiteY25" fmla="*/ 696111 h 1334805"/>
                <a:gd name="connsiteX26" fmla="*/ 491834 w 1361400"/>
                <a:gd name="connsiteY26" fmla="*/ 750862 h 1334805"/>
                <a:gd name="connsiteX27" fmla="*/ 506115 w 1361400"/>
                <a:gd name="connsiteY27" fmla="*/ 755135 h 1334805"/>
                <a:gd name="connsiteX28" fmla="*/ 507515 w 1361400"/>
                <a:gd name="connsiteY28" fmla="*/ 754652 h 1334805"/>
                <a:gd name="connsiteX29" fmla="*/ 508684 w 1361400"/>
                <a:gd name="connsiteY29" fmla="*/ 754573 h 1334805"/>
                <a:gd name="connsiteX30" fmla="*/ 518511 w 1361400"/>
                <a:gd name="connsiteY30" fmla="*/ 745471 h 1334805"/>
                <a:gd name="connsiteX31" fmla="*/ 278037 w 1361400"/>
                <a:gd name="connsiteY31" fmla="*/ 2725 h 1334805"/>
                <a:gd name="connsiteX32" fmla="*/ 680700 w 1361400"/>
                <a:gd name="connsiteY32" fmla="*/ 321144 h 1334805"/>
                <a:gd name="connsiteX33" fmla="*/ 1302359 w 1361400"/>
                <a:gd name="connsiteY33" fmla="*/ 637913 h 1334805"/>
                <a:gd name="connsiteX34" fmla="*/ 1265536 w 1361400"/>
                <a:gd name="connsiteY34" fmla="*/ 714768 h 1334805"/>
                <a:gd name="connsiteX35" fmla="*/ 933484 w 1361400"/>
                <a:gd name="connsiteY35" fmla="*/ 714768 h 1334805"/>
                <a:gd name="connsiteX36" fmla="*/ 898100 w 1361400"/>
                <a:gd name="connsiteY36" fmla="*/ 688070 h 1334805"/>
                <a:gd name="connsiteX37" fmla="*/ 897456 w 1361400"/>
                <a:gd name="connsiteY37" fmla="*/ 687749 h 1334805"/>
                <a:gd name="connsiteX38" fmla="*/ 895302 w 1361400"/>
                <a:gd name="connsiteY38" fmla="*/ 686090 h 1334805"/>
                <a:gd name="connsiteX39" fmla="*/ 876120 w 1361400"/>
                <a:gd name="connsiteY39" fmla="*/ 689147 h 1334805"/>
                <a:gd name="connsiteX40" fmla="*/ 831423 w 1361400"/>
                <a:gd name="connsiteY40" fmla="*/ 741749 h 1334805"/>
                <a:gd name="connsiteX41" fmla="*/ 783111 w 1361400"/>
                <a:gd name="connsiteY41" fmla="*/ 613314 h 1334805"/>
                <a:gd name="connsiteX42" fmla="*/ 771420 w 1361400"/>
                <a:gd name="connsiteY42" fmla="*/ 605652 h 1334805"/>
                <a:gd name="connsiteX43" fmla="*/ 768493 w 1361400"/>
                <a:gd name="connsiteY43" fmla="*/ 605844 h 1334805"/>
                <a:gd name="connsiteX44" fmla="*/ 768400 w 1361400"/>
                <a:gd name="connsiteY44" fmla="*/ 605836 h 1334805"/>
                <a:gd name="connsiteX45" fmla="*/ 768307 w 1361400"/>
                <a:gd name="connsiteY45" fmla="*/ 605857 h 1334805"/>
                <a:gd name="connsiteX46" fmla="*/ 765941 w 1361400"/>
                <a:gd name="connsiteY46" fmla="*/ 606012 h 1334805"/>
                <a:gd name="connsiteX47" fmla="*/ 763941 w 1361400"/>
                <a:gd name="connsiteY47" fmla="*/ 606826 h 1334805"/>
                <a:gd name="connsiteX48" fmla="*/ 763296 w 1361400"/>
                <a:gd name="connsiteY48" fmla="*/ 606969 h 1334805"/>
                <a:gd name="connsiteX49" fmla="*/ 762698 w 1361400"/>
                <a:gd name="connsiteY49" fmla="*/ 607331 h 1334805"/>
                <a:gd name="connsiteX50" fmla="*/ 761071 w 1361400"/>
                <a:gd name="connsiteY50" fmla="*/ 607993 h 1334805"/>
                <a:gd name="connsiteX51" fmla="*/ 760081 w 1361400"/>
                <a:gd name="connsiteY51" fmla="*/ 608917 h 1334805"/>
                <a:gd name="connsiteX52" fmla="*/ 759113 w 1361400"/>
                <a:gd name="connsiteY52" fmla="*/ 609503 h 1334805"/>
                <a:gd name="connsiteX53" fmla="*/ 758398 w 1361400"/>
                <a:gd name="connsiteY53" fmla="*/ 610486 h 1334805"/>
                <a:gd name="connsiteX54" fmla="*/ 757677 w 1361400"/>
                <a:gd name="connsiteY54" fmla="*/ 611158 h 1334805"/>
                <a:gd name="connsiteX55" fmla="*/ 757374 w 1361400"/>
                <a:gd name="connsiteY55" fmla="*/ 611894 h 1334805"/>
                <a:gd name="connsiteX56" fmla="*/ 756411 w 1361400"/>
                <a:gd name="connsiteY56" fmla="*/ 613217 h 1334805"/>
                <a:gd name="connsiteX57" fmla="*/ 641482 w 1361400"/>
                <a:gd name="connsiteY57" fmla="*/ 887268 h 1334805"/>
                <a:gd name="connsiteX58" fmla="*/ 572883 w 1361400"/>
                <a:gd name="connsiteY58" fmla="*/ 383804 h 1334805"/>
                <a:gd name="connsiteX59" fmla="*/ 557657 w 1361400"/>
                <a:gd name="connsiteY59" fmla="*/ 374254 h 1334805"/>
                <a:gd name="connsiteX60" fmla="*/ 557022 w 1361400"/>
                <a:gd name="connsiteY60" fmla="*/ 374408 h 1334805"/>
                <a:gd name="connsiteX61" fmla="*/ 552804 w 1361400"/>
                <a:gd name="connsiteY61" fmla="*/ 374695 h 1334805"/>
                <a:gd name="connsiteX62" fmla="*/ 542976 w 1361400"/>
                <a:gd name="connsiteY62" fmla="*/ 383797 h 1334805"/>
                <a:gd name="connsiteX63" fmla="*/ 494769 w 1361400"/>
                <a:gd name="connsiteY63" fmla="*/ 716960 h 1334805"/>
                <a:gd name="connsiteX64" fmla="*/ 452246 w 1361400"/>
                <a:gd name="connsiteY64" fmla="*/ 670494 h 1334805"/>
                <a:gd name="connsiteX65" fmla="*/ 448239 w 1361400"/>
                <a:gd name="connsiteY65" fmla="*/ 667574 h 1334805"/>
                <a:gd name="connsiteX66" fmla="*/ 447146 w 1361400"/>
                <a:gd name="connsiteY66" fmla="*/ 667254 h 1334805"/>
                <a:gd name="connsiteX67" fmla="*/ 446615 w 1361400"/>
                <a:gd name="connsiteY67" fmla="*/ 666907 h 1334805"/>
                <a:gd name="connsiteX68" fmla="*/ 441367 w 1361400"/>
                <a:gd name="connsiteY68" fmla="*/ 665634 h 1334805"/>
                <a:gd name="connsiteX69" fmla="*/ 427812 w 1361400"/>
                <a:gd name="connsiteY69" fmla="*/ 671149 h 1334805"/>
                <a:gd name="connsiteX70" fmla="*/ 400689 w 1361400"/>
                <a:gd name="connsiteY70" fmla="*/ 709446 h 1334805"/>
                <a:gd name="connsiteX71" fmla="*/ 93314 w 1361400"/>
                <a:gd name="connsiteY71" fmla="*/ 709446 h 1334805"/>
                <a:gd name="connsiteX72" fmla="*/ 59041 w 1361400"/>
                <a:gd name="connsiteY72" fmla="*/ 637913 h 1334805"/>
                <a:gd name="connsiteX73" fmla="*/ 278037 w 1361400"/>
                <a:gd name="connsiteY73" fmla="*/ 2725 h 133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361400" h="1334805">
                  <a:moveTo>
                    <a:pt x="557551" y="475665"/>
                  </a:moveTo>
                  <a:lnTo>
                    <a:pt x="620036" y="934257"/>
                  </a:lnTo>
                  <a:cubicBezTo>
                    <a:pt x="620840" y="940155"/>
                    <a:pt x="627656" y="944431"/>
                    <a:pt x="635261" y="943808"/>
                  </a:cubicBezTo>
                  <a:lnTo>
                    <a:pt x="635976" y="943634"/>
                  </a:lnTo>
                  <a:lnTo>
                    <a:pt x="637996" y="943815"/>
                  </a:lnTo>
                  <a:cubicBezTo>
                    <a:pt x="643372" y="943457"/>
                    <a:pt x="648210" y="940664"/>
                    <a:pt x="649984" y="936434"/>
                  </a:cubicBezTo>
                  <a:lnTo>
                    <a:pt x="769030" y="652570"/>
                  </a:lnTo>
                  <a:lnTo>
                    <a:pt x="813400" y="770526"/>
                  </a:lnTo>
                  <a:cubicBezTo>
                    <a:pt x="815542" y="776219"/>
                    <a:pt x="823229" y="779488"/>
                    <a:pt x="830571" y="777827"/>
                  </a:cubicBezTo>
                  <a:cubicBezTo>
                    <a:pt x="834241" y="776997"/>
                    <a:pt x="837131" y="775091"/>
                    <a:pt x="838834" y="772682"/>
                  </a:cubicBezTo>
                  <a:lnTo>
                    <a:pt x="839333" y="771471"/>
                  </a:lnTo>
                  <a:lnTo>
                    <a:pt x="889959" y="711893"/>
                  </a:lnTo>
                  <a:lnTo>
                    <a:pt x="918311" y="733285"/>
                  </a:lnTo>
                  <a:cubicBezTo>
                    <a:pt x="921052" y="735353"/>
                    <a:pt x="924614" y="736364"/>
                    <a:pt x="928157" y="736326"/>
                  </a:cubicBezTo>
                  <a:lnTo>
                    <a:pt x="929084" y="736176"/>
                  </a:lnTo>
                  <a:lnTo>
                    <a:pt x="929530" y="736246"/>
                  </a:lnTo>
                  <a:lnTo>
                    <a:pt x="1253052" y="736246"/>
                  </a:lnTo>
                  <a:lnTo>
                    <a:pt x="1217166" y="797288"/>
                  </a:lnTo>
                  <a:cubicBezTo>
                    <a:pt x="1110978" y="962602"/>
                    <a:pt x="939395" y="1144744"/>
                    <a:pt x="680700" y="1334805"/>
                  </a:cubicBezTo>
                  <a:cubicBezTo>
                    <a:pt x="422005" y="1144744"/>
                    <a:pt x="250422" y="962602"/>
                    <a:pt x="144235" y="797288"/>
                  </a:cubicBezTo>
                  <a:lnTo>
                    <a:pt x="105219" y="730923"/>
                  </a:lnTo>
                  <a:lnTo>
                    <a:pt x="406486" y="730923"/>
                  </a:lnTo>
                  <a:lnTo>
                    <a:pt x="407042" y="730836"/>
                  </a:lnTo>
                  <a:lnTo>
                    <a:pt x="407422" y="730928"/>
                  </a:lnTo>
                  <a:cubicBezTo>
                    <a:pt x="412790" y="731355"/>
                    <a:pt x="418216" y="729312"/>
                    <a:pt x="420977" y="725413"/>
                  </a:cubicBezTo>
                  <a:lnTo>
                    <a:pt x="441729" y="696111"/>
                  </a:lnTo>
                  <a:lnTo>
                    <a:pt x="491834" y="750862"/>
                  </a:lnTo>
                  <a:cubicBezTo>
                    <a:pt x="495154" y="754489"/>
                    <a:pt x="500846" y="756036"/>
                    <a:pt x="506115" y="755135"/>
                  </a:cubicBezTo>
                  <a:lnTo>
                    <a:pt x="507515" y="754652"/>
                  </a:lnTo>
                  <a:lnTo>
                    <a:pt x="508684" y="754573"/>
                  </a:lnTo>
                  <a:cubicBezTo>
                    <a:pt x="513857" y="753383"/>
                    <a:pt x="517872" y="749892"/>
                    <a:pt x="518511" y="745471"/>
                  </a:cubicBezTo>
                  <a:close/>
                  <a:moveTo>
                    <a:pt x="278037" y="2725"/>
                  </a:moveTo>
                  <a:cubicBezTo>
                    <a:pt x="424975" y="-17623"/>
                    <a:pt x="592709" y="74768"/>
                    <a:pt x="680700" y="321144"/>
                  </a:cubicBezTo>
                  <a:cubicBezTo>
                    <a:pt x="891880" y="-270158"/>
                    <a:pt x="1562374" y="25493"/>
                    <a:pt x="1302359" y="637913"/>
                  </a:cubicBezTo>
                  <a:lnTo>
                    <a:pt x="1265536" y="714768"/>
                  </a:lnTo>
                  <a:lnTo>
                    <a:pt x="933484" y="714768"/>
                  </a:lnTo>
                  <a:lnTo>
                    <a:pt x="898100" y="688070"/>
                  </a:lnTo>
                  <a:lnTo>
                    <a:pt x="897456" y="687749"/>
                  </a:lnTo>
                  <a:lnTo>
                    <a:pt x="895302" y="686090"/>
                  </a:lnTo>
                  <a:cubicBezTo>
                    <a:pt x="888916" y="682826"/>
                    <a:pt x="880329" y="684195"/>
                    <a:pt x="876120" y="689147"/>
                  </a:cubicBezTo>
                  <a:lnTo>
                    <a:pt x="831423" y="741749"/>
                  </a:lnTo>
                  <a:lnTo>
                    <a:pt x="783111" y="613314"/>
                  </a:lnTo>
                  <a:cubicBezTo>
                    <a:pt x="781505" y="609044"/>
                    <a:pt x="776779" y="606137"/>
                    <a:pt x="771420" y="605652"/>
                  </a:cubicBezTo>
                  <a:lnTo>
                    <a:pt x="768493" y="605844"/>
                  </a:lnTo>
                  <a:lnTo>
                    <a:pt x="768400" y="605836"/>
                  </a:lnTo>
                  <a:lnTo>
                    <a:pt x="768307" y="605857"/>
                  </a:lnTo>
                  <a:lnTo>
                    <a:pt x="765941" y="606012"/>
                  </a:lnTo>
                  <a:lnTo>
                    <a:pt x="763941" y="606826"/>
                  </a:lnTo>
                  <a:lnTo>
                    <a:pt x="763296" y="606969"/>
                  </a:lnTo>
                  <a:lnTo>
                    <a:pt x="762698" y="607331"/>
                  </a:lnTo>
                  <a:lnTo>
                    <a:pt x="761071" y="607993"/>
                  </a:lnTo>
                  <a:lnTo>
                    <a:pt x="760081" y="608917"/>
                  </a:lnTo>
                  <a:lnTo>
                    <a:pt x="759113" y="609503"/>
                  </a:lnTo>
                  <a:lnTo>
                    <a:pt x="758398" y="610486"/>
                  </a:lnTo>
                  <a:lnTo>
                    <a:pt x="757677" y="611158"/>
                  </a:lnTo>
                  <a:lnTo>
                    <a:pt x="757374" y="611894"/>
                  </a:lnTo>
                  <a:lnTo>
                    <a:pt x="756411" y="613217"/>
                  </a:lnTo>
                  <a:lnTo>
                    <a:pt x="641482" y="887268"/>
                  </a:lnTo>
                  <a:lnTo>
                    <a:pt x="572883" y="383804"/>
                  </a:lnTo>
                  <a:cubicBezTo>
                    <a:pt x="572079" y="377906"/>
                    <a:pt x="565262" y="373630"/>
                    <a:pt x="557657" y="374254"/>
                  </a:cubicBezTo>
                  <a:lnTo>
                    <a:pt x="557022" y="374408"/>
                  </a:lnTo>
                  <a:lnTo>
                    <a:pt x="552804" y="374695"/>
                  </a:lnTo>
                  <a:cubicBezTo>
                    <a:pt x="547630" y="375885"/>
                    <a:pt x="543616" y="379376"/>
                    <a:pt x="542976" y="383797"/>
                  </a:cubicBezTo>
                  <a:lnTo>
                    <a:pt x="494769" y="716960"/>
                  </a:lnTo>
                  <a:lnTo>
                    <a:pt x="452246" y="670494"/>
                  </a:lnTo>
                  <a:cubicBezTo>
                    <a:pt x="451139" y="669285"/>
                    <a:pt x="449769" y="668307"/>
                    <a:pt x="448239" y="667574"/>
                  </a:cubicBezTo>
                  <a:lnTo>
                    <a:pt x="447146" y="667254"/>
                  </a:lnTo>
                  <a:lnTo>
                    <a:pt x="446615" y="666907"/>
                  </a:lnTo>
                  <a:cubicBezTo>
                    <a:pt x="444939" y="666193"/>
                    <a:pt x="443157" y="665776"/>
                    <a:pt x="441367" y="665634"/>
                  </a:cubicBezTo>
                  <a:cubicBezTo>
                    <a:pt x="435999" y="665207"/>
                    <a:pt x="430574" y="667251"/>
                    <a:pt x="427812" y="671149"/>
                  </a:cubicBezTo>
                  <a:lnTo>
                    <a:pt x="400689" y="709446"/>
                  </a:lnTo>
                  <a:lnTo>
                    <a:pt x="93314" y="709446"/>
                  </a:lnTo>
                  <a:lnTo>
                    <a:pt x="59041" y="637913"/>
                  </a:lnTo>
                  <a:cubicBezTo>
                    <a:pt x="-92634" y="280668"/>
                    <a:pt x="72322" y="31212"/>
                    <a:pt x="278037" y="2725"/>
                  </a:cubicBezTo>
                  <a:close/>
                </a:path>
              </a:pathLst>
            </a:custGeom>
            <a:solidFill>
              <a:srgbClr val="FFFFFF"/>
            </a:solidFill>
            <a:ln w="25400" cap="flat" cmpd="sng" algn="ctr">
              <a:noFill/>
              <a:prstDash val="solid"/>
            </a:ln>
            <a:effectLst/>
          </p:spPr>
          <p:txBody>
            <a:bodyPr anchor="ctr"/>
            <a:lstStyle/>
            <a:p>
              <a:pPr algn="ctr" eaLnBrk="1" fontAlgn="auto" hangingPunct="1">
                <a:lnSpc>
                  <a:spcPct val="90000"/>
                </a:lnSpc>
                <a:spcBef>
                  <a:spcPts val="0"/>
                </a:spcBef>
                <a:spcAft>
                  <a:spcPts val="0"/>
                </a:spcAft>
                <a:defRPr/>
              </a:pPr>
              <a:endParaRPr lang="en-US" kern="0" dirty="0">
                <a:solidFill>
                  <a:srgbClr val="FFFFFF"/>
                </a:solidFill>
                <a:latin typeface="Arial"/>
                <a:cs typeface="+mn-cs"/>
              </a:endParaRPr>
            </a:p>
          </p:txBody>
        </p:sp>
      </p:grpSp>
      <p:grpSp>
        <p:nvGrpSpPr>
          <p:cNvPr id="160" name="Gruppieren 17">
            <a:extLst>
              <a:ext uri="{FF2B5EF4-FFF2-40B4-BE49-F238E27FC236}"/>
            </a:extLst>
          </p:cNvPr>
          <p:cNvGrpSpPr/>
          <p:nvPr/>
        </p:nvGrpSpPr>
        <p:grpSpPr>
          <a:xfrm>
            <a:off x="4958840" y="3427670"/>
            <a:ext cx="73709" cy="103383"/>
            <a:chOff x="6415448" y="3293018"/>
            <a:chExt cx="616470" cy="864659"/>
          </a:xfrm>
          <a:solidFill>
            <a:srgbClr val="FFFFFF"/>
          </a:solidFill>
        </p:grpSpPr>
        <p:sp>
          <p:nvSpPr>
            <p:cNvPr id="161" name="Oval 32">
              <a:extLst>
                <a:ext uri="{FF2B5EF4-FFF2-40B4-BE49-F238E27FC236}"/>
              </a:extLst>
            </p:cNvPr>
            <p:cNvSpPr>
              <a:spLocks noChangeArrowheads="1"/>
            </p:cNvSpPr>
            <p:nvPr/>
          </p:nvSpPr>
          <p:spPr bwMode="auto">
            <a:xfrm>
              <a:off x="6415448" y="3493171"/>
              <a:ext cx="265345" cy="267633"/>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62" name="Oval 33">
              <a:extLst>
                <a:ext uri="{FF2B5EF4-FFF2-40B4-BE49-F238E27FC236}"/>
              </a:extLst>
            </p:cNvPr>
            <p:cNvSpPr>
              <a:spLocks noChangeArrowheads="1"/>
            </p:cNvSpPr>
            <p:nvPr/>
          </p:nvSpPr>
          <p:spPr bwMode="auto">
            <a:xfrm>
              <a:off x="6766573" y="3533201"/>
              <a:ext cx="265345" cy="267633"/>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63" name="Oval 34">
              <a:extLst>
                <a:ext uri="{FF2B5EF4-FFF2-40B4-BE49-F238E27FC236}"/>
              </a:extLst>
            </p:cNvPr>
            <p:cNvSpPr>
              <a:spLocks noChangeArrowheads="1"/>
            </p:cNvSpPr>
            <p:nvPr/>
          </p:nvSpPr>
          <p:spPr bwMode="auto">
            <a:xfrm>
              <a:off x="6577858" y="3293018"/>
              <a:ext cx="188715" cy="186427"/>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64" name="Oval 35">
              <a:extLst>
                <a:ext uri="{FF2B5EF4-FFF2-40B4-BE49-F238E27FC236}"/>
              </a:extLst>
            </p:cNvPr>
            <p:cNvSpPr>
              <a:spLocks noChangeArrowheads="1"/>
            </p:cNvSpPr>
            <p:nvPr/>
          </p:nvSpPr>
          <p:spPr bwMode="auto">
            <a:xfrm>
              <a:off x="6453191" y="3971250"/>
              <a:ext cx="189859" cy="186427"/>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grpSp>
      <p:grpSp>
        <p:nvGrpSpPr>
          <p:cNvPr id="77864" name="Group 167"/>
          <p:cNvGrpSpPr>
            <a:grpSpLocks/>
          </p:cNvGrpSpPr>
          <p:nvPr/>
        </p:nvGrpSpPr>
        <p:grpSpPr bwMode="auto">
          <a:xfrm>
            <a:off x="4824413" y="2874963"/>
            <a:ext cx="360362" cy="360362"/>
            <a:chOff x="6255226" y="1916832"/>
            <a:chExt cx="432000" cy="432000"/>
          </a:xfrm>
        </p:grpSpPr>
        <p:sp>
          <p:nvSpPr>
            <p:cNvPr id="169" name="Ellipse 323">
              <a:extLst>
                <a:ext uri="{FF2B5EF4-FFF2-40B4-BE49-F238E27FC236}"/>
              </a:extLst>
            </p:cNvPr>
            <p:cNvSpPr/>
            <p:nvPr/>
          </p:nvSpPr>
          <p:spPr bwMode="gray">
            <a:xfrm>
              <a:off x="6255226" y="1916832"/>
              <a:ext cx="432000" cy="432000"/>
            </a:xfrm>
            <a:prstGeom prst="ellipse">
              <a:avLst/>
            </a:prstGeom>
            <a:solidFill>
              <a:schemeClr val="accent1"/>
            </a:solidFill>
            <a:ln w="6350">
              <a:noFill/>
              <a:round/>
              <a:headEnd/>
              <a:tailEnd/>
            </a:ln>
            <a:extLst>
              <a:ext uri="{91240B29-F687-4F45-9708-019B960494DF}">
                <a14:hiddenLine xmlns:a14="http://schemas.microsoft.com/office/drawing/2010/main" w="6350">
                  <a:solidFill>
                    <a:srgbClr val="ADABA1"/>
                  </a:solidFill>
                  <a:round/>
                  <a:headEnd/>
                  <a:tailEnd/>
                </a14:hiddenLine>
              </a:ext>
            </a:extLst>
          </p:spPr>
          <p:txBody>
            <a:bodyPr lIns="71120" tIns="71120" rIns="71120" bIns="71120" anchor="ctr"/>
            <a:lstStyle/>
            <a:p>
              <a:pPr algn="ctr" eaLnBrk="1" fontAlgn="auto" hangingPunct="1">
                <a:lnSpc>
                  <a:spcPct val="90000"/>
                </a:lnSpc>
                <a:spcBef>
                  <a:spcPts val="0"/>
                </a:spcBef>
                <a:spcAft>
                  <a:spcPts val="0"/>
                </a:spcAft>
                <a:defRPr/>
              </a:pPr>
              <a:endParaRPr lang="en-US" kern="0" dirty="0">
                <a:solidFill>
                  <a:srgbClr val="FFFFFF"/>
                </a:solidFill>
              </a:endParaRPr>
            </a:p>
          </p:txBody>
        </p:sp>
        <p:sp>
          <p:nvSpPr>
            <p:cNvPr id="170" name="Freeform 63">
              <a:extLst>
                <a:ext uri="{FF2B5EF4-FFF2-40B4-BE49-F238E27FC236}"/>
              </a:extLst>
            </p:cNvPr>
            <p:cNvSpPr>
              <a:spLocks noEditPoints="1"/>
            </p:cNvSpPr>
            <p:nvPr/>
          </p:nvSpPr>
          <p:spPr bwMode="auto">
            <a:xfrm>
              <a:off x="6293288" y="2006276"/>
              <a:ext cx="355877" cy="262626"/>
            </a:xfrm>
            <a:custGeom>
              <a:avLst/>
              <a:gdLst/>
              <a:ahLst/>
              <a:cxnLst>
                <a:cxn ang="0">
                  <a:pos x="0" y="32"/>
                </a:cxn>
                <a:cxn ang="0">
                  <a:pos x="0" y="35"/>
                </a:cxn>
                <a:cxn ang="0">
                  <a:pos x="83" y="35"/>
                </a:cxn>
                <a:cxn ang="0">
                  <a:pos x="83" y="32"/>
                </a:cxn>
                <a:cxn ang="0">
                  <a:pos x="0" y="32"/>
                </a:cxn>
                <a:cxn ang="0">
                  <a:pos x="41" y="53"/>
                </a:cxn>
                <a:cxn ang="0">
                  <a:pos x="22" y="33"/>
                </a:cxn>
                <a:cxn ang="0">
                  <a:pos x="41" y="14"/>
                </a:cxn>
                <a:cxn ang="0">
                  <a:pos x="60" y="33"/>
                </a:cxn>
                <a:cxn ang="0">
                  <a:pos x="41" y="53"/>
                </a:cxn>
              </a:cxnLst>
              <a:rect l="0" t="0" r="r" b="b"/>
              <a:pathLst>
                <a:path w="83" h="67">
                  <a:moveTo>
                    <a:pt x="0" y="32"/>
                  </a:moveTo>
                  <a:cubicBezTo>
                    <a:pt x="0" y="35"/>
                    <a:pt x="0" y="35"/>
                    <a:pt x="0" y="35"/>
                  </a:cubicBezTo>
                  <a:cubicBezTo>
                    <a:pt x="19" y="67"/>
                    <a:pt x="63" y="67"/>
                    <a:pt x="83" y="35"/>
                  </a:cubicBezTo>
                  <a:cubicBezTo>
                    <a:pt x="83" y="32"/>
                    <a:pt x="83" y="32"/>
                    <a:pt x="83" y="32"/>
                  </a:cubicBezTo>
                  <a:cubicBezTo>
                    <a:pt x="63" y="0"/>
                    <a:pt x="19" y="0"/>
                    <a:pt x="0" y="32"/>
                  </a:cubicBezTo>
                  <a:close/>
                  <a:moveTo>
                    <a:pt x="41" y="53"/>
                  </a:moveTo>
                  <a:cubicBezTo>
                    <a:pt x="31" y="53"/>
                    <a:pt x="22" y="44"/>
                    <a:pt x="22" y="33"/>
                  </a:cubicBezTo>
                  <a:cubicBezTo>
                    <a:pt x="22" y="23"/>
                    <a:pt x="31" y="14"/>
                    <a:pt x="41" y="14"/>
                  </a:cubicBezTo>
                  <a:cubicBezTo>
                    <a:pt x="52" y="14"/>
                    <a:pt x="60" y="23"/>
                    <a:pt x="60" y="33"/>
                  </a:cubicBezTo>
                  <a:cubicBezTo>
                    <a:pt x="60" y="44"/>
                    <a:pt x="52" y="53"/>
                    <a:pt x="41" y="53"/>
                  </a:cubicBezTo>
                  <a:close/>
                </a:path>
              </a:pathLst>
            </a:custGeom>
            <a:solidFill>
              <a:srgbClr val="FFFFFF"/>
            </a:solidFill>
            <a:ln w="9525">
              <a:solidFill>
                <a:schemeClr val="accent1"/>
              </a:solidFill>
              <a:round/>
              <a:headEnd/>
              <a:tailEnd/>
            </a:ln>
          </p:spPr>
          <p:txBody>
            <a:bodyPr lIns="84420" tIns="42210" rIns="84420" bIns="42210"/>
            <a:lstStyle/>
            <a:p>
              <a:pPr eaLnBrk="1" fontAlgn="auto" hangingPunct="1">
                <a:lnSpc>
                  <a:spcPct val="90000"/>
                </a:lnSpc>
                <a:spcBef>
                  <a:spcPts val="0"/>
                </a:spcBef>
                <a:spcAft>
                  <a:spcPts val="0"/>
                </a:spcAft>
                <a:defRPr/>
              </a:pPr>
              <a:endParaRPr lang="en-US" sz="3877" kern="0" dirty="0">
                <a:solidFill>
                  <a:srgbClr val="364086"/>
                </a:solidFill>
              </a:endParaRPr>
            </a:p>
          </p:txBody>
        </p:sp>
        <p:sp>
          <p:nvSpPr>
            <p:cNvPr id="171" name="Oval 64">
              <a:extLst>
                <a:ext uri="{FF2B5EF4-FFF2-40B4-BE49-F238E27FC236}"/>
              </a:extLst>
            </p:cNvPr>
            <p:cNvSpPr>
              <a:spLocks noChangeArrowheads="1"/>
            </p:cNvSpPr>
            <p:nvPr/>
          </p:nvSpPr>
          <p:spPr bwMode="auto">
            <a:xfrm>
              <a:off x="6434116" y="2103334"/>
              <a:ext cx="72317" cy="66607"/>
            </a:xfrm>
            <a:prstGeom prst="ellipse">
              <a:avLst/>
            </a:prstGeom>
            <a:solidFill>
              <a:srgbClr val="FFFFFF"/>
            </a:solidFill>
            <a:ln w="9525">
              <a:solidFill>
                <a:schemeClr val="accent1"/>
              </a:solidFill>
              <a:round/>
              <a:headEnd/>
              <a:tailEnd/>
            </a:ln>
          </p:spPr>
          <p:txBody>
            <a:bodyPr lIns="84420" tIns="42210" rIns="84420" bIns="42210"/>
            <a:lstStyle/>
            <a:p>
              <a:pPr eaLnBrk="1" fontAlgn="auto" hangingPunct="1">
                <a:lnSpc>
                  <a:spcPct val="90000"/>
                </a:lnSpc>
                <a:spcBef>
                  <a:spcPts val="0"/>
                </a:spcBef>
                <a:spcAft>
                  <a:spcPts val="0"/>
                </a:spcAft>
                <a:defRPr/>
              </a:pPr>
              <a:endParaRPr lang="en-US" sz="3877" kern="0" dirty="0">
                <a:solidFill>
                  <a:srgbClr val="364086"/>
                </a:solidFill>
              </a:endParaRPr>
            </a:p>
          </p:txBody>
        </p:sp>
        <p:sp>
          <p:nvSpPr>
            <p:cNvPr id="172" name="Freeform 204">
              <a:extLst>
                <a:ext uri="{FF2B5EF4-FFF2-40B4-BE49-F238E27FC236}"/>
              </a:extLst>
            </p:cNvPr>
            <p:cNvSpPr>
              <a:spLocks noEditPoints="1"/>
            </p:cNvSpPr>
            <p:nvPr/>
          </p:nvSpPr>
          <p:spPr bwMode="auto">
            <a:xfrm>
              <a:off x="6375120" y="2050048"/>
              <a:ext cx="192212" cy="176986"/>
            </a:xfrm>
            <a:custGeom>
              <a:avLst/>
              <a:gdLst/>
              <a:ahLst/>
              <a:cxnLst>
                <a:cxn ang="0">
                  <a:pos x="38" y="0"/>
                </a:cxn>
                <a:cxn ang="0">
                  <a:pos x="0" y="39"/>
                </a:cxn>
                <a:cxn ang="0">
                  <a:pos x="38" y="77"/>
                </a:cxn>
                <a:cxn ang="0">
                  <a:pos x="77" y="39"/>
                </a:cxn>
                <a:cxn ang="0">
                  <a:pos x="38" y="0"/>
                </a:cxn>
                <a:cxn ang="0">
                  <a:pos x="38" y="10"/>
                </a:cxn>
                <a:cxn ang="0">
                  <a:pos x="54" y="15"/>
                </a:cxn>
                <a:cxn ang="0">
                  <a:pos x="15" y="55"/>
                </a:cxn>
                <a:cxn ang="0">
                  <a:pos x="10" y="39"/>
                </a:cxn>
                <a:cxn ang="0">
                  <a:pos x="38" y="10"/>
                </a:cxn>
                <a:cxn ang="0">
                  <a:pos x="38" y="67"/>
                </a:cxn>
                <a:cxn ang="0">
                  <a:pos x="23" y="62"/>
                </a:cxn>
                <a:cxn ang="0">
                  <a:pos x="62" y="23"/>
                </a:cxn>
                <a:cxn ang="0">
                  <a:pos x="67" y="39"/>
                </a:cxn>
                <a:cxn ang="0">
                  <a:pos x="38" y="67"/>
                </a:cxn>
              </a:cxnLst>
              <a:rect l="0" t="0" r="r" b="b"/>
              <a:pathLst>
                <a:path w="77" h="77">
                  <a:moveTo>
                    <a:pt x="38" y="0"/>
                  </a:moveTo>
                  <a:cubicBezTo>
                    <a:pt x="17" y="0"/>
                    <a:pt x="0" y="17"/>
                    <a:pt x="0" y="39"/>
                  </a:cubicBezTo>
                  <a:cubicBezTo>
                    <a:pt x="0" y="60"/>
                    <a:pt x="17" y="77"/>
                    <a:pt x="38" y="77"/>
                  </a:cubicBezTo>
                  <a:cubicBezTo>
                    <a:pt x="60" y="77"/>
                    <a:pt x="77" y="60"/>
                    <a:pt x="77" y="39"/>
                  </a:cubicBezTo>
                  <a:cubicBezTo>
                    <a:pt x="77" y="17"/>
                    <a:pt x="60" y="0"/>
                    <a:pt x="38" y="0"/>
                  </a:cubicBezTo>
                  <a:close/>
                  <a:moveTo>
                    <a:pt x="38" y="10"/>
                  </a:moveTo>
                  <a:cubicBezTo>
                    <a:pt x="44" y="10"/>
                    <a:pt x="50" y="12"/>
                    <a:pt x="54" y="15"/>
                  </a:cubicBezTo>
                  <a:cubicBezTo>
                    <a:pt x="15" y="55"/>
                    <a:pt x="15" y="55"/>
                    <a:pt x="15" y="55"/>
                  </a:cubicBezTo>
                  <a:cubicBezTo>
                    <a:pt x="12" y="50"/>
                    <a:pt x="10" y="45"/>
                    <a:pt x="10" y="39"/>
                  </a:cubicBezTo>
                  <a:cubicBezTo>
                    <a:pt x="10" y="23"/>
                    <a:pt x="23" y="10"/>
                    <a:pt x="38" y="10"/>
                  </a:cubicBezTo>
                  <a:close/>
                  <a:moveTo>
                    <a:pt x="38" y="67"/>
                  </a:moveTo>
                  <a:cubicBezTo>
                    <a:pt x="33" y="67"/>
                    <a:pt x="27" y="65"/>
                    <a:pt x="23" y="62"/>
                  </a:cubicBezTo>
                  <a:cubicBezTo>
                    <a:pt x="62" y="23"/>
                    <a:pt x="62" y="23"/>
                    <a:pt x="62" y="23"/>
                  </a:cubicBezTo>
                  <a:cubicBezTo>
                    <a:pt x="65" y="27"/>
                    <a:pt x="67" y="33"/>
                    <a:pt x="67" y="39"/>
                  </a:cubicBezTo>
                  <a:cubicBezTo>
                    <a:pt x="67" y="54"/>
                    <a:pt x="54" y="67"/>
                    <a:pt x="38" y="67"/>
                  </a:cubicBezTo>
                  <a:close/>
                </a:path>
              </a:pathLst>
            </a:custGeom>
            <a:solidFill>
              <a:srgbClr val="FFFFFF"/>
            </a:solidFill>
            <a:ln w="9525">
              <a:solidFill>
                <a:schemeClr val="accent1"/>
              </a:solidFill>
              <a:round/>
              <a:headEnd/>
              <a:tailEnd/>
            </a:ln>
          </p:spPr>
          <p:txBody>
            <a:bodyPr lIns="84420" tIns="42210" rIns="84420" bIns="42210"/>
            <a:lstStyle/>
            <a:p>
              <a:pPr eaLnBrk="1" fontAlgn="auto" hangingPunct="1">
                <a:lnSpc>
                  <a:spcPct val="90000"/>
                </a:lnSpc>
                <a:spcBef>
                  <a:spcPts val="0"/>
                </a:spcBef>
                <a:spcAft>
                  <a:spcPts val="0"/>
                </a:spcAft>
                <a:defRPr/>
              </a:pPr>
              <a:endParaRPr lang="en-US" sz="3877" kern="0" dirty="0">
                <a:solidFill>
                  <a:srgbClr val="364086"/>
                </a:solidFill>
              </a:endParaRPr>
            </a:p>
          </p:txBody>
        </p:sp>
      </p:grpSp>
      <p:grpSp>
        <p:nvGrpSpPr>
          <p:cNvPr id="77865" name="Group 172"/>
          <p:cNvGrpSpPr>
            <a:grpSpLocks/>
          </p:cNvGrpSpPr>
          <p:nvPr/>
        </p:nvGrpSpPr>
        <p:grpSpPr bwMode="auto">
          <a:xfrm>
            <a:off x="4824413" y="3597275"/>
            <a:ext cx="360362" cy="360363"/>
            <a:chOff x="5296613" y="5841671"/>
            <a:chExt cx="431800" cy="431800"/>
          </a:xfrm>
        </p:grpSpPr>
        <p:sp>
          <p:nvSpPr>
            <p:cNvPr id="174" name="Ellipse 528">
              <a:extLst>
                <a:ext uri="{FF2B5EF4-FFF2-40B4-BE49-F238E27FC236}"/>
              </a:extLst>
            </p:cNvPr>
            <p:cNvSpPr/>
            <p:nvPr/>
          </p:nvSpPr>
          <p:spPr bwMode="gray">
            <a:xfrm>
              <a:off x="5296613" y="5841671"/>
              <a:ext cx="431800" cy="431800"/>
            </a:xfrm>
            <a:prstGeom prst="ellipse">
              <a:avLst/>
            </a:prstGeom>
            <a:solidFill>
              <a:schemeClr val="accent1"/>
            </a:solidFill>
            <a:ln w="12700">
              <a:noFill/>
              <a:round/>
              <a:headEnd/>
              <a:tailEnd/>
            </a:ln>
          </p:spPr>
          <p:txBody>
            <a:bodyPr anchor="ctr"/>
            <a:lstStyle/>
            <a:p>
              <a:pPr algn="ctr" eaLnBrk="1" fontAlgn="auto" hangingPunct="1">
                <a:lnSpc>
                  <a:spcPct val="90000"/>
                </a:lnSpc>
                <a:spcBef>
                  <a:spcPts val="0"/>
                </a:spcBef>
                <a:spcAft>
                  <a:spcPts val="0"/>
                </a:spcAft>
                <a:defRPr/>
              </a:pPr>
              <a:endParaRPr lang="en-US" kern="0" dirty="0">
                <a:solidFill>
                  <a:srgbClr val="000000"/>
                </a:solidFill>
              </a:endParaRPr>
            </a:p>
          </p:txBody>
        </p:sp>
        <p:grpSp>
          <p:nvGrpSpPr>
            <p:cNvPr id="77874" name="Group 174"/>
            <p:cNvGrpSpPr>
              <a:grpSpLocks/>
            </p:cNvGrpSpPr>
            <p:nvPr/>
          </p:nvGrpSpPr>
          <p:grpSpPr bwMode="auto">
            <a:xfrm>
              <a:off x="5347339" y="5869781"/>
              <a:ext cx="331941" cy="371586"/>
              <a:chOff x="-1268413" y="1435100"/>
              <a:chExt cx="1136650" cy="1285875"/>
            </a:xfrm>
          </p:grpSpPr>
          <p:sp>
            <p:nvSpPr>
              <p:cNvPr id="176" name="Freeform 6">
                <a:extLst>
                  <a:ext uri="{FF2B5EF4-FFF2-40B4-BE49-F238E27FC236}"/>
                </a:extLst>
              </p:cNvPr>
              <p:cNvSpPr>
                <a:spLocks/>
              </p:cNvSpPr>
              <p:nvPr/>
            </p:nvSpPr>
            <p:spPr bwMode="auto">
              <a:xfrm>
                <a:off x="-595341" y="2002669"/>
                <a:ext cx="169354" cy="171147"/>
              </a:xfrm>
              <a:custGeom>
                <a:avLst/>
                <a:gdLst>
                  <a:gd name="T0" fmla="*/ 24 w 45"/>
                  <a:gd name="T1" fmla="*/ 0 h 45"/>
                  <a:gd name="T2" fmla="*/ 8 w 45"/>
                  <a:gd name="T3" fmla="*/ 6 h 45"/>
                  <a:gd name="T4" fmla="*/ 0 w 45"/>
                  <a:gd name="T5" fmla="*/ 21 h 45"/>
                  <a:gd name="T6" fmla="*/ 5 w 45"/>
                  <a:gd name="T7" fmla="*/ 37 h 45"/>
                  <a:gd name="T8" fmla="*/ 20 w 45"/>
                  <a:gd name="T9" fmla="*/ 45 h 45"/>
                  <a:gd name="T10" fmla="*/ 37 w 45"/>
                  <a:gd name="T11" fmla="*/ 40 h 45"/>
                  <a:gd name="T12" fmla="*/ 44 w 45"/>
                  <a:gd name="T13" fmla="*/ 25 h 45"/>
                  <a:gd name="T14" fmla="*/ 39 w 45"/>
                  <a:gd name="T15" fmla="*/ 8 h 45"/>
                  <a:gd name="T16" fmla="*/ 24 w 45"/>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5">
                    <a:moveTo>
                      <a:pt x="24" y="0"/>
                    </a:moveTo>
                    <a:cubicBezTo>
                      <a:pt x="18" y="0"/>
                      <a:pt x="12" y="2"/>
                      <a:pt x="8" y="6"/>
                    </a:cubicBezTo>
                    <a:cubicBezTo>
                      <a:pt x="4" y="9"/>
                      <a:pt x="1" y="15"/>
                      <a:pt x="0" y="21"/>
                    </a:cubicBezTo>
                    <a:cubicBezTo>
                      <a:pt x="0" y="27"/>
                      <a:pt x="2" y="33"/>
                      <a:pt x="5" y="37"/>
                    </a:cubicBezTo>
                    <a:cubicBezTo>
                      <a:pt x="9" y="41"/>
                      <a:pt x="14" y="44"/>
                      <a:pt x="20" y="45"/>
                    </a:cubicBezTo>
                    <a:cubicBezTo>
                      <a:pt x="26" y="45"/>
                      <a:pt x="32" y="43"/>
                      <a:pt x="37" y="40"/>
                    </a:cubicBezTo>
                    <a:cubicBezTo>
                      <a:pt x="41" y="36"/>
                      <a:pt x="44" y="31"/>
                      <a:pt x="44" y="25"/>
                    </a:cubicBezTo>
                    <a:cubicBezTo>
                      <a:pt x="45" y="18"/>
                      <a:pt x="43" y="13"/>
                      <a:pt x="39" y="8"/>
                    </a:cubicBezTo>
                    <a:cubicBezTo>
                      <a:pt x="36" y="4"/>
                      <a:pt x="30" y="1"/>
                      <a:pt x="24" y="0"/>
                    </a:cubicBezTo>
                    <a:close/>
                  </a:path>
                </a:pathLst>
              </a:custGeom>
              <a:solidFill>
                <a:srgbClr val="FFFFFF"/>
              </a:solidFill>
              <a:ln>
                <a:noFill/>
              </a:ln>
              <a:extLst/>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77" name="Freeform 7">
                <a:extLst>
                  <a:ext uri="{FF2B5EF4-FFF2-40B4-BE49-F238E27FC236}"/>
                </a:extLst>
              </p:cNvPr>
              <p:cNvSpPr>
                <a:spLocks/>
              </p:cNvSpPr>
              <p:nvPr/>
            </p:nvSpPr>
            <p:spPr bwMode="auto">
              <a:xfrm>
                <a:off x="-966620" y="1693286"/>
                <a:ext cx="254034" cy="250138"/>
              </a:xfrm>
              <a:custGeom>
                <a:avLst/>
                <a:gdLst>
                  <a:gd name="T0" fmla="*/ 37 w 68"/>
                  <a:gd name="T1" fmla="*/ 1 h 67"/>
                  <a:gd name="T2" fmla="*/ 13 w 68"/>
                  <a:gd name="T3" fmla="*/ 8 h 67"/>
                  <a:gd name="T4" fmla="*/ 1 w 68"/>
                  <a:gd name="T5" fmla="*/ 31 h 67"/>
                  <a:gd name="T6" fmla="*/ 9 w 68"/>
                  <a:gd name="T7" fmla="*/ 55 h 67"/>
                  <a:gd name="T8" fmla="*/ 31 w 68"/>
                  <a:gd name="T9" fmla="*/ 66 h 67"/>
                  <a:gd name="T10" fmla="*/ 55 w 68"/>
                  <a:gd name="T11" fmla="*/ 59 h 67"/>
                  <a:gd name="T12" fmla="*/ 67 w 68"/>
                  <a:gd name="T13" fmla="*/ 36 h 67"/>
                  <a:gd name="T14" fmla="*/ 59 w 68"/>
                  <a:gd name="T15" fmla="*/ 12 h 67"/>
                  <a:gd name="T16" fmla="*/ 37 w 68"/>
                  <a:gd name="T17" fmla="*/ 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7">
                    <a:moveTo>
                      <a:pt x="37" y="1"/>
                    </a:moveTo>
                    <a:cubicBezTo>
                      <a:pt x="28" y="0"/>
                      <a:pt x="19" y="3"/>
                      <a:pt x="13" y="8"/>
                    </a:cubicBezTo>
                    <a:cubicBezTo>
                      <a:pt x="6" y="14"/>
                      <a:pt x="2" y="22"/>
                      <a:pt x="1" y="31"/>
                    </a:cubicBezTo>
                    <a:cubicBezTo>
                      <a:pt x="0" y="40"/>
                      <a:pt x="3" y="48"/>
                      <a:pt x="9" y="55"/>
                    </a:cubicBezTo>
                    <a:cubicBezTo>
                      <a:pt x="14" y="61"/>
                      <a:pt x="22" y="66"/>
                      <a:pt x="31" y="66"/>
                    </a:cubicBezTo>
                    <a:cubicBezTo>
                      <a:pt x="40" y="67"/>
                      <a:pt x="49" y="64"/>
                      <a:pt x="55" y="59"/>
                    </a:cubicBezTo>
                    <a:cubicBezTo>
                      <a:pt x="62" y="53"/>
                      <a:pt x="66" y="45"/>
                      <a:pt x="67" y="36"/>
                    </a:cubicBezTo>
                    <a:cubicBezTo>
                      <a:pt x="68" y="27"/>
                      <a:pt x="65" y="19"/>
                      <a:pt x="59" y="12"/>
                    </a:cubicBezTo>
                    <a:cubicBezTo>
                      <a:pt x="54" y="6"/>
                      <a:pt x="46" y="1"/>
                      <a:pt x="37" y="1"/>
                    </a:cubicBezTo>
                    <a:close/>
                  </a:path>
                </a:pathLst>
              </a:custGeom>
              <a:solidFill>
                <a:srgbClr val="FFFFFF"/>
              </a:solidFill>
              <a:ln>
                <a:noFill/>
              </a:ln>
              <a:extLst/>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78" name="Freeform 8">
                <a:extLst>
                  <a:ext uri="{FF2B5EF4-FFF2-40B4-BE49-F238E27FC236}"/>
                </a:extLst>
              </p:cNvPr>
              <p:cNvSpPr>
                <a:spLocks/>
              </p:cNvSpPr>
              <p:nvPr/>
            </p:nvSpPr>
            <p:spPr bwMode="auto">
              <a:xfrm>
                <a:off x="-517177" y="1666956"/>
                <a:ext cx="169354" cy="171147"/>
              </a:xfrm>
              <a:custGeom>
                <a:avLst/>
                <a:gdLst>
                  <a:gd name="T0" fmla="*/ 25 w 45"/>
                  <a:gd name="T1" fmla="*/ 1 h 46"/>
                  <a:gd name="T2" fmla="*/ 8 w 45"/>
                  <a:gd name="T3" fmla="*/ 6 h 46"/>
                  <a:gd name="T4" fmla="*/ 1 w 45"/>
                  <a:gd name="T5" fmla="*/ 21 h 46"/>
                  <a:gd name="T6" fmla="*/ 6 w 45"/>
                  <a:gd name="T7" fmla="*/ 37 h 46"/>
                  <a:gd name="T8" fmla="*/ 21 w 45"/>
                  <a:gd name="T9" fmla="*/ 45 h 46"/>
                  <a:gd name="T10" fmla="*/ 37 w 45"/>
                  <a:gd name="T11" fmla="*/ 40 h 46"/>
                  <a:gd name="T12" fmla="*/ 45 w 45"/>
                  <a:gd name="T13" fmla="*/ 25 h 46"/>
                  <a:gd name="T14" fmla="*/ 40 w 45"/>
                  <a:gd name="T15" fmla="*/ 9 h 46"/>
                  <a:gd name="T16" fmla="*/ 25 w 45"/>
                  <a:gd name="T17"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46">
                    <a:moveTo>
                      <a:pt x="25" y="1"/>
                    </a:moveTo>
                    <a:cubicBezTo>
                      <a:pt x="18" y="0"/>
                      <a:pt x="13" y="2"/>
                      <a:pt x="8" y="6"/>
                    </a:cubicBezTo>
                    <a:cubicBezTo>
                      <a:pt x="4" y="10"/>
                      <a:pt x="1" y="15"/>
                      <a:pt x="1" y="21"/>
                    </a:cubicBezTo>
                    <a:cubicBezTo>
                      <a:pt x="0" y="27"/>
                      <a:pt x="2" y="33"/>
                      <a:pt x="6" y="37"/>
                    </a:cubicBezTo>
                    <a:cubicBezTo>
                      <a:pt x="9" y="42"/>
                      <a:pt x="15" y="44"/>
                      <a:pt x="21" y="45"/>
                    </a:cubicBezTo>
                    <a:cubicBezTo>
                      <a:pt x="27" y="46"/>
                      <a:pt x="33" y="44"/>
                      <a:pt x="37" y="40"/>
                    </a:cubicBezTo>
                    <a:cubicBezTo>
                      <a:pt x="41" y="36"/>
                      <a:pt x="44" y="31"/>
                      <a:pt x="45" y="25"/>
                    </a:cubicBezTo>
                    <a:cubicBezTo>
                      <a:pt x="45" y="19"/>
                      <a:pt x="43" y="13"/>
                      <a:pt x="40" y="9"/>
                    </a:cubicBezTo>
                    <a:cubicBezTo>
                      <a:pt x="36" y="4"/>
                      <a:pt x="31" y="1"/>
                      <a:pt x="25" y="1"/>
                    </a:cubicBezTo>
                    <a:close/>
                  </a:path>
                </a:pathLst>
              </a:custGeom>
              <a:solidFill>
                <a:srgbClr val="FFFFFF"/>
              </a:solidFill>
              <a:ln>
                <a:noFill/>
              </a:ln>
              <a:extLst/>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sp>
            <p:nvSpPr>
              <p:cNvPr id="179" name="Freeform 9">
                <a:extLst>
                  <a:ext uri="{FF2B5EF4-FFF2-40B4-BE49-F238E27FC236}"/>
                </a:extLst>
              </p:cNvPr>
              <p:cNvSpPr>
                <a:spLocks noEditPoints="1"/>
              </p:cNvSpPr>
              <p:nvPr/>
            </p:nvSpPr>
            <p:spPr bwMode="auto">
              <a:xfrm>
                <a:off x="-1266247" y="1436568"/>
                <a:ext cx="1133372" cy="1283599"/>
              </a:xfrm>
              <a:custGeom>
                <a:avLst/>
                <a:gdLst>
                  <a:gd name="T0" fmla="*/ 22 w 300"/>
                  <a:gd name="T1" fmla="*/ 129 h 340"/>
                  <a:gd name="T2" fmla="*/ 2 w 300"/>
                  <a:gd name="T3" fmla="*/ 201 h 340"/>
                  <a:gd name="T4" fmla="*/ 18 w 300"/>
                  <a:gd name="T5" fmla="*/ 230 h 340"/>
                  <a:gd name="T6" fmla="*/ 33 w 300"/>
                  <a:gd name="T7" fmla="*/ 248 h 340"/>
                  <a:gd name="T8" fmla="*/ 30 w 300"/>
                  <a:gd name="T9" fmla="*/ 265 h 340"/>
                  <a:gd name="T10" fmla="*/ 40 w 300"/>
                  <a:gd name="T11" fmla="*/ 296 h 340"/>
                  <a:gd name="T12" fmla="*/ 105 w 300"/>
                  <a:gd name="T13" fmla="*/ 306 h 340"/>
                  <a:gd name="T14" fmla="*/ 228 w 300"/>
                  <a:gd name="T15" fmla="*/ 303 h 340"/>
                  <a:gd name="T16" fmla="*/ 230 w 300"/>
                  <a:gd name="T17" fmla="*/ 255 h 340"/>
                  <a:gd name="T18" fmla="*/ 145 w 300"/>
                  <a:gd name="T19" fmla="*/ 0 h 340"/>
                  <a:gd name="T20" fmla="*/ 119 w 300"/>
                  <a:gd name="T21" fmla="*/ 151 h 340"/>
                  <a:gd name="T22" fmla="*/ 98 w 300"/>
                  <a:gd name="T23" fmla="*/ 161 h 340"/>
                  <a:gd name="T24" fmla="*/ 81 w 300"/>
                  <a:gd name="T25" fmla="*/ 140 h 340"/>
                  <a:gd name="T26" fmla="*/ 59 w 300"/>
                  <a:gd name="T27" fmla="*/ 132 h 340"/>
                  <a:gd name="T28" fmla="*/ 62 w 300"/>
                  <a:gd name="T29" fmla="*/ 106 h 340"/>
                  <a:gd name="T30" fmla="*/ 52 w 300"/>
                  <a:gd name="T31" fmla="*/ 85 h 340"/>
                  <a:gd name="T32" fmla="*/ 73 w 300"/>
                  <a:gd name="T33" fmla="*/ 69 h 340"/>
                  <a:gd name="T34" fmla="*/ 81 w 300"/>
                  <a:gd name="T35" fmla="*/ 47 h 340"/>
                  <a:gd name="T36" fmla="*/ 107 w 300"/>
                  <a:gd name="T37" fmla="*/ 50 h 340"/>
                  <a:gd name="T38" fmla="*/ 128 w 300"/>
                  <a:gd name="T39" fmla="*/ 40 h 340"/>
                  <a:gd name="T40" fmla="*/ 145 w 300"/>
                  <a:gd name="T41" fmla="*/ 60 h 340"/>
                  <a:gd name="T42" fmla="*/ 167 w 300"/>
                  <a:gd name="T43" fmla="*/ 68 h 340"/>
                  <a:gd name="T44" fmla="*/ 164 w 300"/>
                  <a:gd name="T45" fmla="*/ 95 h 340"/>
                  <a:gd name="T46" fmla="*/ 174 w 300"/>
                  <a:gd name="T47" fmla="*/ 116 h 340"/>
                  <a:gd name="T48" fmla="*/ 153 w 300"/>
                  <a:gd name="T49" fmla="*/ 132 h 340"/>
                  <a:gd name="T50" fmla="*/ 145 w 300"/>
                  <a:gd name="T51" fmla="*/ 154 h 340"/>
                  <a:gd name="T52" fmla="*/ 241 w 300"/>
                  <a:gd name="T53" fmla="*/ 183 h 340"/>
                  <a:gd name="T54" fmla="*/ 227 w 300"/>
                  <a:gd name="T55" fmla="*/ 194 h 340"/>
                  <a:gd name="T56" fmla="*/ 222 w 300"/>
                  <a:gd name="T57" fmla="*/ 209 h 340"/>
                  <a:gd name="T58" fmla="*/ 204 w 300"/>
                  <a:gd name="T59" fmla="*/ 207 h 340"/>
                  <a:gd name="T60" fmla="*/ 190 w 300"/>
                  <a:gd name="T61" fmla="*/ 213 h 340"/>
                  <a:gd name="T62" fmla="*/ 179 w 300"/>
                  <a:gd name="T63" fmla="*/ 200 h 340"/>
                  <a:gd name="T64" fmla="*/ 164 w 300"/>
                  <a:gd name="T65" fmla="*/ 194 h 340"/>
                  <a:gd name="T66" fmla="*/ 166 w 300"/>
                  <a:gd name="T67" fmla="*/ 176 h 340"/>
                  <a:gd name="T68" fmla="*/ 159 w 300"/>
                  <a:gd name="T69" fmla="*/ 162 h 340"/>
                  <a:gd name="T70" fmla="*/ 173 w 300"/>
                  <a:gd name="T71" fmla="*/ 151 h 340"/>
                  <a:gd name="T72" fmla="*/ 179 w 300"/>
                  <a:gd name="T73" fmla="*/ 136 h 340"/>
                  <a:gd name="T74" fmla="*/ 196 w 300"/>
                  <a:gd name="T75" fmla="*/ 138 h 340"/>
                  <a:gd name="T76" fmla="*/ 211 w 300"/>
                  <a:gd name="T77" fmla="*/ 131 h 340"/>
                  <a:gd name="T78" fmla="*/ 222 w 300"/>
                  <a:gd name="T79" fmla="*/ 146 h 340"/>
                  <a:gd name="T80" fmla="*/ 237 w 300"/>
                  <a:gd name="T81" fmla="*/ 151 h 340"/>
                  <a:gd name="T82" fmla="*/ 234 w 300"/>
                  <a:gd name="T83" fmla="*/ 169 h 340"/>
                  <a:gd name="T84" fmla="*/ 241 w 300"/>
                  <a:gd name="T85" fmla="*/ 183 h 340"/>
                  <a:gd name="T86" fmla="*/ 255 w 300"/>
                  <a:gd name="T87" fmla="*/ 93 h 340"/>
                  <a:gd name="T88" fmla="*/ 254 w 300"/>
                  <a:gd name="T89" fmla="*/ 111 h 340"/>
                  <a:gd name="T90" fmla="*/ 238 w 300"/>
                  <a:gd name="T91" fmla="*/ 114 h 340"/>
                  <a:gd name="T92" fmla="*/ 225 w 300"/>
                  <a:gd name="T93" fmla="*/ 126 h 340"/>
                  <a:gd name="T94" fmla="*/ 212 w 300"/>
                  <a:gd name="T95" fmla="*/ 117 h 340"/>
                  <a:gd name="T96" fmla="*/ 194 w 300"/>
                  <a:gd name="T97" fmla="*/ 116 h 340"/>
                  <a:gd name="T98" fmla="*/ 191 w 300"/>
                  <a:gd name="T99" fmla="*/ 100 h 340"/>
                  <a:gd name="T100" fmla="*/ 180 w 300"/>
                  <a:gd name="T101" fmla="*/ 87 h 340"/>
                  <a:gd name="T102" fmla="*/ 189 w 300"/>
                  <a:gd name="T103" fmla="*/ 74 h 340"/>
                  <a:gd name="T104" fmla="*/ 190 w 300"/>
                  <a:gd name="T105" fmla="*/ 56 h 340"/>
                  <a:gd name="T106" fmla="*/ 205 w 300"/>
                  <a:gd name="T107" fmla="*/ 54 h 340"/>
                  <a:gd name="T108" fmla="*/ 219 w 300"/>
                  <a:gd name="T109" fmla="*/ 42 h 340"/>
                  <a:gd name="T110" fmla="*/ 231 w 300"/>
                  <a:gd name="T111" fmla="*/ 51 h 340"/>
                  <a:gd name="T112" fmla="*/ 249 w 300"/>
                  <a:gd name="T113" fmla="*/ 52 h 340"/>
                  <a:gd name="T114" fmla="*/ 252 w 300"/>
                  <a:gd name="T115" fmla="*/ 67 h 340"/>
                  <a:gd name="T116" fmla="*/ 264 w 300"/>
                  <a:gd name="T117" fmla="*/ 8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0" h="340">
                    <a:moveTo>
                      <a:pt x="145" y="0"/>
                    </a:moveTo>
                    <a:cubicBezTo>
                      <a:pt x="71" y="0"/>
                      <a:pt x="22" y="55"/>
                      <a:pt x="22" y="129"/>
                    </a:cubicBezTo>
                    <a:cubicBezTo>
                      <a:pt x="22" y="133"/>
                      <a:pt x="25" y="134"/>
                      <a:pt x="25" y="142"/>
                    </a:cubicBezTo>
                    <a:cubicBezTo>
                      <a:pt x="25" y="151"/>
                      <a:pt x="5" y="194"/>
                      <a:pt x="2" y="201"/>
                    </a:cubicBezTo>
                    <a:cubicBezTo>
                      <a:pt x="0" y="207"/>
                      <a:pt x="1" y="219"/>
                      <a:pt x="11" y="219"/>
                    </a:cubicBezTo>
                    <a:cubicBezTo>
                      <a:pt x="23" y="218"/>
                      <a:pt x="24" y="226"/>
                      <a:pt x="18" y="230"/>
                    </a:cubicBezTo>
                    <a:cubicBezTo>
                      <a:pt x="15" y="232"/>
                      <a:pt x="18" y="241"/>
                      <a:pt x="20" y="242"/>
                    </a:cubicBezTo>
                    <a:cubicBezTo>
                      <a:pt x="22" y="243"/>
                      <a:pt x="33" y="247"/>
                      <a:pt x="33" y="248"/>
                    </a:cubicBezTo>
                    <a:cubicBezTo>
                      <a:pt x="34" y="249"/>
                      <a:pt x="29" y="251"/>
                      <a:pt x="28" y="254"/>
                    </a:cubicBezTo>
                    <a:cubicBezTo>
                      <a:pt x="26" y="257"/>
                      <a:pt x="30" y="265"/>
                      <a:pt x="30" y="265"/>
                    </a:cubicBezTo>
                    <a:cubicBezTo>
                      <a:pt x="30" y="265"/>
                      <a:pt x="33" y="267"/>
                      <a:pt x="40" y="271"/>
                    </a:cubicBezTo>
                    <a:cubicBezTo>
                      <a:pt x="47" y="276"/>
                      <a:pt x="40" y="292"/>
                      <a:pt x="40" y="296"/>
                    </a:cubicBezTo>
                    <a:cubicBezTo>
                      <a:pt x="40" y="301"/>
                      <a:pt x="46" y="316"/>
                      <a:pt x="62" y="316"/>
                    </a:cubicBezTo>
                    <a:cubicBezTo>
                      <a:pt x="78" y="316"/>
                      <a:pt x="105" y="306"/>
                      <a:pt x="105" y="306"/>
                    </a:cubicBezTo>
                    <a:cubicBezTo>
                      <a:pt x="112" y="340"/>
                      <a:pt x="112" y="340"/>
                      <a:pt x="112" y="340"/>
                    </a:cubicBezTo>
                    <a:cubicBezTo>
                      <a:pt x="117" y="338"/>
                      <a:pt x="206" y="310"/>
                      <a:pt x="228" y="303"/>
                    </a:cubicBezTo>
                    <a:cubicBezTo>
                      <a:pt x="231" y="302"/>
                      <a:pt x="233" y="302"/>
                      <a:pt x="236" y="301"/>
                    </a:cubicBezTo>
                    <a:cubicBezTo>
                      <a:pt x="230" y="255"/>
                      <a:pt x="230" y="255"/>
                      <a:pt x="230" y="255"/>
                    </a:cubicBezTo>
                    <a:cubicBezTo>
                      <a:pt x="245" y="229"/>
                      <a:pt x="283" y="189"/>
                      <a:pt x="287" y="150"/>
                    </a:cubicBezTo>
                    <a:cubicBezTo>
                      <a:pt x="300" y="49"/>
                      <a:pt x="230" y="0"/>
                      <a:pt x="145" y="0"/>
                    </a:cubicBezTo>
                    <a:close/>
                    <a:moveTo>
                      <a:pt x="138" y="145"/>
                    </a:moveTo>
                    <a:cubicBezTo>
                      <a:pt x="132" y="149"/>
                      <a:pt x="125" y="151"/>
                      <a:pt x="119" y="151"/>
                    </a:cubicBezTo>
                    <a:cubicBezTo>
                      <a:pt x="118" y="163"/>
                      <a:pt x="118" y="163"/>
                      <a:pt x="118" y="163"/>
                    </a:cubicBezTo>
                    <a:cubicBezTo>
                      <a:pt x="98" y="161"/>
                      <a:pt x="98" y="161"/>
                      <a:pt x="98" y="161"/>
                    </a:cubicBezTo>
                    <a:cubicBezTo>
                      <a:pt x="99" y="150"/>
                      <a:pt x="99" y="150"/>
                      <a:pt x="99" y="150"/>
                    </a:cubicBezTo>
                    <a:cubicBezTo>
                      <a:pt x="92" y="148"/>
                      <a:pt x="86" y="145"/>
                      <a:pt x="81" y="140"/>
                    </a:cubicBezTo>
                    <a:cubicBezTo>
                      <a:pt x="72" y="148"/>
                      <a:pt x="72" y="148"/>
                      <a:pt x="72" y="148"/>
                    </a:cubicBezTo>
                    <a:cubicBezTo>
                      <a:pt x="59" y="132"/>
                      <a:pt x="59" y="132"/>
                      <a:pt x="59" y="132"/>
                    </a:cubicBezTo>
                    <a:cubicBezTo>
                      <a:pt x="68" y="125"/>
                      <a:pt x="68" y="125"/>
                      <a:pt x="68" y="125"/>
                    </a:cubicBezTo>
                    <a:cubicBezTo>
                      <a:pt x="65" y="119"/>
                      <a:pt x="63" y="113"/>
                      <a:pt x="62" y="106"/>
                    </a:cubicBezTo>
                    <a:cubicBezTo>
                      <a:pt x="50" y="105"/>
                      <a:pt x="50" y="105"/>
                      <a:pt x="50" y="105"/>
                    </a:cubicBezTo>
                    <a:cubicBezTo>
                      <a:pt x="52" y="85"/>
                      <a:pt x="52" y="85"/>
                      <a:pt x="52" y="85"/>
                    </a:cubicBezTo>
                    <a:cubicBezTo>
                      <a:pt x="64" y="86"/>
                      <a:pt x="64" y="86"/>
                      <a:pt x="64" y="86"/>
                    </a:cubicBezTo>
                    <a:cubicBezTo>
                      <a:pt x="66" y="80"/>
                      <a:pt x="69" y="74"/>
                      <a:pt x="73" y="69"/>
                    </a:cubicBezTo>
                    <a:cubicBezTo>
                      <a:pt x="65" y="60"/>
                      <a:pt x="65" y="60"/>
                      <a:pt x="65" y="60"/>
                    </a:cubicBezTo>
                    <a:cubicBezTo>
                      <a:pt x="81" y="47"/>
                      <a:pt x="81" y="47"/>
                      <a:pt x="81" y="47"/>
                    </a:cubicBezTo>
                    <a:cubicBezTo>
                      <a:pt x="89" y="56"/>
                      <a:pt x="89" y="56"/>
                      <a:pt x="89" y="56"/>
                    </a:cubicBezTo>
                    <a:cubicBezTo>
                      <a:pt x="94" y="53"/>
                      <a:pt x="101" y="50"/>
                      <a:pt x="107" y="50"/>
                    </a:cubicBezTo>
                    <a:cubicBezTo>
                      <a:pt x="108" y="38"/>
                      <a:pt x="108" y="38"/>
                      <a:pt x="108" y="38"/>
                    </a:cubicBezTo>
                    <a:cubicBezTo>
                      <a:pt x="128" y="40"/>
                      <a:pt x="128" y="40"/>
                      <a:pt x="128" y="40"/>
                    </a:cubicBezTo>
                    <a:cubicBezTo>
                      <a:pt x="127" y="51"/>
                      <a:pt x="127" y="51"/>
                      <a:pt x="127" y="51"/>
                    </a:cubicBezTo>
                    <a:cubicBezTo>
                      <a:pt x="134" y="53"/>
                      <a:pt x="140" y="56"/>
                      <a:pt x="145" y="60"/>
                    </a:cubicBezTo>
                    <a:cubicBezTo>
                      <a:pt x="154" y="53"/>
                      <a:pt x="154" y="53"/>
                      <a:pt x="154" y="53"/>
                    </a:cubicBezTo>
                    <a:cubicBezTo>
                      <a:pt x="167" y="68"/>
                      <a:pt x="167" y="68"/>
                      <a:pt x="167" y="68"/>
                    </a:cubicBezTo>
                    <a:cubicBezTo>
                      <a:pt x="158" y="76"/>
                      <a:pt x="158" y="76"/>
                      <a:pt x="158" y="76"/>
                    </a:cubicBezTo>
                    <a:cubicBezTo>
                      <a:pt x="161" y="82"/>
                      <a:pt x="163" y="88"/>
                      <a:pt x="164" y="95"/>
                    </a:cubicBezTo>
                    <a:cubicBezTo>
                      <a:pt x="175" y="96"/>
                      <a:pt x="175" y="96"/>
                      <a:pt x="175" y="96"/>
                    </a:cubicBezTo>
                    <a:cubicBezTo>
                      <a:pt x="174" y="116"/>
                      <a:pt x="174" y="116"/>
                      <a:pt x="174" y="116"/>
                    </a:cubicBezTo>
                    <a:cubicBezTo>
                      <a:pt x="162" y="115"/>
                      <a:pt x="162" y="115"/>
                      <a:pt x="162" y="115"/>
                    </a:cubicBezTo>
                    <a:cubicBezTo>
                      <a:pt x="160" y="121"/>
                      <a:pt x="157" y="127"/>
                      <a:pt x="153" y="132"/>
                    </a:cubicBezTo>
                    <a:cubicBezTo>
                      <a:pt x="161" y="141"/>
                      <a:pt x="161" y="141"/>
                      <a:pt x="161" y="141"/>
                    </a:cubicBezTo>
                    <a:cubicBezTo>
                      <a:pt x="145" y="154"/>
                      <a:pt x="145" y="154"/>
                      <a:pt x="145" y="154"/>
                    </a:cubicBezTo>
                    <a:lnTo>
                      <a:pt x="138" y="145"/>
                    </a:lnTo>
                    <a:close/>
                    <a:moveTo>
                      <a:pt x="241" y="183"/>
                    </a:moveTo>
                    <a:cubicBezTo>
                      <a:pt x="233" y="182"/>
                      <a:pt x="233" y="182"/>
                      <a:pt x="233" y="182"/>
                    </a:cubicBezTo>
                    <a:cubicBezTo>
                      <a:pt x="232" y="187"/>
                      <a:pt x="230" y="191"/>
                      <a:pt x="227" y="194"/>
                    </a:cubicBezTo>
                    <a:cubicBezTo>
                      <a:pt x="232" y="200"/>
                      <a:pt x="232" y="200"/>
                      <a:pt x="232" y="200"/>
                    </a:cubicBezTo>
                    <a:cubicBezTo>
                      <a:pt x="222" y="209"/>
                      <a:pt x="222" y="209"/>
                      <a:pt x="222" y="209"/>
                    </a:cubicBezTo>
                    <a:cubicBezTo>
                      <a:pt x="217" y="203"/>
                      <a:pt x="217" y="203"/>
                      <a:pt x="217" y="203"/>
                    </a:cubicBezTo>
                    <a:cubicBezTo>
                      <a:pt x="213" y="205"/>
                      <a:pt x="209" y="206"/>
                      <a:pt x="204" y="207"/>
                    </a:cubicBezTo>
                    <a:cubicBezTo>
                      <a:pt x="203" y="215"/>
                      <a:pt x="203" y="215"/>
                      <a:pt x="203" y="215"/>
                    </a:cubicBezTo>
                    <a:cubicBezTo>
                      <a:pt x="190" y="213"/>
                      <a:pt x="190" y="213"/>
                      <a:pt x="190" y="213"/>
                    </a:cubicBezTo>
                    <a:cubicBezTo>
                      <a:pt x="191" y="206"/>
                      <a:pt x="191" y="206"/>
                      <a:pt x="191" y="206"/>
                    </a:cubicBezTo>
                    <a:cubicBezTo>
                      <a:pt x="186" y="204"/>
                      <a:pt x="182" y="202"/>
                      <a:pt x="179" y="200"/>
                    </a:cubicBezTo>
                    <a:cubicBezTo>
                      <a:pt x="173" y="205"/>
                      <a:pt x="173" y="205"/>
                      <a:pt x="173" y="205"/>
                    </a:cubicBezTo>
                    <a:cubicBezTo>
                      <a:pt x="164" y="194"/>
                      <a:pt x="164" y="194"/>
                      <a:pt x="164" y="194"/>
                    </a:cubicBezTo>
                    <a:cubicBezTo>
                      <a:pt x="170" y="189"/>
                      <a:pt x="170" y="189"/>
                      <a:pt x="170" y="189"/>
                    </a:cubicBezTo>
                    <a:cubicBezTo>
                      <a:pt x="168" y="185"/>
                      <a:pt x="166" y="181"/>
                      <a:pt x="166" y="176"/>
                    </a:cubicBezTo>
                    <a:cubicBezTo>
                      <a:pt x="158" y="176"/>
                      <a:pt x="158" y="176"/>
                      <a:pt x="158" y="176"/>
                    </a:cubicBezTo>
                    <a:cubicBezTo>
                      <a:pt x="159" y="162"/>
                      <a:pt x="159" y="162"/>
                      <a:pt x="159" y="162"/>
                    </a:cubicBezTo>
                    <a:cubicBezTo>
                      <a:pt x="167" y="163"/>
                      <a:pt x="167" y="163"/>
                      <a:pt x="167" y="163"/>
                    </a:cubicBezTo>
                    <a:cubicBezTo>
                      <a:pt x="168" y="158"/>
                      <a:pt x="171" y="154"/>
                      <a:pt x="173" y="151"/>
                    </a:cubicBezTo>
                    <a:cubicBezTo>
                      <a:pt x="168" y="145"/>
                      <a:pt x="168" y="145"/>
                      <a:pt x="168" y="145"/>
                    </a:cubicBezTo>
                    <a:cubicBezTo>
                      <a:pt x="179" y="136"/>
                      <a:pt x="179" y="136"/>
                      <a:pt x="179" y="136"/>
                    </a:cubicBezTo>
                    <a:cubicBezTo>
                      <a:pt x="184" y="142"/>
                      <a:pt x="184" y="142"/>
                      <a:pt x="184" y="142"/>
                    </a:cubicBezTo>
                    <a:cubicBezTo>
                      <a:pt x="188" y="140"/>
                      <a:pt x="192" y="139"/>
                      <a:pt x="196" y="138"/>
                    </a:cubicBezTo>
                    <a:cubicBezTo>
                      <a:pt x="197" y="130"/>
                      <a:pt x="197" y="130"/>
                      <a:pt x="197" y="130"/>
                    </a:cubicBezTo>
                    <a:cubicBezTo>
                      <a:pt x="211" y="131"/>
                      <a:pt x="211" y="131"/>
                      <a:pt x="211" y="131"/>
                    </a:cubicBezTo>
                    <a:cubicBezTo>
                      <a:pt x="210" y="140"/>
                      <a:pt x="210" y="140"/>
                      <a:pt x="210" y="140"/>
                    </a:cubicBezTo>
                    <a:cubicBezTo>
                      <a:pt x="214" y="141"/>
                      <a:pt x="218" y="143"/>
                      <a:pt x="222" y="146"/>
                    </a:cubicBezTo>
                    <a:cubicBezTo>
                      <a:pt x="228" y="140"/>
                      <a:pt x="228" y="140"/>
                      <a:pt x="228" y="140"/>
                    </a:cubicBezTo>
                    <a:cubicBezTo>
                      <a:pt x="237" y="151"/>
                      <a:pt x="237" y="151"/>
                      <a:pt x="237" y="151"/>
                    </a:cubicBezTo>
                    <a:cubicBezTo>
                      <a:pt x="230" y="156"/>
                      <a:pt x="230" y="156"/>
                      <a:pt x="230" y="156"/>
                    </a:cubicBezTo>
                    <a:cubicBezTo>
                      <a:pt x="233" y="160"/>
                      <a:pt x="234" y="164"/>
                      <a:pt x="234" y="169"/>
                    </a:cubicBezTo>
                    <a:cubicBezTo>
                      <a:pt x="242" y="169"/>
                      <a:pt x="242" y="169"/>
                      <a:pt x="242" y="169"/>
                    </a:cubicBezTo>
                    <a:lnTo>
                      <a:pt x="241" y="183"/>
                    </a:lnTo>
                    <a:close/>
                    <a:moveTo>
                      <a:pt x="263" y="94"/>
                    </a:moveTo>
                    <a:cubicBezTo>
                      <a:pt x="255" y="93"/>
                      <a:pt x="255" y="93"/>
                      <a:pt x="255" y="93"/>
                    </a:cubicBezTo>
                    <a:cubicBezTo>
                      <a:pt x="254" y="98"/>
                      <a:pt x="252" y="102"/>
                      <a:pt x="249" y="105"/>
                    </a:cubicBezTo>
                    <a:cubicBezTo>
                      <a:pt x="254" y="111"/>
                      <a:pt x="254" y="111"/>
                      <a:pt x="254" y="111"/>
                    </a:cubicBezTo>
                    <a:cubicBezTo>
                      <a:pt x="243" y="120"/>
                      <a:pt x="243" y="120"/>
                      <a:pt x="243" y="120"/>
                    </a:cubicBezTo>
                    <a:cubicBezTo>
                      <a:pt x="238" y="114"/>
                      <a:pt x="238" y="114"/>
                      <a:pt x="238" y="114"/>
                    </a:cubicBezTo>
                    <a:cubicBezTo>
                      <a:pt x="235" y="116"/>
                      <a:pt x="230" y="118"/>
                      <a:pt x="226" y="118"/>
                    </a:cubicBezTo>
                    <a:cubicBezTo>
                      <a:pt x="225" y="126"/>
                      <a:pt x="225" y="126"/>
                      <a:pt x="225" y="126"/>
                    </a:cubicBezTo>
                    <a:cubicBezTo>
                      <a:pt x="211" y="125"/>
                      <a:pt x="211" y="125"/>
                      <a:pt x="211" y="125"/>
                    </a:cubicBezTo>
                    <a:cubicBezTo>
                      <a:pt x="212" y="117"/>
                      <a:pt x="212" y="117"/>
                      <a:pt x="212" y="117"/>
                    </a:cubicBezTo>
                    <a:cubicBezTo>
                      <a:pt x="208" y="116"/>
                      <a:pt x="204" y="114"/>
                      <a:pt x="200" y="111"/>
                    </a:cubicBezTo>
                    <a:cubicBezTo>
                      <a:pt x="194" y="116"/>
                      <a:pt x="194" y="116"/>
                      <a:pt x="194" y="116"/>
                    </a:cubicBezTo>
                    <a:cubicBezTo>
                      <a:pt x="185" y="105"/>
                      <a:pt x="185" y="105"/>
                      <a:pt x="185" y="105"/>
                    </a:cubicBezTo>
                    <a:cubicBezTo>
                      <a:pt x="191" y="100"/>
                      <a:pt x="191" y="100"/>
                      <a:pt x="191" y="100"/>
                    </a:cubicBezTo>
                    <a:cubicBezTo>
                      <a:pt x="189" y="96"/>
                      <a:pt x="188" y="92"/>
                      <a:pt x="187" y="88"/>
                    </a:cubicBezTo>
                    <a:cubicBezTo>
                      <a:pt x="180" y="87"/>
                      <a:pt x="180" y="87"/>
                      <a:pt x="180" y="87"/>
                    </a:cubicBezTo>
                    <a:cubicBezTo>
                      <a:pt x="181" y="73"/>
                      <a:pt x="181" y="73"/>
                      <a:pt x="181" y="73"/>
                    </a:cubicBezTo>
                    <a:cubicBezTo>
                      <a:pt x="189" y="74"/>
                      <a:pt x="189" y="74"/>
                      <a:pt x="189" y="74"/>
                    </a:cubicBezTo>
                    <a:cubicBezTo>
                      <a:pt x="190" y="70"/>
                      <a:pt x="192" y="66"/>
                      <a:pt x="195" y="62"/>
                    </a:cubicBezTo>
                    <a:cubicBezTo>
                      <a:pt x="190" y="56"/>
                      <a:pt x="190" y="56"/>
                      <a:pt x="190" y="56"/>
                    </a:cubicBezTo>
                    <a:cubicBezTo>
                      <a:pt x="200" y="47"/>
                      <a:pt x="200" y="47"/>
                      <a:pt x="200" y="47"/>
                    </a:cubicBezTo>
                    <a:cubicBezTo>
                      <a:pt x="205" y="54"/>
                      <a:pt x="205" y="54"/>
                      <a:pt x="205" y="54"/>
                    </a:cubicBezTo>
                    <a:cubicBezTo>
                      <a:pt x="209" y="51"/>
                      <a:pt x="213" y="50"/>
                      <a:pt x="218" y="50"/>
                    </a:cubicBezTo>
                    <a:cubicBezTo>
                      <a:pt x="219" y="42"/>
                      <a:pt x="219" y="42"/>
                      <a:pt x="219" y="42"/>
                    </a:cubicBezTo>
                    <a:cubicBezTo>
                      <a:pt x="232" y="43"/>
                      <a:pt x="232" y="43"/>
                      <a:pt x="232" y="43"/>
                    </a:cubicBezTo>
                    <a:cubicBezTo>
                      <a:pt x="231" y="51"/>
                      <a:pt x="231" y="51"/>
                      <a:pt x="231" y="51"/>
                    </a:cubicBezTo>
                    <a:cubicBezTo>
                      <a:pt x="236" y="52"/>
                      <a:pt x="240" y="54"/>
                      <a:pt x="243" y="57"/>
                    </a:cubicBezTo>
                    <a:cubicBezTo>
                      <a:pt x="249" y="52"/>
                      <a:pt x="249" y="52"/>
                      <a:pt x="249" y="52"/>
                    </a:cubicBezTo>
                    <a:cubicBezTo>
                      <a:pt x="258" y="62"/>
                      <a:pt x="258" y="62"/>
                      <a:pt x="258" y="62"/>
                    </a:cubicBezTo>
                    <a:cubicBezTo>
                      <a:pt x="252" y="67"/>
                      <a:pt x="252" y="67"/>
                      <a:pt x="252" y="67"/>
                    </a:cubicBezTo>
                    <a:cubicBezTo>
                      <a:pt x="254" y="71"/>
                      <a:pt x="255" y="75"/>
                      <a:pt x="256" y="80"/>
                    </a:cubicBezTo>
                    <a:cubicBezTo>
                      <a:pt x="264" y="81"/>
                      <a:pt x="264" y="81"/>
                      <a:pt x="264" y="81"/>
                    </a:cubicBezTo>
                    <a:lnTo>
                      <a:pt x="263" y="94"/>
                    </a:lnTo>
                    <a:close/>
                  </a:path>
                </a:pathLst>
              </a:custGeom>
              <a:solidFill>
                <a:srgbClr val="FFFFFF"/>
              </a:solidFill>
              <a:ln>
                <a:noFill/>
              </a:ln>
              <a:extLst/>
            </p:spPr>
            <p:txBody>
              <a:bodyPr/>
              <a:lstStyle/>
              <a:p>
                <a:pPr eaLnBrk="1" fontAlgn="auto" hangingPunct="1">
                  <a:lnSpc>
                    <a:spcPct val="90000"/>
                  </a:lnSpc>
                  <a:spcBef>
                    <a:spcPts val="0"/>
                  </a:spcBef>
                  <a:spcAft>
                    <a:spcPts val="0"/>
                  </a:spcAft>
                  <a:defRPr/>
                </a:pPr>
                <a:endParaRPr lang="en-US" kern="0" dirty="0">
                  <a:solidFill>
                    <a:srgbClr val="000000"/>
                  </a:solidFill>
                </a:endParaRPr>
              </a:p>
            </p:txBody>
          </p:sp>
        </p:grpSp>
      </p:grpSp>
      <p:grpSp>
        <p:nvGrpSpPr>
          <p:cNvPr id="77866" name="Gruppieren 55"/>
          <p:cNvGrpSpPr>
            <a:grpSpLocks/>
          </p:cNvGrpSpPr>
          <p:nvPr/>
        </p:nvGrpSpPr>
        <p:grpSpPr bwMode="auto">
          <a:xfrm>
            <a:off x="4824413" y="3236913"/>
            <a:ext cx="360362" cy="360362"/>
            <a:chOff x="5206900" y="4365104"/>
            <a:chExt cx="720000" cy="720000"/>
          </a:xfrm>
        </p:grpSpPr>
        <p:sp>
          <p:nvSpPr>
            <p:cNvPr id="181" name="Ellipse 322">
              <a:extLst>
                <a:ext uri="{FF2B5EF4-FFF2-40B4-BE49-F238E27FC236}"/>
              </a:extLst>
            </p:cNvPr>
            <p:cNvSpPr/>
            <p:nvPr/>
          </p:nvSpPr>
          <p:spPr bwMode="gray">
            <a:xfrm>
              <a:off x="5206900" y="4365104"/>
              <a:ext cx="720000" cy="720000"/>
            </a:xfrm>
            <a:prstGeom prst="ellipse">
              <a:avLst/>
            </a:prstGeom>
            <a:solidFill>
              <a:schemeClr val="accent1"/>
            </a:solidFill>
            <a:ln w="12700">
              <a:noFill/>
              <a:round/>
              <a:headEnd/>
              <a:tailEnd/>
            </a:ln>
            <a:effectLst/>
          </p:spPr>
          <p:txBody>
            <a:bodyPr anchor="ctr"/>
            <a:lstStyle/>
            <a:p>
              <a:pPr algn="ctr" eaLnBrk="1" fontAlgn="auto" hangingPunct="1">
                <a:lnSpc>
                  <a:spcPct val="90000"/>
                </a:lnSpc>
                <a:spcBef>
                  <a:spcPts val="0"/>
                </a:spcBef>
                <a:spcAft>
                  <a:spcPts val="0"/>
                </a:spcAft>
                <a:defRPr/>
              </a:pPr>
              <a:endParaRPr lang="en-US" kern="0" dirty="0">
                <a:solidFill>
                  <a:srgbClr val="000000"/>
                </a:solidFill>
              </a:endParaRPr>
            </a:p>
          </p:txBody>
        </p:sp>
        <p:grpSp>
          <p:nvGrpSpPr>
            <p:cNvPr id="182" name="Gruppieren 17">
              <a:extLst>
                <a:ext uri="{FF2B5EF4-FFF2-40B4-BE49-F238E27FC236}"/>
              </a:extLst>
            </p:cNvPr>
            <p:cNvGrpSpPr/>
            <p:nvPr/>
          </p:nvGrpSpPr>
          <p:grpSpPr>
            <a:xfrm>
              <a:off x="5243498" y="4548883"/>
              <a:ext cx="610179" cy="405054"/>
              <a:chOff x="5440991" y="2463815"/>
              <a:chExt cx="2551660" cy="1693862"/>
            </a:xfrm>
            <a:solidFill>
              <a:srgbClr val="FFFFFF"/>
            </a:solidFill>
          </p:grpSpPr>
          <p:sp>
            <p:nvSpPr>
              <p:cNvPr id="183" name="Oval 32">
                <a:extLst>
                  <a:ext uri="{FF2B5EF4-FFF2-40B4-BE49-F238E27FC236}"/>
                </a:extLst>
              </p:cNvPr>
              <p:cNvSpPr>
                <a:spLocks noChangeArrowheads="1"/>
              </p:cNvSpPr>
              <p:nvPr/>
            </p:nvSpPr>
            <p:spPr bwMode="auto">
              <a:xfrm>
                <a:off x="6415448" y="3493171"/>
                <a:ext cx="265345" cy="267633"/>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84" name="Oval 33">
                <a:extLst>
                  <a:ext uri="{FF2B5EF4-FFF2-40B4-BE49-F238E27FC236}"/>
                </a:extLst>
              </p:cNvPr>
              <p:cNvSpPr>
                <a:spLocks noChangeArrowheads="1"/>
              </p:cNvSpPr>
              <p:nvPr/>
            </p:nvSpPr>
            <p:spPr bwMode="auto">
              <a:xfrm>
                <a:off x="6766573" y="3533201"/>
                <a:ext cx="265345" cy="267633"/>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85" name="Oval 34">
                <a:extLst>
                  <a:ext uri="{FF2B5EF4-FFF2-40B4-BE49-F238E27FC236}"/>
                </a:extLst>
              </p:cNvPr>
              <p:cNvSpPr>
                <a:spLocks noChangeArrowheads="1"/>
              </p:cNvSpPr>
              <p:nvPr/>
            </p:nvSpPr>
            <p:spPr bwMode="auto">
              <a:xfrm>
                <a:off x="6577858" y="3293018"/>
                <a:ext cx="188715" cy="186427"/>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86" name="Oval 35">
                <a:extLst>
                  <a:ext uri="{FF2B5EF4-FFF2-40B4-BE49-F238E27FC236}"/>
                </a:extLst>
              </p:cNvPr>
              <p:cNvSpPr>
                <a:spLocks noChangeArrowheads="1"/>
              </p:cNvSpPr>
              <p:nvPr/>
            </p:nvSpPr>
            <p:spPr bwMode="auto">
              <a:xfrm>
                <a:off x="6453191" y="3971250"/>
                <a:ext cx="189859" cy="186427"/>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87" name="Oval 36">
                <a:extLst>
                  <a:ext uri="{FF2B5EF4-FFF2-40B4-BE49-F238E27FC236}"/>
                </a:extLst>
              </p:cNvPr>
              <p:cNvSpPr>
                <a:spLocks noChangeArrowheads="1"/>
              </p:cNvSpPr>
              <p:nvPr/>
            </p:nvSpPr>
            <p:spPr bwMode="auto">
              <a:xfrm>
                <a:off x="6617889" y="3741360"/>
                <a:ext cx="189859" cy="188715"/>
              </a:xfrm>
              <a:prstGeom prst="ellipse">
                <a:avLst/>
              </a:pr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88" name="Freeform 37">
                <a:extLst>
                  <a:ext uri="{FF2B5EF4-FFF2-40B4-BE49-F238E27FC236}"/>
                </a:extLst>
              </p:cNvPr>
              <p:cNvSpPr>
                <a:spLocks/>
              </p:cNvSpPr>
              <p:nvPr/>
            </p:nvSpPr>
            <p:spPr bwMode="auto">
              <a:xfrm>
                <a:off x="6770004" y="2463815"/>
                <a:ext cx="1222647" cy="1180328"/>
              </a:xfrm>
              <a:custGeom>
                <a:avLst/>
                <a:gdLst/>
                <a:ahLst/>
                <a:cxnLst>
                  <a:cxn ang="0">
                    <a:pos x="397" y="43"/>
                  </a:cxn>
                  <a:cxn ang="0">
                    <a:pos x="294" y="0"/>
                  </a:cxn>
                  <a:cxn ang="0">
                    <a:pos x="192" y="43"/>
                  </a:cxn>
                  <a:cxn ang="0">
                    <a:pos x="176" y="59"/>
                  </a:cxn>
                  <a:cxn ang="0">
                    <a:pos x="9" y="225"/>
                  </a:cxn>
                  <a:cxn ang="0">
                    <a:pos x="9" y="257"/>
                  </a:cxn>
                  <a:cxn ang="0">
                    <a:pos x="182" y="430"/>
                  </a:cxn>
                  <a:cxn ang="0">
                    <a:pos x="198" y="437"/>
                  </a:cxn>
                  <a:cxn ang="0">
                    <a:pos x="214" y="430"/>
                  </a:cxn>
                  <a:cxn ang="0">
                    <a:pos x="381" y="263"/>
                  </a:cxn>
                  <a:cxn ang="0">
                    <a:pos x="397" y="247"/>
                  </a:cxn>
                  <a:cxn ang="0">
                    <a:pos x="397" y="43"/>
                  </a:cxn>
                </a:cxnLst>
                <a:rect l="0" t="0" r="r" b="b"/>
                <a:pathLst>
                  <a:path w="453" h="437">
                    <a:moveTo>
                      <a:pt x="397" y="43"/>
                    </a:moveTo>
                    <a:cubicBezTo>
                      <a:pt x="368" y="14"/>
                      <a:pt x="331" y="0"/>
                      <a:pt x="294" y="0"/>
                    </a:cubicBezTo>
                    <a:cubicBezTo>
                      <a:pt x="257" y="0"/>
                      <a:pt x="220" y="14"/>
                      <a:pt x="192" y="43"/>
                    </a:cubicBezTo>
                    <a:cubicBezTo>
                      <a:pt x="176" y="59"/>
                      <a:pt x="176" y="59"/>
                      <a:pt x="176" y="59"/>
                    </a:cubicBezTo>
                    <a:cubicBezTo>
                      <a:pt x="9" y="225"/>
                      <a:pt x="9" y="225"/>
                      <a:pt x="9" y="225"/>
                    </a:cubicBezTo>
                    <a:cubicBezTo>
                      <a:pt x="0" y="234"/>
                      <a:pt x="0" y="249"/>
                      <a:pt x="9" y="257"/>
                    </a:cubicBezTo>
                    <a:cubicBezTo>
                      <a:pt x="182" y="430"/>
                      <a:pt x="182" y="430"/>
                      <a:pt x="182" y="430"/>
                    </a:cubicBezTo>
                    <a:cubicBezTo>
                      <a:pt x="186" y="434"/>
                      <a:pt x="192" y="437"/>
                      <a:pt x="198" y="437"/>
                    </a:cubicBezTo>
                    <a:cubicBezTo>
                      <a:pt x="204" y="437"/>
                      <a:pt x="209" y="434"/>
                      <a:pt x="214" y="430"/>
                    </a:cubicBezTo>
                    <a:cubicBezTo>
                      <a:pt x="381" y="263"/>
                      <a:pt x="381" y="263"/>
                      <a:pt x="381" y="263"/>
                    </a:cubicBezTo>
                    <a:cubicBezTo>
                      <a:pt x="397" y="247"/>
                      <a:pt x="397" y="247"/>
                      <a:pt x="397" y="247"/>
                    </a:cubicBezTo>
                    <a:cubicBezTo>
                      <a:pt x="453" y="191"/>
                      <a:pt x="453" y="99"/>
                      <a:pt x="397" y="43"/>
                    </a:cubicBezTo>
                    <a:close/>
                  </a:path>
                </a:pathLst>
              </a:cu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sp>
            <p:nvSpPr>
              <p:cNvPr id="189" name="Freeform 38">
                <a:extLst>
                  <a:ext uri="{FF2B5EF4-FFF2-40B4-BE49-F238E27FC236}"/>
                </a:extLst>
              </p:cNvPr>
              <p:cNvSpPr>
                <a:spLocks noEditPoints="1"/>
              </p:cNvSpPr>
              <p:nvPr/>
            </p:nvSpPr>
            <p:spPr bwMode="auto">
              <a:xfrm>
                <a:off x="5440991" y="2463815"/>
                <a:ext cx="1220359" cy="1180328"/>
              </a:xfrm>
              <a:custGeom>
                <a:avLst/>
                <a:gdLst/>
                <a:ahLst/>
                <a:cxnLst>
                  <a:cxn ang="0">
                    <a:pos x="443" y="225"/>
                  </a:cxn>
                  <a:cxn ang="0">
                    <a:pos x="277" y="59"/>
                  </a:cxn>
                  <a:cxn ang="0">
                    <a:pos x="261" y="43"/>
                  </a:cxn>
                  <a:cxn ang="0">
                    <a:pos x="158" y="0"/>
                  </a:cxn>
                  <a:cxn ang="0">
                    <a:pos x="56" y="43"/>
                  </a:cxn>
                  <a:cxn ang="0">
                    <a:pos x="56" y="247"/>
                  </a:cxn>
                  <a:cxn ang="0">
                    <a:pos x="72" y="263"/>
                  </a:cxn>
                  <a:cxn ang="0">
                    <a:pos x="239" y="430"/>
                  </a:cxn>
                  <a:cxn ang="0">
                    <a:pos x="255" y="437"/>
                  </a:cxn>
                  <a:cxn ang="0">
                    <a:pos x="271" y="430"/>
                  </a:cxn>
                  <a:cxn ang="0">
                    <a:pos x="443" y="257"/>
                  </a:cxn>
                  <a:cxn ang="0">
                    <a:pos x="443" y="225"/>
                  </a:cxn>
                  <a:cxn ang="0">
                    <a:pos x="255" y="384"/>
                  </a:cxn>
                  <a:cxn ang="0">
                    <a:pos x="103" y="232"/>
                  </a:cxn>
                  <a:cxn ang="0">
                    <a:pos x="87" y="216"/>
                  </a:cxn>
                  <a:cxn ang="0">
                    <a:pos x="58" y="145"/>
                  </a:cxn>
                  <a:cxn ang="0">
                    <a:pos x="87" y="74"/>
                  </a:cxn>
                  <a:cxn ang="0">
                    <a:pos x="158" y="44"/>
                  </a:cxn>
                  <a:cxn ang="0">
                    <a:pos x="230" y="74"/>
                  </a:cxn>
                  <a:cxn ang="0">
                    <a:pos x="246" y="90"/>
                  </a:cxn>
                  <a:cxn ang="0">
                    <a:pos x="397" y="241"/>
                  </a:cxn>
                  <a:cxn ang="0">
                    <a:pos x="255" y="384"/>
                  </a:cxn>
                </a:cxnLst>
                <a:rect l="0" t="0" r="r" b="b"/>
                <a:pathLst>
                  <a:path w="452" h="437">
                    <a:moveTo>
                      <a:pt x="443" y="225"/>
                    </a:moveTo>
                    <a:cubicBezTo>
                      <a:pt x="277" y="59"/>
                      <a:pt x="277" y="59"/>
                      <a:pt x="277" y="59"/>
                    </a:cubicBezTo>
                    <a:cubicBezTo>
                      <a:pt x="261" y="43"/>
                      <a:pt x="261" y="43"/>
                      <a:pt x="261" y="43"/>
                    </a:cubicBezTo>
                    <a:cubicBezTo>
                      <a:pt x="232" y="14"/>
                      <a:pt x="195" y="0"/>
                      <a:pt x="158" y="0"/>
                    </a:cubicBezTo>
                    <a:cubicBezTo>
                      <a:pt x="121" y="0"/>
                      <a:pt x="84" y="14"/>
                      <a:pt x="56" y="43"/>
                    </a:cubicBezTo>
                    <a:cubicBezTo>
                      <a:pt x="0" y="99"/>
                      <a:pt x="0" y="191"/>
                      <a:pt x="56" y="247"/>
                    </a:cubicBezTo>
                    <a:cubicBezTo>
                      <a:pt x="72" y="263"/>
                      <a:pt x="72" y="263"/>
                      <a:pt x="72" y="263"/>
                    </a:cubicBezTo>
                    <a:cubicBezTo>
                      <a:pt x="239" y="430"/>
                      <a:pt x="239" y="430"/>
                      <a:pt x="239" y="430"/>
                    </a:cubicBezTo>
                    <a:cubicBezTo>
                      <a:pt x="243" y="434"/>
                      <a:pt x="249" y="437"/>
                      <a:pt x="255" y="437"/>
                    </a:cubicBezTo>
                    <a:cubicBezTo>
                      <a:pt x="261" y="437"/>
                      <a:pt x="267" y="434"/>
                      <a:pt x="271" y="430"/>
                    </a:cubicBezTo>
                    <a:cubicBezTo>
                      <a:pt x="443" y="257"/>
                      <a:pt x="443" y="257"/>
                      <a:pt x="443" y="257"/>
                    </a:cubicBezTo>
                    <a:cubicBezTo>
                      <a:pt x="452" y="249"/>
                      <a:pt x="452" y="234"/>
                      <a:pt x="443" y="225"/>
                    </a:cubicBezTo>
                    <a:close/>
                    <a:moveTo>
                      <a:pt x="255" y="384"/>
                    </a:moveTo>
                    <a:cubicBezTo>
                      <a:pt x="103" y="232"/>
                      <a:pt x="103" y="232"/>
                      <a:pt x="103" y="232"/>
                    </a:cubicBezTo>
                    <a:cubicBezTo>
                      <a:pt x="87" y="216"/>
                      <a:pt x="87" y="216"/>
                      <a:pt x="87" y="216"/>
                    </a:cubicBezTo>
                    <a:cubicBezTo>
                      <a:pt x="68" y="197"/>
                      <a:pt x="58" y="172"/>
                      <a:pt x="58" y="145"/>
                    </a:cubicBezTo>
                    <a:cubicBezTo>
                      <a:pt x="58" y="118"/>
                      <a:pt x="68" y="93"/>
                      <a:pt x="87" y="74"/>
                    </a:cubicBezTo>
                    <a:cubicBezTo>
                      <a:pt x="106" y="55"/>
                      <a:pt x="131" y="44"/>
                      <a:pt x="158" y="44"/>
                    </a:cubicBezTo>
                    <a:cubicBezTo>
                      <a:pt x="185" y="44"/>
                      <a:pt x="211" y="55"/>
                      <a:pt x="230" y="74"/>
                    </a:cubicBezTo>
                    <a:cubicBezTo>
                      <a:pt x="246" y="90"/>
                      <a:pt x="246" y="90"/>
                      <a:pt x="246" y="90"/>
                    </a:cubicBezTo>
                    <a:cubicBezTo>
                      <a:pt x="397" y="241"/>
                      <a:pt x="397" y="241"/>
                      <a:pt x="397" y="241"/>
                    </a:cubicBezTo>
                    <a:lnTo>
                      <a:pt x="255" y="384"/>
                    </a:lnTo>
                    <a:close/>
                  </a:path>
                </a:pathLst>
              </a:custGeom>
              <a:grpFill/>
              <a:ln w="9525">
                <a:noFill/>
                <a:round/>
                <a:headEnd/>
                <a:tailEnd/>
              </a:ln>
              <a:effectLst/>
            </p:spPr>
            <p:txBody>
              <a:bodyPr/>
              <a:lstStyle/>
              <a:p>
                <a:pPr eaLnBrk="1" fontAlgn="auto" hangingPunct="1">
                  <a:lnSpc>
                    <a:spcPct val="90000"/>
                  </a:lnSpc>
                  <a:spcBef>
                    <a:spcPts val="0"/>
                  </a:spcBef>
                  <a:spcAft>
                    <a:spcPts val="0"/>
                  </a:spcAft>
                  <a:defRPr/>
                </a:pPr>
                <a:endParaRPr lang="en-US" kern="0" noProof="1">
                  <a:solidFill>
                    <a:srgbClr val="000000"/>
                  </a:solidFill>
                </a:endParaRPr>
              </a:p>
            </p:txBody>
          </p:sp>
        </p:grpSp>
      </p:grpSp>
      <p:sp>
        <p:nvSpPr>
          <p:cNvPr id="165" name="Rectangle 164">
            <a:extLst>
              <a:ext uri="{FF2B5EF4-FFF2-40B4-BE49-F238E27FC236}"/>
            </a:extLst>
          </p:cNvPr>
          <p:cNvSpPr/>
          <p:nvPr/>
        </p:nvSpPr>
        <p:spPr>
          <a:xfrm>
            <a:off x="257175" y="2474913"/>
            <a:ext cx="3913188" cy="288925"/>
          </a:xfrm>
          <a:prstGeom prst="rect">
            <a:avLst/>
          </a:prstGeom>
          <a:no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a:lstStyle/>
          <a:p>
            <a:pPr>
              <a:spcAft>
                <a:spcPts val="1800"/>
              </a:spcAft>
              <a:buClr>
                <a:schemeClr val="bg2"/>
              </a:buClr>
              <a:buSzPct val="100000"/>
              <a:defRPr/>
            </a:pPr>
            <a:r>
              <a:rPr lang="en-US" sz="1100" i="1" dirty="0">
                <a:solidFill>
                  <a:schemeClr val="tx1"/>
                </a:solidFill>
                <a:latin typeface="Arial" panose="020B0604020202020204" pitchFamily="34" charset="0"/>
                <a:cs typeface="Arial" pitchFamily="34" charset="0"/>
              </a:rPr>
              <a:t>Ownership of pathways transferred to clusters</a:t>
            </a:r>
          </a:p>
        </p:txBody>
      </p:sp>
      <p:sp>
        <p:nvSpPr>
          <p:cNvPr id="117" name="Oval 116">
            <a:extLst>
              <a:ext uri="{FF2B5EF4-FFF2-40B4-BE49-F238E27FC236}"/>
            </a:extLst>
          </p:cNvPr>
          <p:cNvSpPr/>
          <p:nvPr/>
        </p:nvSpPr>
        <p:spPr>
          <a:xfrm>
            <a:off x="323850" y="2120900"/>
            <a:ext cx="279400" cy="279400"/>
          </a:xfrm>
          <a:prstGeom prst="ellipse">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1600" b="1" dirty="0">
                <a:solidFill>
                  <a:srgbClr val="048962"/>
                </a:solidFill>
                <a:latin typeface="Arial" panose="020B0604020202020204" pitchFamily="34" charset="0"/>
                <a:cs typeface="Arial" pitchFamily="34" charset="0"/>
              </a:rPr>
              <a:t>3a</a:t>
            </a:r>
          </a:p>
        </p:txBody>
      </p:sp>
      <p:sp>
        <p:nvSpPr>
          <p:cNvPr id="118" name="Oval 117">
            <a:extLst>
              <a:ext uri="{FF2B5EF4-FFF2-40B4-BE49-F238E27FC236}"/>
            </a:extLst>
          </p:cNvPr>
          <p:cNvSpPr/>
          <p:nvPr/>
        </p:nvSpPr>
        <p:spPr>
          <a:xfrm>
            <a:off x="4760913" y="2120900"/>
            <a:ext cx="279400" cy="279400"/>
          </a:xfrm>
          <a:prstGeom prst="ellipse">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1600" b="1" dirty="0">
                <a:solidFill>
                  <a:srgbClr val="048962"/>
                </a:solidFill>
                <a:latin typeface="Arial" panose="020B0604020202020204" pitchFamily="34" charset="0"/>
                <a:cs typeface="Arial" pitchFamily="34" charset="0"/>
              </a:rPr>
              <a:t>3b</a:t>
            </a:r>
          </a:p>
        </p:txBody>
      </p:sp>
      <p:sp>
        <p:nvSpPr>
          <p:cNvPr id="119" name="Oval 118">
            <a:extLst>
              <a:ext uri="{FF2B5EF4-FFF2-40B4-BE49-F238E27FC236}"/>
            </a:extLst>
          </p:cNvPr>
          <p:cNvSpPr/>
          <p:nvPr/>
        </p:nvSpPr>
        <p:spPr>
          <a:xfrm>
            <a:off x="323850" y="5448300"/>
            <a:ext cx="279400" cy="279400"/>
          </a:xfrm>
          <a:prstGeom prst="ellipse">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1600" b="1" dirty="0">
                <a:solidFill>
                  <a:srgbClr val="048962"/>
                </a:solidFill>
                <a:latin typeface="Arial" panose="020B0604020202020204" pitchFamily="34" charset="0"/>
                <a:cs typeface="Arial" pitchFamily="34" charset="0"/>
              </a:rPr>
              <a:t>3c</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4100" name="Rectangle 5"/>
          <p:cNvSpPr>
            <a:spLocks noChangeArrowheads="1"/>
          </p:cNvSpPr>
          <p:nvPr/>
        </p:nvSpPr>
        <p:spPr bwMode="auto">
          <a:xfrm>
            <a:off x="911225" y="2540000"/>
            <a:ext cx="30511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3200" b="1">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What is Health</a:t>
            </a:r>
            <a:r>
              <a:rPr lang="en-US" sz="320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ar-SA" sz="3200">
              <a:solidFill>
                <a:srgbClr val="FF0000"/>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4101" name="Rectangle 6"/>
          <p:cNvSpPr>
            <a:spLocks noChangeArrowheads="1"/>
          </p:cNvSpPr>
          <p:nvPr/>
        </p:nvSpPr>
        <p:spPr bwMode="auto">
          <a:xfrm>
            <a:off x="866775" y="1244600"/>
            <a:ext cx="21320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Definitions</a:t>
            </a:r>
            <a:endParaRPr lang="ar-SA" sz="3200" b="1">
              <a:solidFill>
                <a:schemeClr val="tx1"/>
              </a:solidFill>
              <a:latin typeface="Garamond" panose="02020404030301010803" pitchFamily="18" charset="0"/>
            </a:endParaRPr>
          </a:p>
        </p:txBody>
      </p:sp>
      <p:sp>
        <p:nvSpPr>
          <p:cNvPr id="3" name="Rectangle 2"/>
          <p:cNvSpPr>
            <a:spLocks noChangeArrowheads="1"/>
          </p:cNvSpPr>
          <p:nvPr/>
        </p:nvSpPr>
        <p:spPr bwMode="auto">
          <a:xfrm>
            <a:off x="904875" y="533400"/>
            <a:ext cx="3286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a:t>
            </a:r>
            <a:endParaRPr lang="ar-SA" sz="3200">
              <a:solidFill>
                <a:srgbClr val="FF0000"/>
              </a:solidFill>
              <a:latin typeface="Garamond" panose="02020404030301010803" pitchFamily="18" charset="0"/>
            </a:endParaRPr>
          </a:p>
        </p:txBody>
      </p:sp>
      <p:sp>
        <p:nvSpPr>
          <p:cNvPr id="8" name="Rectangle 7"/>
          <p:cNvSpPr>
            <a:spLocks noChangeArrowheads="1"/>
          </p:cNvSpPr>
          <p:nvPr/>
        </p:nvSpPr>
        <p:spPr bwMode="auto">
          <a:xfrm>
            <a:off x="6731000" y="5029200"/>
            <a:ext cx="23368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WHO) </a:t>
            </a:r>
            <a:r>
              <a:rPr lang="en-US" sz="24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1948</a:t>
            </a:r>
            <a:endParaRPr lang="ar-SA" sz="24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7415"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2" name="Rectangle 1"/>
          <p:cNvSpPr>
            <a:spLocks noChangeArrowheads="1"/>
          </p:cNvSpPr>
          <p:nvPr/>
        </p:nvSpPr>
        <p:spPr bwMode="auto">
          <a:xfrm>
            <a:off x="1066800" y="3448050"/>
            <a:ext cx="7772400"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80963"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2800">
                <a:solidFill>
                  <a:schemeClr val="tx1"/>
                </a:solidFill>
                <a:latin typeface="Arial Rounded MT Bold" panose="020F0704030504030204" pitchFamily="34" charset="0"/>
              </a:rPr>
              <a:t>“Health is a state of complete physical, mental and social well-being and not merely the absence of disease or infirmity” </a:t>
            </a:r>
            <a:endParaRPr lang="ar-SA" sz="2800">
              <a:solidFill>
                <a:schemeClr val="tx1"/>
              </a:solidFill>
              <a:latin typeface="Arial Rounded MT Bold" panose="020F07040305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01"/>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00"/>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barn(inVertical)">
                                      <p:cBhvr>
                                        <p:cTn id="19" dur="500"/>
                                        <p:tgtEl>
                                          <p:spTgt spid="8"/>
                                        </p:tgtEl>
                                      </p:cBhvr>
                                    </p:animEffect>
                                  </p:childTnLst>
                                </p:cTn>
                              </p:par>
                              <p:par>
                                <p:cTn id="20" presetID="16" presetClass="entr" presetSubtype="21"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barn(inVertical)">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00" grpId="0"/>
      <p:bldP spid="4101" grpId="0"/>
      <p:bldP spid="3" grpId="0"/>
      <p:bldP spid="8" grpId="0"/>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874"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41" name="think-cell Slide" r:id="rId4" imgW="360" imgH="360" progId="TCLayout.ActiveDocument.1">
                  <p:embed/>
                </p:oleObj>
              </mc:Choice>
              <mc:Fallback>
                <p:oleObj name="think-cell Slide" r:id="rId4" imgW="360" imgH="360" progId="TCLayout.ActiveDocument.1">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3" name="Rectangle 2">
            <a:extLst>
              <a:ext uri="{FF2B5EF4-FFF2-40B4-BE49-F238E27FC236}"/>
            </a:extLst>
          </p:cNvPr>
          <p:cNvSpPr>
            <a:spLocks noChangeArrowheads="1"/>
          </p:cNvSpPr>
          <p:nvPr/>
        </p:nvSpPr>
        <p:spPr bwMode="gray">
          <a:xfrm>
            <a:off x="4679950" y="2565400"/>
            <a:ext cx="1828800" cy="1854200"/>
          </a:xfrm>
          <a:prstGeom prst="rect">
            <a:avLst/>
          </a:prstGeom>
          <a:solidFill>
            <a:srgbClr val="EDFDF8"/>
          </a:solidFill>
          <a:ln w="28575" algn="ctr">
            <a:solidFill>
              <a:schemeClr val="bg2"/>
            </a:solidFill>
            <a:miter lim="800000"/>
            <a:headEnd/>
            <a:tailEnd/>
          </a:ln>
          <a:effectLst/>
          <a:extLst/>
        </p:spPr>
        <p:txBody>
          <a:bodyPr tIns="91440" bIns="91440" anchor="ctr"/>
          <a:lstStyle/>
          <a:p>
            <a:pPr eaLnBrk="1" fontAlgn="auto" hangingPunct="1">
              <a:spcBef>
                <a:spcPts val="100"/>
              </a:spcBef>
              <a:spcAft>
                <a:spcPts val="0"/>
              </a:spcAft>
              <a:buClr>
                <a:srgbClr val="048962"/>
              </a:buClr>
              <a:buSzPct val="100000"/>
              <a:defRPr/>
            </a:pPr>
            <a:endParaRPr lang="en-US" sz="1200" dirty="0">
              <a:solidFill>
                <a:srgbClr val="000000"/>
              </a:solidFill>
              <a:latin typeface="Arial"/>
              <a:cs typeface="+mn-cs"/>
            </a:endParaRPr>
          </a:p>
        </p:txBody>
      </p:sp>
      <p:sp>
        <p:nvSpPr>
          <p:cNvPr id="79876" name="Rectangle 2"/>
          <p:cNvSpPr>
            <a:spLocks noChangeArrowheads="1"/>
          </p:cNvSpPr>
          <p:nvPr/>
        </p:nvSpPr>
        <p:spPr bwMode="gray">
          <a:xfrm>
            <a:off x="4700588" y="2565400"/>
            <a:ext cx="1738312"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rIns="0" bIns="91440"/>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ts val="100"/>
              </a:spcBef>
              <a:spcAft>
                <a:spcPct val="0"/>
              </a:spcAft>
              <a:buClr>
                <a:srgbClr val="048962"/>
              </a:buClr>
              <a:buFontTx/>
              <a:buNone/>
            </a:pPr>
            <a:r>
              <a:rPr lang="en-US" sz="1200">
                <a:solidFill>
                  <a:srgbClr val="000000"/>
                </a:solidFill>
                <a:latin typeface="Arial" panose="020B0604020202020204" pitchFamily="34" charset="0"/>
              </a:rPr>
              <a:t>Planning for MoC roll out in </a:t>
            </a:r>
            <a:r>
              <a:rPr lang="en-US" sz="1400" b="1">
                <a:solidFill>
                  <a:schemeClr val="bg2"/>
                </a:solidFill>
                <a:latin typeface="Arial" panose="020B0604020202020204" pitchFamily="34" charset="0"/>
              </a:rPr>
              <a:t>current clusters</a:t>
            </a:r>
            <a:endParaRPr lang="en-US" sz="1200" b="1">
              <a:solidFill>
                <a:schemeClr val="bg2"/>
              </a:solidFill>
              <a:latin typeface="Arial" panose="020B0604020202020204" pitchFamily="34" charset="0"/>
            </a:endParaRPr>
          </a:p>
        </p:txBody>
      </p:sp>
      <p:grpSp>
        <p:nvGrpSpPr>
          <p:cNvPr id="79877" name="Group 264"/>
          <p:cNvGrpSpPr>
            <a:grpSpLocks/>
          </p:cNvGrpSpPr>
          <p:nvPr/>
        </p:nvGrpSpPr>
        <p:grpSpPr bwMode="auto">
          <a:xfrm>
            <a:off x="5027613" y="3386138"/>
            <a:ext cx="1085850" cy="896937"/>
            <a:chOff x="6768244" y="2298601"/>
            <a:chExt cx="1194166" cy="986383"/>
          </a:xfrm>
        </p:grpSpPr>
        <p:grpSp>
          <p:nvGrpSpPr>
            <p:cNvPr id="79922" name="Group 265"/>
            <p:cNvGrpSpPr>
              <a:grpSpLocks/>
            </p:cNvGrpSpPr>
            <p:nvPr/>
          </p:nvGrpSpPr>
          <p:grpSpPr bwMode="auto">
            <a:xfrm>
              <a:off x="6768244" y="2298601"/>
              <a:ext cx="1194166" cy="986383"/>
              <a:chOff x="1698625" y="1851025"/>
              <a:chExt cx="5592763" cy="4619626"/>
            </a:xfrm>
          </p:grpSpPr>
          <p:sp>
            <p:nvSpPr>
              <p:cNvPr id="271" name="Freeform 5">
                <a:extLst>
                  <a:ext uri="{FF2B5EF4-FFF2-40B4-BE49-F238E27FC236}"/>
                </a:extLst>
              </p:cNvPr>
              <p:cNvSpPr>
                <a:spLocks noEditPoints="1"/>
              </p:cNvSpPr>
              <p:nvPr/>
            </p:nvSpPr>
            <p:spPr bwMode="auto">
              <a:xfrm>
                <a:off x="2009334" y="3379997"/>
                <a:ext cx="1586251" cy="2943480"/>
              </a:xfrm>
              <a:custGeom>
                <a:avLst/>
                <a:gdLst>
                  <a:gd name="T0" fmla="*/ 993 w 1000"/>
                  <a:gd name="T1" fmla="*/ 1856 h 1856"/>
                  <a:gd name="T2" fmla="*/ 992 w 1000"/>
                  <a:gd name="T3" fmla="*/ 1856 h 1856"/>
                  <a:gd name="T4" fmla="*/ 990 w 1000"/>
                  <a:gd name="T5" fmla="*/ 1855 h 1856"/>
                  <a:gd name="T6" fmla="*/ 989 w 1000"/>
                  <a:gd name="T7" fmla="*/ 1853 h 1856"/>
                  <a:gd name="T8" fmla="*/ 987 w 1000"/>
                  <a:gd name="T9" fmla="*/ 1851 h 1856"/>
                  <a:gd name="T10" fmla="*/ 989 w 1000"/>
                  <a:gd name="T11" fmla="*/ 1850 h 1856"/>
                  <a:gd name="T12" fmla="*/ 993 w 1000"/>
                  <a:gd name="T13" fmla="*/ 1844 h 1856"/>
                  <a:gd name="T14" fmla="*/ 995 w 1000"/>
                  <a:gd name="T15" fmla="*/ 1845 h 1856"/>
                  <a:gd name="T16" fmla="*/ 997 w 1000"/>
                  <a:gd name="T17" fmla="*/ 1846 h 1856"/>
                  <a:gd name="T18" fmla="*/ 999 w 1000"/>
                  <a:gd name="T19" fmla="*/ 1850 h 1856"/>
                  <a:gd name="T20" fmla="*/ 999 w 1000"/>
                  <a:gd name="T21" fmla="*/ 1850 h 1856"/>
                  <a:gd name="T22" fmla="*/ 1000 w 1000"/>
                  <a:gd name="T23" fmla="*/ 1852 h 1856"/>
                  <a:gd name="T24" fmla="*/ 999 w 1000"/>
                  <a:gd name="T25" fmla="*/ 1854 h 1856"/>
                  <a:gd name="T26" fmla="*/ 996 w 1000"/>
                  <a:gd name="T27" fmla="*/ 1856 h 1856"/>
                  <a:gd name="T28" fmla="*/ 993 w 1000"/>
                  <a:gd name="T29" fmla="*/ 1856 h 1856"/>
                  <a:gd name="T30" fmla="*/ 993 w 1000"/>
                  <a:gd name="T31" fmla="*/ 1856 h 1856"/>
                  <a:gd name="T32" fmla="*/ 229 w 1000"/>
                  <a:gd name="T33" fmla="*/ 408 h 1856"/>
                  <a:gd name="T34" fmla="*/ 228 w 1000"/>
                  <a:gd name="T35" fmla="*/ 410 h 1856"/>
                  <a:gd name="T36" fmla="*/ 226 w 1000"/>
                  <a:gd name="T37" fmla="*/ 409 h 1856"/>
                  <a:gd name="T38" fmla="*/ 224 w 1000"/>
                  <a:gd name="T39" fmla="*/ 408 h 1856"/>
                  <a:gd name="T40" fmla="*/ 222 w 1000"/>
                  <a:gd name="T41" fmla="*/ 408 h 1856"/>
                  <a:gd name="T42" fmla="*/ 221 w 1000"/>
                  <a:gd name="T43" fmla="*/ 409 h 1856"/>
                  <a:gd name="T44" fmla="*/ 221 w 1000"/>
                  <a:gd name="T45" fmla="*/ 405 h 1856"/>
                  <a:gd name="T46" fmla="*/ 222 w 1000"/>
                  <a:gd name="T47" fmla="*/ 403 h 1856"/>
                  <a:gd name="T48" fmla="*/ 224 w 1000"/>
                  <a:gd name="T49" fmla="*/ 403 h 1856"/>
                  <a:gd name="T50" fmla="*/ 225 w 1000"/>
                  <a:gd name="T51" fmla="*/ 404 h 1856"/>
                  <a:gd name="T52" fmla="*/ 229 w 1000"/>
                  <a:gd name="T53" fmla="*/ 408 h 1856"/>
                  <a:gd name="T54" fmla="*/ 229 w 1000"/>
                  <a:gd name="T55" fmla="*/ 408 h 1856"/>
                  <a:gd name="T56" fmla="*/ 6 w 1000"/>
                  <a:gd name="T57" fmla="*/ 10 h 1856"/>
                  <a:gd name="T58" fmla="*/ 7 w 1000"/>
                  <a:gd name="T59" fmla="*/ 12 h 1856"/>
                  <a:gd name="T60" fmla="*/ 3 w 1000"/>
                  <a:gd name="T61" fmla="*/ 7 h 1856"/>
                  <a:gd name="T62" fmla="*/ 0 w 1000"/>
                  <a:gd name="T63" fmla="*/ 6 h 1856"/>
                  <a:gd name="T64" fmla="*/ 0 w 1000"/>
                  <a:gd name="T65" fmla="*/ 3 h 1856"/>
                  <a:gd name="T66" fmla="*/ 0 w 1000"/>
                  <a:gd name="T67" fmla="*/ 1 h 1856"/>
                  <a:gd name="T68" fmla="*/ 1 w 1000"/>
                  <a:gd name="T69" fmla="*/ 0 h 1856"/>
                  <a:gd name="T70" fmla="*/ 5 w 1000"/>
                  <a:gd name="T71" fmla="*/ 6 h 1856"/>
                  <a:gd name="T72" fmla="*/ 6 w 1000"/>
                  <a:gd name="T73" fmla="*/ 8 h 1856"/>
                  <a:gd name="T74" fmla="*/ 6 w 1000"/>
                  <a:gd name="T75" fmla="*/ 10 h 1856"/>
                  <a:gd name="T76" fmla="*/ 6 w 1000"/>
                  <a:gd name="T77" fmla="*/ 10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0" h="1856">
                    <a:moveTo>
                      <a:pt x="993" y="1856"/>
                    </a:moveTo>
                    <a:lnTo>
                      <a:pt x="992" y="1856"/>
                    </a:lnTo>
                    <a:lnTo>
                      <a:pt x="990" y="1855"/>
                    </a:lnTo>
                    <a:lnTo>
                      <a:pt x="989" y="1853"/>
                    </a:lnTo>
                    <a:lnTo>
                      <a:pt x="987" y="1851"/>
                    </a:lnTo>
                    <a:lnTo>
                      <a:pt x="989" y="1850"/>
                    </a:lnTo>
                    <a:lnTo>
                      <a:pt x="993" y="1844"/>
                    </a:lnTo>
                    <a:lnTo>
                      <a:pt x="995" y="1845"/>
                    </a:lnTo>
                    <a:lnTo>
                      <a:pt x="997" y="1846"/>
                    </a:lnTo>
                    <a:lnTo>
                      <a:pt x="999" y="1850"/>
                    </a:lnTo>
                    <a:lnTo>
                      <a:pt x="999" y="1850"/>
                    </a:lnTo>
                    <a:lnTo>
                      <a:pt x="1000" y="1852"/>
                    </a:lnTo>
                    <a:lnTo>
                      <a:pt x="999" y="1854"/>
                    </a:lnTo>
                    <a:lnTo>
                      <a:pt x="996" y="1856"/>
                    </a:lnTo>
                    <a:lnTo>
                      <a:pt x="993" y="1856"/>
                    </a:lnTo>
                    <a:lnTo>
                      <a:pt x="993" y="1856"/>
                    </a:lnTo>
                    <a:close/>
                    <a:moveTo>
                      <a:pt x="229" y="408"/>
                    </a:moveTo>
                    <a:lnTo>
                      <a:pt x="228" y="410"/>
                    </a:lnTo>
                    <a:lnTo>
                      <a:pt x="226" y="409"/>
                    </a:lnTo>
                    <a:lnTo>
                      <a:pt x="224" y="408"/>
                    </a:lnTo>
                    <a:lnTo>
                      <a:pt x="222" y="408"/>
                    </a:lnTo>
                    <a:lnTo>
                      <a:pt x="221" y="409"/>
                    </a:lnTo>
                    <a:lnTo>
                      <a:pt x="221" y="405"/>
                    </a:lnTo>
                    <a:lnTo>
                      <a:pt x="222" y="403"/>
                    </a:lnTo>
                    <a:lnTo>
                      <a:pt x="224" y="403"/>
                    </a:lnTo>
                    <a:lnTo>
                      <a:pt x="225" y="404"/>
                    </a:lnTo>
                    <a:lnTo>
                      <a:pt x="229" y="408"/>
                    </a:lnTo>
                    <a:lnTo>
                      <a:pt x="229" y="408"/>
                    </a:lnTo>
                    <a:close/>
                    <a:moveTo>
                      <a:pt x="6" y="10"/>
                    </a:moveTo>
                    <a:lnTo>
                      <a:pt x="7" y="12"/>
                    </a:lnTo>
                    <a:lnTo>
                      <a:pt x="3" y="7"/>
                    </a:lnTo>
                    <a:lnTo>
                      <a:pt x="0" y="6"/>
                    </a:lnTo>
                    <a:lnTo>
                      <a:pt x="0" y="3"/>
                    </a:lnTo>
                    <a:lnTo>
                      <a:pt x="0" y="1"/>
                    </a:lnTo>
                    <a:lnTo>
                      <a:pt x="1" y="0"/>
                    </a:lnTo>
                    <a:lnTo>
                      <a:pt x="5" y="6"/>
                    </a:lnTo>
                    <a:lnTo>
                      <a:pt x="6" y="8"/>
                    </a:lnTo>
                    <a:lnTo>
                      <a:pt x="6" y="10"/>
                    </a:lnTo>
                    <a:lnTo>
                      <a:pt x="6" y="10"/>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72" name="Freeform 6">
                <a:extLst>
                  <a:ext uri="{FF2B5EF4-FFF2-40B4-BE49-F238E27FC236}"/>
                </a:extLst>
              </p:cNvPr>
              <p:cNvSpPr>
                <a:spLocks/>
              </p:cNvSpPr>
              <p:nvPr/>
            </p:nvSpPr>
            <p:spPr bwMode="auto">
              <a:xfrm>
                <a:off x="4102532" y="5587607"/>
                <a:ext cx="1095658" cy="727696"/>
              </a:xfrm>
              <a:custGeom>
                <a:avLst/>
                <a:gdLst>
                  <a:gd name="T0" fmla="*/ 634 w 687"/>
                  <a:gd name="T1" fmla="*/ 430 h 457"/>
                  <a:gd name="T2" fmla="*/ 594 w 687"/>
                  <a:gd name="T3" fmla="*/ 454 h 457"/>
                  <a:gd name="T4" fmla="*/ 584 w 687"/>
                  <a:gd name="T5" fmla="*/ 457 h 457"/>
                  <a:gd name="T6" fmla="*/ 558 w 687"/>
                  <a:gd name="T7" fmla="*/ 454 h 457"/>
                  <a:gd name="T8" fmla="*/ 520 w 687"/>
                  <a:gd name="T9" fmla="*/ 402 h 457"/>
                  <a:gd name="T10" fmla="*/ 449 w 687"/>
                  <a:gd name="T11" fmla="*/ 407 h 457"/>
                  <a:gd name="T12" fmla="*/ 335 w 687"/>
                  <a:gd name="T13" fmla="*/ 396 h 457"/>
                  <a:gd name="T14" fmla="*/ 292 w 687"/>
                  <a:gd name="T15" fmla="*/ 389 h 457"/>
                  <a:gd name="T16" fmla="*/ 256 w 687"/>
                  <a:gd name="T17" fmla="*/ 371 h 457"/>
                  <a:gd name="T18" fmla="*/ 169 w 687"/>
                  <a:gd name="T19" fmla="*/ 371 h 457"/>
                  <a:gd name="T20" fmla="*/ 155 w 687"/>
                  <a:gd name="T21" fmla="*/ 375 h 457"/>
                  <a:gd name="T22" fmla="*/ 139 w 687"/>
                  <a:gd name="T23" fmla="*/ 374 h 457"/>
                  <a:gd name="T24" fmla="*/ 112 w 687"/>
                  <a:gd name="T25" fmla="*/ 374 h 457"/>
                  <a:gd name="T26" fmla="*/ 96 w 687"/>
                  <a:gd name="T27" fmla="*/ 378 h 457"/>
                  <a:gd name="T28" fmla="*/ 86 w 687"/>
                  <a:gd name="T29" fmla="*/ 375 h 457"/>
                  <a:gd name="T30" fmla="*/ 80 w 687"/>
                  <a:gd name="T31" fmla="*/ 382 h 457"/>
                  <a:gd name="T32" fmla="*/ 75 w 687"/>
                  <a:gd name="T33" fmla="*/ 386 h 457"/>
                  <a:gd name="T34" fmla="*/ 64 w 687"/>
                  <a:gd name="T35" fmla="*/ 382 h 457"/>
                  <a:gd name="T36" fmla="*/ 57 w 687"/>
                  <a:gd name="T37" fmla="*/ 383 h 457"/>
                  <a:gd name="T38" fmla="*/ 53 w 687"/>
                  <a:gd name="T39" fmla="*/ 390 h 457"/>
                  <a:gd name="T40" fmla="*/ 46 w 687"/>
                  <a:gd name="T41" fmla="*/ 394 h 457"/>
                  <a:gd name="T42" fmla="*/ 43 w 687"/>
                  <a:gd name="T43" fmla="*/ 392 h 457"/>
                  <a:gd name="T44" fmla="*/ 42 w 687"/>
                  <a:gd name="T45" fmla="*/ 387 h 457"/>
                  <a:gd name="T46" fmla="*/ 42 w 687"/>
                  <a:gd name="T47" fmla="*/ 384 h 457"/>
                  <a:gd name="T48" fmla="*/ 34 w 687"/>
                  <a:gd name="T49" fmla="*/ 386 h 457"/>
                  <a:gd name="T50" fmla="*/ 22 w 687"/>
                  <a:gd name="T51" fmla="*/ 386 h 457"/>
                  <a:gd name="T52" fmla="*/ 16 w 687"/>
                  <a:gd name="T53" fmla="*/ 385 h 457"/>
                  <a:gd name="T54" fmla="*/ 0 w 687"/>
                  <a:gd name="T55" fmla="*/ 369 h 457"/>
                  <a:gd name="T56" fmla="*/ 4 w 687"/>
                  <a:gd name="T57" fmla="*/ 346 h 457"/>
                  <a:gd name="T58" fmla="*/ 1 w 687"/>
                  <a:gd name="T59" fmla="*/ 326 h 457"/>
                  <a:gd name="T60" fmla="*/ 1 w 687"/>
                  <a:gd name="T61" fmla="*/ 317 h 457"/>
                  <a:gd name="T62" fmla="*/ 6 w 687"/>
                  <a:gd name="T63" fmla="*/ 271 h 457"/>
                  <a:gd name="T64" fmla="*/ 4 w 687"/>
                  <a:gd name="T65" fmla="*/ 256 h 457"/>
                  <a:gd name="T66" fmla="*/ 0 w 687"/>
                  <a:gd name="T67" fmla="*/ 241 h 457"/>
                  <a:gd name="T68" fmla="*/ 2 w 687"/>
                  <a:gd name="T69" fmla="*/ 231 h 457"/>
                  <a:gd name="T70" fmla="*/ 9 w 687"/>
                  <a:gd name="T71" fmla="*/ 219 h 457"/>
                  <a:gd name="T72" fmla="*/ 55 w 687"/>
                  <a:gd name="T73" fmla="*/ 175 h 457"/>
                  <a:gd name="T74" fmla="*/ 63 w 687"/>
                  <a:gd name="T75" fmla="*/ 166 h 457"/>
                  <a:gd name="T76" fmla="*/ 69 w 687"/>
                  <a:gd name="T77" fmla="*/ 153 h 457"/>
                  <a:gd name="T78" fmla="*/ 74 w 687"/>
                  <a:gd name="T79" fmla="*/ 145 h 457"/>
                  <a:gd name="T80" fmla="*/ 82 w 687"/>
                  <a:gd name="T81" fmla="*/ 140 h 457"/>
                  <a:gd name="T82" fmla="*/ 101 w 687"/>
                  <a:gd name="T83" fmla="*/ 135 h 457"/>
                  <a:gd name="T84" fmla="*/ 117 w 687"/>
                  <a:gd name="T85" fmla="*/ 126 h 457"/>
                  <a:gd name="T86" fmla="*/ 122 w 687"/>
                  <a:gd name="T87" fmla="*/ 120 h 457"/>
                  <a:gd name="T88" fmla="*/ 125 w 687"/>
                  <a:gd name="T89" fmla="*/ 112 h 457"/>
                  <a:gd name="T90" fmla="*/ 127 w 687"/>
                  <a:gd name="T91" fmla="*/ 100 h 457"/>
                  <a:gd name="T92" fmla="*/ 126 w 687"/>
                  <a:gd name="T93" fmla="*/ 86 h 457"/>
                  <a:gd name="T94" fmla="*/ 121 w 687"/>
                  <a:gd name="T95" fmla="*/ 60 h 457"/>
                  <a:gd name="T96" fmla="*/ 125 w 687"/>
                  <a:gd name="T97" fmla="*/ 48 h 457"/>
                  <a:gd name="T98" fmla="*/ 141 w 687"/>
                  <a:gd name="T99" fmla="*/ 39 h 457"/>
                  <a:gd name="T100" fmla="*/ 145 w 687"/>
                  <a:gd name="T101" fmla="*/ 35 h 457"/>
                  <a:gd name="T102" fmla="*/ 147 w 687"/>
                  <a:gd name="T103" fmla="*/ 25 h 457"/>
                  <a:gd name="T104" fmla="*/ 193 w 687"/>
                  <a:gd name="T105" fmla="*/ 31 h 457"/>
                  <a:gd name="T106" fmla="*/ 215 w 687"/>
                  <a:gd name="T107" fmla="*/ 41 h 457"/>
                  <a:gd name="T108" fmla="*/ 274 w 687"/>
                  <a:gd name="T109" fmla="*/ 48 h 457"/>
                  <a:gd name="T110" fmla="*/ 687 w 687"/>
                  <a:gd name="T111" fmla="*/ 0 h 457"/>
                  <a:gd name="T112" fmla="*/ 634 w 687"/>
                  <a:gd name="T113" fmla="*/ 43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7" h="457">
                    <a:moveTo>
                      <a:pt x="634" y="430"/>
                    </a:moveTo>
                    <a:lnTo>
                      <a:pt x="634" y="430"/>
                    </a:lnTo>
                    <a:lnTo>
                      <a:pt x="614" y="442"/>
                    </a:lnTo>
                    <a:lnTo>
                      <a:pt x="594" y="454"/>
                    </a:lnTo>
                    <a:lnTo>
                      <a:pt x="590" y="456"/>
                    </a:lnTo>
                    <a:lnTo>
                      <a:pt x="584" y="457"/>
                    </a:lnTo>
                    <a:lnTo>
                      <a:pt x="560" y="456"/>
                    </a:lnTo>
                    <a:lnTo>
                      <a:pt x="558" y="454"/>
                    </a:lnTo>
                    <a:lnTo>
                      <a:pt x="544" y="435"/>
                    </a:lnTo>
                    <a:lnTo>
                      <a:pt x="520" y="402"/>
                    </a:lnTo>
                    <a:lnTo>
                      <a:pt x="514" y="398"/>
                    </a:lnTo>
                    <a:lnTo>
                      <a:pt x="449" y="407"/>
                    </a:lnTo>
                    <a:lnTo>
                      <a:pt x="377" y="399"/>
                    </a:lnTo>
                    <a:lnTo>
                      <a:pt x="335" y="396"/>
                    </a:lnTo>
                    <a:lnTo>
                      <a:pt x="300" y="392"/>
                    </a:lnTo>
                    <a:lnTo>
                      <a:pt x="292" y="389"/>
                    </a:lnTo>
                    <a:lnTo>
                      <a:pt x="265" y="373"/>
                    </a:lnTo>
                    <a:lnTo>
                      <a:pt x="256" y="371"/>
                    </a:lnTo>
                    <a:lnTo>
                      <a:pt x="203" y="371"/>
                    </a:lnTo>
                    <a:lnTo>
                      <a:pt x="169" y="371"/>
                    </a:lnTo>
                    <a:lnTo>
                      <a:pt x="165" y="371"/>
                    </a:lnTo>
                    <a:lnTo>
                      <a:pt x="155" y="375"/>
                    </a:lnTo>
                    <a:lnTo>
                      <a:pt x="150" y="375"/>
                    </a:lnTo>
                    <a:lnTo>
                      <a:pt x="139" y="374"/>
                    </a:lnTo>
                    <a:lnTo>
                      <a:pt x="128" y="373"/>
                    </a:lnTo>
                    <a:lnTo>
                      <a:pt x="112" y="374"/>
                    </a:lnTo>
                    <a:lnTo>
                      <a:pt x="99" y="378"/>
                    </a:lnTo>
                    <a:lnTo>
                      <a:pt x="96" y="378"/>
                    </a:lnTo>
                    <a:lnTo>
                      <a:pt x="89" y="376"/>
                    </a:lnTo>
                    <a:lnTo>
                      <a:pt x="86" y="375"/>
                    </a:lnTo>
                    <a:lnTo>
                      <a:pt x="83" y="377"/>
                    </a:lnTo>
                    <a:lnTo>
                      <a:pt x="80" y="382"/>
                    </a:lnTo>
                    <a:lnTo>
                      <a:pt x="78" y="385"/>
                    </a:lnTo>
                    <a:lnTo>
                      <a:pt x="75" y="386"/>
                    </a:lnTo>
                    <a:lnTo>
                      <a:pt x="71" y="385"/>
                    </a:lnTo>
                    <a:lnTo>
                      <a:pt x="64" y="382"/>
                    </a:lnTo>
                    <a:lnTo>
                      <a:pt x="61" y="382"/>
                    </a:lnTo>
                    <a:lnTo>
                      <a:pt x="57" y="383"/>
                    </a:lnTo>
                    <a:lnTo>
                      <a:pt x="55" y="387"/>
                    </a:lnTo>
                    <a:lnTo>
                      <a:pt x="53" y="390"/>
                    </a:lnTo>
                    <a:lnTo>
                      <a:pt x="50" y="393"/>
                    </a:lnTo>
                    <a:lnTo>
                      <a:pt x="46" y="394"/>
                    </a:lnTo>
                    <a:lnTo>
                      <a:pt x="44" y="393"/>
                    </a:lnTo>
                    <a:lnTo>
                      <a:pt x="43" y="392"/>
                    </a:lnTo>
                    <a:lnTo>
                      <a:pt x="42" y="390"/>
                    </a:lnTo>
                    <a:lnTo>
                      <a:pt x="42" y="387"/>
                    </a:lnTo>
                    <a:lnTo>
                      <a:pt x="42" y="385"/>
                    </a:lnTo>
                    <a:lnTo>
                      <a:pt x="42" y="384"/>
                    </a:lnTo>
                    <a:lnTo>
                      <a:pt x="38" y="385"/>
                    </a:lnTo>
                    <a:lnTo>
                      <a:pt x="34" y="386"/>
                    </a:lnTo>
                    <a:lnTo>
                      <a:pt x="28" y="385"/>
                    </a:lnTo>
                    <a:lnTo>
                      <a:pt x="22" y="386"/>
                    </a:lnTo>
                    <a:lnTo>
                      <a:pt x="19" y="386"/>
                    </a:lnTo>
                    <a:lnTo>
                      <a:pt x="16" y="385"/>
                    </a:lnTo>
                    <a:lnTo>
                      <a:pt x="9" y="379"/>
                    </a:lnTo>
                    <a:lnTo>
                      <a:pt x="0" y="369"/>
                    </a:lnTo>
                    <a:lnTo>
                      <a:pt x="0" y="364"/>
                    </a:lnTo>
                    <a:lnTo>
                      <a:pt x="4" y="346"/>
                    </a:lnTo>
                    <a:lnTo>
                      <a:pt x="4" y="337"/>
                    </a:lnTo>
                    <a:lnTo>
                      <a:pt x="1" y="326"/>
                    </a:lnTo>
                    <a:lnTo>
                      <a:pt x="0" y="321"/>
                    </a:lnTo>
                    <a:lnTo>
                      <a:pt x="1" y="317"/>
                    </a:lnTo>
                    <a:lnTo>
                      <a:pt x="2" y="310"/>
                    </a:lnTo>
                    <a:lnTo>
                      <a:pt x="6" y="271"/>
                    </a:lnTo>
                    <a:lnTo>
                      <a:pt x="6" y="263"/>
                    </a:lnTo>
                    <a:lnTo>
                      <a:pt x="4" y="256"/>
                    </a:lnTo>
                    <a:lnTo>
                      <a:pt x="2" y="249"/>
                    </a:lnTo>
                    <a:lnTo>
                      <a:pt x="0" y="241"/>
                    </a:lnTo>
                    <a:lnTo>
                      <a:pt x="0" y="237"/>
                    </a:lnTo>
                    <a:lnTo>
                      <a:pt x="2" y="231"/>
                    </a:lnTo>
                    <a:lnTo>
                      <a:pt x="5" y="225"/>
                    </a:lnTo>
                    <a:lnTo>
                      <a:pt x="9" y="219"/>
                    </a:lnTo>
                    <a:lnTo>
                      <a:pt x="36" y="191"/>
                    </a:lnTo>
                    <a:lnTo>
                      <a:pt x="55" y="175"/>
                    </a:lnTo>
                    <a:lnTo>
                      <a:pt x="60" y="168"/>
                    </a:lnTo>
                    <a:lnTo>
                      <a:pt x="63" y="166"/>
                    </a:lnTo>
                    <a:lnTo>
                      <a:pt x="64" y="162"/>
                    </a:lnTo>
                    <a:lnTo>
                      <a:pt x="69" y="153"/>
                    </a:lnTo>
                    <a:lnTo>
                      <a:pt x="71" y="148"/>
                    </a:lnTo>
                    <a:lnTo>
                      <a:pt x="74" y="145"/>
                    </a:lnTo>
                    <a:lnTo>
                      <a:pt x="79" y="142"/>
                    </a:lnTo>
                    <a:lnTo>
                      <a:pt x="82" y="140"/>
                    </a:lnTo>
                    <a:lnTo>
                      <a:pt x="94" y="138"/>
                    </a:lnTo>
                    <a:lnTo>
                      <a:pt x="101" y="135"/>
                    </a:lnTo>
                    <a:lnTo>
                      <a:pt x="109" y="131"/>
                    </a:lnTo>
                    <a:lnTo>
                      <a:pt x="117" y="126"/>
                    </a:lnTo>
                    <a:lnTo>
                      <a:pt x="119" y="123"/>
                    </a:lnTo>
                    <a:lnTo>
                      <a:pt x="122" y="120"/>
                    </a:lnTo>
                    <a:lnTo>
                      <a:pt x="124" y="116"/>
                    </a:lnTo>
                    <a:lnTo>
                      <a:pt x="125" y="112"/>
                    </a:lnTo>
                    <a:lnTo>
                      <a:pt x="127" y="107"/>
                    </a:lnTo>
                    <a:lnTo>
                      <a:pt x="127" y="100"/>
                    </a:lnTo>
                    <a:lnTo>
                      <a:pt x="127" y="94"/>
                    </a:lnTo>
                    <a:lnTo>
                      <a:pt x="126" y="86"/>
                    </a:lnTo>
                    <a:lnTo>
                      <a:pt x="121" y="63"/>
                    </a:lnTo>
                    <a:lnTo>
                      <a:pt x="121" y="60"/>
                    </a:lnTo>
                    <a:lnTo>
                      <a:pt x="122" y="54"/>
                    </a:lnTo>
                    <a:lnTo>
                      <a:pt x="125" y="48"/>
                    </a:lnTo>
                    <a:lnTo>
                      <a:pt x="130" y="45"/>
                    </a:lnTo>
                    <a:lnTo>
                      <a:pt x="141" y="39"/>
                    </a:lnTo>
                    <a:lnTo>
                      <a:pt x="143" y="37"/>
                    </a:lnTo>
                    <a:lnTo>
                      <a:pt x="145" y="35"/>
                    </a:lnTo>
                    <a:lnTo>
                      <a:pt x="147" y="31"/>
                    </a:lnTo>
                    <a:lnTo>
                      <a:pt x="147" y="25"/>
                    </a:lnTo>
                    <a:lnTo>
                      <a:pt x="147" y="2"/>
                    </a:lnTo>
                    <a:lnTo>
                      <a:pt x="193" y="31"/>
                    </a:lnTo>
                    <a:lnTo>
                      <a:pt x="206" y="38"/>
                    </a:lnTo>
                    <a:lnTo>
                      <a:pt x="215" y="41"/>
                    </a:lnTo>
                    <a:lnTo>
                      <a:pt x="230" y="46"/>
                    </a:lnTo>
                    <a:lnTo>
                      <a:pt x="274" y="48"/>
                    </a:lnTo>
                    <a:lnTo>
                      <a:pt x="666" y="6"/>
                    </a:lnTo>
                    <a:lnTo>
                      <a:pt x="687" y="0"/>
                    </a:lnTo>
                    <a:lnTo>
                      <a:pt x="634" y="430"/>
                    </a:lnTo>
                    <a:lnTo>
                      <a:pt x="634" y="430"/>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273" name="Freeform 7">
                <a:extLst>
                  <a:ext uri="{FF2B5EF4-FFF2-40B4-BE49-F238E27FC236}"/>
                </a:extLst>
              </p:cNvPr>
              <p:cNvSpPr>
                <a:spLocks/>
              </p:cNvSpPr>
              <p:nvPr/>
            </p:nvSpPr>
            <p:spPr bwMode="auto">
              <a:xfrm>
                <a:off x="3660998" y="3257354"/>
                <a:ext cx="1684370" cy="2403842"/>
              </a:xfrm>
              <a:custGeom>
                <a:avLst/>
                <a:gdLst>
                  <a:gd name="T0" fmla="*/ 493 w 1058"/>
                  <a:gd name="T1" fmla="*/ 1507 h 1514"/>
                  <a:gd name="T2" fmla="*/ 357 w 1058"/>
                  <a:gd name="T3" fmla="*/ 1406 h 1514"/>
                  <a:gd name="T4" fmla="*/ 327 w 1058"/>
                  <a:gd name="T5" fmla="*/ 1353 h 1514"/>
                  <a:gd name="T6" fmla="*/ 349 w 1058"/>
                  <a:gd name="T7" fmla="*/ 1292 h 1514"/>
                  <a:gd name="T8" fmla="*/ 332 w 1058"/>
                  <a:gd name="T9" fmla="*/ 1262 h 1514"/>
                  <a:gd name="T10" fmla="*/ 239 w 1058"/>
                  <a:gd name="T11" fmla="*/ 1141 h 1514"/>
                  <a:gd name="T12" fmla="*/ 243 w 1058"/>
                  <a:gd name="T13" fmla="*/ 1101 h 1514"/>
                  <a:gd name="T14" fmla="*/ 246 w 1058"/>
                  <a:gd name="T15" fmla="*/ 1052 h 1514"/>
                  <a:gd name="T16" fmla="*/ 256 w 1058"/>
                  <a:gd name="T17" fmla="*/ 1031 h 1514"/>
                  <a:gd name="T18" fmla="*/ 252 w 1058"/>
                  <a:gd name="T19" fmla="*/ 932 h 1514"/>
                  <a:gd name="T20" fmla="*/ 220 w 1058"/>
                  <a:gd name="T21" fmla="*/ 922 h 1514"/>
                  <a:gd name="T22" fmla="*/ 181 w 1058"/>
                  <a:gd name="T23" fmla="*/ 926 h 1514"/>
                  <a:gd name="T24" fmla="*/ 169 w 1058"/>
                  <a:gd name="T25" fmla="*/ 903 h 1514"/>
                  <a:gd name="T26" fmla="*/ 170 w 1058"/>
                  <a:gd name="T27" fmla="*/ 866 h 1514"/>
                  <a:gd name="T28" fmla="*/ 113 w 1058"/>
                  <a:gd name="T29" fmla="*/ 855 h 1514"/>
                  <a:gd name="T30" fmla="*/ 71 w 1058"/>
                  <a:gd name="T31" fmla="*/ 849 h 1514"/>
                  <a:gd name="T32" fmla="*/ 36 w 1058"/>
                  <a:gd name="T33" fmla="*/ 763 h 1514"/>
                  <a:gd name="T34" fmla="*/ 15 w 1058"/>
                  <a:gd name="T35" fmla="*/ 711 h 1514"/>
                  <a:gd name="T36" fmla="*/ 1 w 1058"/>
                  <a:gd name="T37" fmla="*/ 697 h 1514"/>
                  <a:gd name="T38" fmla="*/ 6 w 1058"/>
                  <a:gd name="T39" fmla="*/ 605 h 1514"/>
                  <a:gd name="T40" fmla="*/ 4 w 1058"/>
                  <a:gd name="T41" fmla="*/ 583 h 1514"/>
                  <a:gd name="T42" fmla="*/ 19 w 1058"/>
                  <a:gd name="T43" fmla="*/ 560 h 1514"/>
                  <a:gd name="T44" fmla="*/ 36 w 1058"/>
                  <a:gd name="T45" fmla="*/ 520 h 1514"/>
                  <a:gd name="T46" fmla="*/ 71 w 1058"/>
                  <a:gd name="T47" fmla="*/ 523 h 1514"/>
                  <a:gd name="T48" fmla="*/ 152 w 1058"/>
                  <a:gd name="T49" fmla="*/ 529 h 1514"/>
                  <a:gd name="T50" fmla="*/ 184 w 1058"/>
                  <a:gd name="T51" fmla="*/ 530 h 1514"/>
                  <a:gd name="T52" fmla="*/ 192 w 1058"/>
                  <a:gd name="T53" fmla="*/ 506 h 1514"/>
                  <a:gd name="T54" fmla="*/ 189 w 1058"/>
                  <a:gd name="T55" fmla="*/ 481 h 1514"/>
                  <a:gd name="T56" fmla="*/ 285 w 1058"/>
                  <a:gd name="T57" fmla="*/ 425 h 1514"/>
                  <a:gd name="T58" fmla="*/ 320 w 1058"/>
                  <a:gd name="T59" fmla="*/ 399 h 1514"/>
                  <a:gd name="T60" fmla="*/ 339 w 1058"/>
                  <a:gd name="T61" fmla="*/ 370 h 1514"/>
                  <a:gd name="T62" fmla="*/ 360 w 1058"/>
                  <a:gd name="T63" fmla="*/ 365 h 1514"/>
                  <a:gd name="T64" fmla="*/ 458 w 1058"/>
                  <a:gd name="T65" fmla="*/ 366 h 1514"/>
                  <a:gd name="T66" fmla="*/ 462 w 1058"/>
                  <a:gd name="T67" fmla="*/ 345 h 1514"/>
                  <a:gd name="T68" fmla="*/ 450 w 1058"/>
                  <a:gd name="T69" fmla="*/ 309 h 1514"/>
                  <a:gd name="T70" fmla="*/ 439 w 1058"/>
                  <a:gd name="T71" fmla="*/ 271 h 1514"/>
                  <a:gd name="T72" fmla="*/ 403 w 1058"/>
                  <a:gd name="T73" fmla="*/ 219 h 1514"/>
                  <a:gd name="T74" fmla="*/ 403 w 1058"/>
                  <a:gd name="T75" fmla="*/ 171 h 1514"/>
                  <a:gd name="T76" fmla="*/ 421 w 1058"/>
                  <a:gd name="T77" fmla="*/ 157 h 1514"/>
                  <a:gd name="T78" fmla="*/ 452 w 1058"/>
                  <a:gd name="T79" fmla="*/ 122 h 1514"/>
                  <a:gd name="T80" fmla="*/ 476 w 1058"/>
                  <a:gd name="T81" fmla="*/ 110 h 1514"/>
                  <a:gd name="T82" fmla="*/ 479 w 1058"/>
                  <a:gd name="T83" fmla="*/ 94 h 1514"/>
                  <a:gd name="T84" fmla="*/ 469 w 1058"/>
                  <a:gd name="T85" fmla="*/ 74 h 1514"/>
                  <a:gd name="T86" fmla="*/ 440 w 1058"/>
                  <a:gd name="T87" fmla="*/ 50 h 1514"/>
                  <a:gd name="T88" fmla="*/ 446 w 1058"/>
                  <a:gd name="T89" fmla="*/ 27 h 1514"/>
                  <a:gd name="T90" fmla="*/ 472 w 1058"/>
                  <a:gd name="T91" fmla="*/ 3 h 1514"/>
                  <a:gd name="T92" fmla="*/ 490 w 1058"/>
                  <a:gd name="T93" fmla="*/ 14 h 1514"/>
                  <a:gd name="T94" fmla="*/ 520 w 1058"/>
                  <a:gd name="T95" fmla="*/ 12 h 1514"/>
                  <a:gd name="T96" fmla="*/ 539 w 1058"/>
                  <a:gd name="T97" fmla="*/ 48 h 1514"/>
                  <a:gd name="T98" fmla="*/ 614 w 1058"/>
                  <a:gd name="T99" fmla="*/ 88 h 1514"/>
                  <a:gd name="T100" fmla="*/ 651 w 1058"/>
                  <a:gd name="T101" fmla="*/ 122 h 1514"/>
                  <a:gd name="T102" fmla="*/ 704 w 1058"/>
                  <a:gd name="T103" fmla="*/ 132 h 1514"/>
                  <a:gd name="T104" fmla="*/ 771 w 1058"/>
                  <a:gd name="T105" fmla="*/ 173 h 1514"/>
                  <a:gd name="T106" fmla="*/ 812 w 1058"/>
                  <a:gd name="T107" fmla="*/ 172 h 1514"/>
                  <a:gd name="T108" fmla="*/ 854 w 1058"/>
                  <a:gd name="T109" fmla="*/ 214 h 1514"/>
                  <a:gd name="T110" fmla="*/ 916 w 1058"/>
                  <a:gd name="T111" fmla="*/ 246 h 1514"/>
                  <a:gd name="T112" fmla="*/ 924 w 1058"/>
                  <a:gd name="T113" fmla="*/ 515 h 1514"/>
                  <a:gd name="T114" fmla="*/ 1038 w 1058"/>
                  <a:gd name="T115" fmla="*/ 617 h 1514"/>
                  <a:gd name="T116" fmla="*/ 1058 w 1058"/>
                  <a:gd name="T117" fmla="*/ 721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8" h="1514">
                    <a:moveTo>
                      <a:pt x="965" y="1466"/>
                    </a:moveTo>
                    <a:lnTo>
                      <a:pt x="944" y="1472"/>
                    </a:lnTo>
                    <a:lnTo>
                      <a:pt x="552" y="1514"/>
                    </a:lnTo>
                    <a:lnTo>
                      <a:pt x="508" y="1512"/>
                    </a:lnTo>
                    <a:lnTo>
                      <a:pt x="493" y="1507"/>
                    </a:lnTo>
                    <a:lnTo>
                      <a:pt x="484" y="1504"/>
                    </a:lnTo>
                    <a:lnTo>
                      <a:pt x="471" y="1497"/>
                    </a:lnTo>
                    <a:lnTo>
                      <a:pt x="425" y="1468"/>
                    </a:lnTo>
                    <a:lnTo>
                      <a:pt x="422" y="1467"/>
                    </a:lnTo>
                    <a:lnTo>
                      <a:pt x="357" y="1406"/>
                    </a:lnTo>
                    <a:lnTo>
                      <a:pt x="340" y="1378"/>
                    </a:lnTo>
                    <a:lnTo>
                      <a:pt x="331" y="1367"/>
                    </a:lnTo>
                    <a:lnTo>
                      <a:pt x="327" y="1363"/>
                    </a:lnTo>
                    <a:lnTo>
                      <a:pt x="327" y="1357"/>
                    </a:lnTo>
                    <a:lnTo>
                      <a:pt x="327" y="1353"/>
                    </a:lnTo>
                    <a:lnTo>
                      <a:pt x="334" y="1322"/>
                    </a:lnTo>
                    <a:lnTo>
                      <a:pt x="336" y="1315"/>
                    </a:lnTo>
                    <a:lnTo>
                      <a:pt x="347" y="1299"/>
                    </a:lnTo>
                    <a:lnTo>
                      <a:pt x="348" y="1297"/>
                    </a:lnTo>
                    <a:lnTo>
                      <a:pt x="349" y="1292"/>
                    </a:lnTo>
                    <a:lnTo>
                      <a:pt x="350" y="1289"/>
                    </a:lnTo>
                    <a:lnTo>
                      <a:pt x="349" y="1285"/>
                    </a:lnTo>
                    <a:lnTo>
                      <a:pt x="348" y="1282"/>
                    </a:lnTo>
                    <a:lnTo>
                      <a:pt x="346" y="1277"/>
                    </a:lnTo>
                    <a:lnTo>
                      <a:pt x="332" y="1262"/>
                    </a:lnTo>
                    <a:lnTo>
                      <a:pt x="322" y="1248"/>
                    </a:lnTo>
                    <a:lnTo>
                      <a:pt x="317" y="1239"/>
                    </a:lnTo>
                    <a:lnTo>
                      <a:pt x="307" y="1229"/>
                    </a:lnTo>
                    <a:lnTo>
                      <a:pt x="283" y="1207"/>
                    </a:lnTo>
                    <a:lnTo>
                      <a:pt x="239" y="1141"/>
                    </a:lnTo>
                    <a:lnTo>
                      <a:pt x="237" y="1138"/>
                    </a:lnTo>
                    <a:lnTo>
                      <a:pt x="237" y="1134"/>
                    </a:lnTo>
                    <a:lnTo>
                      <a:pt x="236" y="1130"/>
                    </a:lnTo>
                    <a:lnTo>
                      <a:pt x="237" y="1126"/>
                    </a:lnTo>
                    <a:lnTo>
                      <a:pt x="243" y="1101"/>
                    </a:lnTo>
                    <a:lnTo>
                      <a:pt x="245" y="1093"/>
                    </a:lnTo>
                    <a:lnTo>
                      <a:pt x="242" y="1063"/>
                    </a:lnTo>
                    <a:lnTo>
                      <a:pt x="243" y="1059"/>
                    </a:lnTo>
                    <a:lnTo>
                      <a:pt x="244" y="1055"/>
                    </a:lnTo>
                    <a:lnTo>
                      <a:pt x="246" y="1052"/>
                    </a:lnTo>
                    <a:lnTo>
                      <a:pt x="251" y="1045"/>
                    </a:lnTo>
                    <a:lnTo>
                      <a:pt x="253" y="1041"/>
                    </a:lnTo>
                    <a:lnTo>
                      <a:pt x="255" y="1038"/>
                    </a:lnTo>
                    <a:lnTo>
                      <a:pt x="256" y="1034"/>
                    </a:lnTo>
                    <a:lnTo>
                      <a:pt x="256" y="1031"/>
                    </a:lnTo>
                    <a:lnTo>
                      <a:pt x="256" y="1027"/>
                    </a:lnTo>
                    <a:lnTo>
                      <a:pt x="248" y="966"/>
                    </a:lnTo>
                    <a:lnTo>
                      <a:pt x="248" y="959"/>
                    </a:lnTo>
                    <a:lnTo>
                      <a:pt x="252" y="933"/>
                    </a:lnTo>
                    <a:lnTo>
                      <a:pt x="252" y="932"/>
                    </a:lnTo>
                    <a:lnTo>
                      <a:pt x="250" y="928"/>
                    </a:lnTo>
                    <a:lnTo>
                      <a:pt x="246" y="927"/>
                    </a:lnTo>
                    <a:lnTo>
                      <a:pt x="243" y="926"/>
                    </a:lnTo>
                    <a:lnTo>
                      <a:pt x="223" y="922"/>
                    </a:lnTo>
                    <a:lnTo>
                      <a:pt x="220" y="922"/>
                    </a:lnTo>
                    <a:lnTo>
                      <a:pt x="216" y="923"/>
                    </a:lnTo>
                    <a:lnTo>
                      <a:pt x="196" y="928"/>
                    </a:lnTo>
                    <a:lnTo>
                      <a:pt x="192" y="928"/>
                    </a:lnTo>
                    <a:lnTo>
                      <a:pt x="188" y="928"/>
                    </a:lnTo>
                    <a:lnTo>
                      <a:pt x="181" y="926"/>
                    </a:lnTo>
                    <a:lnTo>
                      <a:pt x="177" y="923"/>
                    </a:lnTo>
                    <a:lnTo>
                      <a:pt x="174" y="919"/>
                    </a:lnTo>
                    <a:lnTo>
                      <a:pt x="170" y="913"/>
                    </a:lnTo>
                    <a:lnTo>
                      <a:pt x="169" y="909"/>
                    </a:lnTo>
                    <a:lnTo>
                      <a:pt x="169" y="903"/>
                    </a:lnTo>
                    <a:lnTo>
                      <a:pt x="170" y="886"/>
                    </a:lnTo>
                    <a:lnTo>
                      <a:pt x="172" y="877"/>
                    </a:lnTo>
                    <a:lnTo>
                      <a:pt x="173" y="874"/>
                    </a:lnTo>
                    <a:lnTo>
                      <a:pt x="172" y="871"/>
                    </a:lnTo>
                    <a:lnTo>
                      <a:pt x="170" y="866"/>
                    </a:lnTo>
                    <a:lnTo>
                      <a:pt x="165" y="863"/>
                    </a:lnTo>
                    <a:lnTo>
                      <a:pt x="162" y="861"/>
                    </a:lnTo>
                    <a:lnTo>
                      <a:pt x="157" y="859"/>
                    </a:lnTo>
                    <a:lnTo>
                      <a:pt x="149" y="857"/>
                    </a:lnTo>
                    <a:lnTo>
                      <a:pt x="113" y="855"/>
                    </a:lnTo>
                    <a:lnTo>
                      <a:pt x="87" y="855"/>
                    </a:lnTo>
                    <a:lnTo>
                      <a:pt x="81" y="854"/>
                    </a:lnTo>
                    <a:lnTo>
                      <a:pt x="78" y="853"/>
                    </a:lnTo>
                    <a:lnTo>
                      <a:pt x="74" y="851"/>
                    </a:lnTo>
                    <a:lnTo>
                      <a:pt x="71" y="849"/>
                    </a:lnTo>
                    <a:lnTo>
                      <a:pt x="67" y="846"/>
                    </a:lnTo>
                    <a:lnTo>
                      <a:pt x="64" y="843"/>
                    </a:lnTo>
                    <a:lnTo>
                      <a:pt x="63" y="841"/>
                    </a:lnTo>
                    <a:lnTo>
                      <a:pt x="41" y="789"/>
                    </a:lnTo>
                    <a:lnTo>
                      <a:pt x="36" y="763"/>
                    </a:lnTo>
                    <a:lnTo>
                      <a:pt x="35" y="758"/>
                    </a:lnTo>
                    <a:lnTo>
                      <a:pt x="31" y="749"/>
                    </a:lnTo>
                    <a:lnTo>
                      <a:pt x="22" y="720"/>
                    </a:lnTo>
                    <a:lnTo>
                      <a:pt x="19" y="714"/>
                    </a:lnTo>
                    <a:lnTo>
                      <a:pt x="15" y="711"/>
                    </a:lnTo>
                    <a:lnTo>
                      <a:pt x="11" y="708"/>
                    </a:lnTo>
                    <a:lnTo>
                      <a:pt x="5" y="705"/>
                    </a:lnTo>
                    <a:lnTo>
                      <a:pt x="4" y="703"/>
                    </a:lnTo>
                    <a:lnTo>
                      <a:pt x="2" y="700"/>
                    </a:lnTo>
                    <a:lnTo>
                      <a:pt x="1" y="697"/>
                    </a:lnTo>
                    <a:lnTo>
                      <a:pt x="0" y="684"/>
                    </a:lnTo>
                    <a:lnTo>
                      <a:pt x="2" y="667"/>
                    </a:lnTo>
                    <a:lnTo>
                      <a:pt x="1" y="651"/>
                    </a:lnTo>
                    <a:lnTo>
                      <a:pt x="4" y="619"/>
                    </a:lnTo>
                    <a:lnTo>
                      <a:pt x="6" y="605"/>
                    </a:lnTo>
                    <a:lnTo>
                      <a:pt x="7" y="598"/>
                    </a:lnTo>
                    <a:lnTo>
                      <a:pt x="6" y="594"/>
                    </a:lnTo>
                    <a:lnTo>
                      <a:pt x="4" y="588"/>
                    </a:lnTo>
                    <a:lnTo>
                      <a:pt x="4" y="586"/>
                    </a:lnTo>
                    <a:lnTo>
                      <a:pt x="4" y="583"/>
                    </a:lnTo>
                    <a:lnTo>
                      <a:pt x="5" y="581"/>
                    </a:lnTo>
                    <a:lnTo>
                      <a:pt x="8" y="576"/>
                    </a:lnTo>
                    <a:lnTo>
                      <a:pt x="15" y="566"/>
                    </a:lnTo>
                    <a:lnTo>
                      <a:pt x="16" y="566"/>
                    </a:lnTo>
                    <a:lnTo>
                      <a:pt x="19" y="560"/>
                    </a:lnTo>
                    <a:lnTo>
                      <a:pt x="20" y="552"/>
                    </a:lnTo>
                    <a:lnTo>
                      <a:pt x="20" y="545"/>
                    </a:lnTo>
                    <a:lnTo>
                      <a:pt x="23" y="538"/>
                    </a:lnTo>
                    <a:lnTo>
                      <a:pt x="34" y="522"/>
                    </a:lnTo>
                    <a:lnTo>
                      <a:pt x="36" y="520"/>
                    </a:lnTo>
                    <a:lnTo>
                      <a:pt x="41" y="516"/>
                    </a:lnTo>
                    <a:lnTo>
                      <a:pt x="45" y="514"/>
                    </a:lnTo>
                    <a:lnTo>
                      <a:pt x="49" y="514"/>
                    </a:lnTo>
                    <a:lnTo>
                      <a:pt x="52" y="515"/>
                    </a:lnTo>
                    <a:lnTo>
                      <a:pt x="71" y="523"/>
                    </a:lnTo>
                    <a:lnTo>
                      <a:pt x="78" y="526"/>
                    </a:lnTo>
                    <a:lnTo>
                      <a:pt x="89" y="529"/>
                    </a:lnTo>
                    <a:lnTo>
                      <a:pt x="120" y="532"/>
                    </a:lnTo>
                    <a:lnTo>
                      <a:pt x="128" y="532"/>
                    </a:lnTo>
                    <a:lnTo>
                      <a:pt x="152" y="529"/>
                    </a:lnTo>
                    <a:lnTo>
                      <a:pt x="160" y="529"/>
                    </a:lnTo>
                    <a:lnTo>
                      <a:pt x="173" y="532"/>
                    </a:lnTo>
                    <a:lnTo>
                      <a:pt x="177" y="532"/>
                    </a:lnTo>
                    <a:lnTo>
                      <a:pt x="179" y="531"/>
                    </a:lnTo>
                    <a:lnTo>
                      <a:pt x="184" y="530"/>
                    </a:lnTo>
                    <a:lnTo>
                      <a:pt x="188" y="526"/>
                    </a:lnTo>
                    <a:lnTo>
                      <a:pt x="192" y="522"/>
                    </a:lnTo>
                    <a:lnTo>
                      <a:pt x="193" y="515"/>
                    </a:lnTo>
                    <a:lnTo>
                      <a:pt x="194" y="510"/>
                    </a:lnTo>
                    <a:lnTo>
                      <a:pt x="192" y="506"/>
                    </a:lnTo>
                    <a:lnTo>
                      <a:pt x="188" y="498"/>
                    </a:lnTo>
                    <a:lnTo>
                      <a:pt x="186" y="494"/>
                    </a:lnTo>
                    <a:lnTo>
                      <a:pt x="186" y="491"/>
                    </a:lnTo>
                    <a:lnTo>
                      <a:pt x="186" y="486"/>
                    </a:lnTo>
                    <a:lnTo>
                      <a:pt x="189" y="481"/>
                    </a:lnTo>
                    <a:lnTo>
                      <a:pt x="206" y="459"/>
                    </a:lnTo>
                    <a:lnTo>
                      <a:pt x="222" y="443"/>
                    </a:lnTo>
                    <a:lnTo>
                      <a:pt x="225" y="440"/>
                    </a:lnTo>
                    <a:lnTo>
                      <a:pt x="229" y="439"/>
                    </a:lnTo>
                    <a:lnTo>
                      <a:pt x="285" y="425"/>
                    </a:lnTo>
                    <a:lnTo>
                      <a:pt x="292" y="422"/>
                    </a:lnTo>
                    <a:lnTo>
                      <a:pt x="296" y="419"/>
                    </a:lnTo>
                    <a:lnTo>
                      <a:pt x="305" y="410"/>
                    </a:lnTo>
                    <a:lnTo>
                      <a:pt x="317" y="402"/>
                    </a:lnTo>
                    <a:lnTo>
                      <a:pt x="320" y="399"/>
                    </a:lnTo>
                    <a:lnTo>
                      <a:pt x="324" y="393"/>
                    </a:lnTo>
                    <a:lnTo>
                      <a:pt x="329" y="381"/>
                    </a:lnTo>
                    <a:lnTo>
                      <a:pt x="335" y="375"/>
                    </a:lnTo>
                    <a:lnTo>
                      <a:pt x="337" y="372"/>
                    </a:lnTo>
                    <a:lnTo>
                      <a:pt x="339" y="370"/>
                    </a:lnTo>
                    <a:lnTo>
                      <a:pt x="342" y="369"/>
                    </a:lnTo>
                    <a:lnTo>
                      <a:pt x="345" y="367"/>
                    </a:lnTo>
                    <a:lnTo>
                      <a:pt x="349" y="366"/>
                    </a:lnTo>
                    <a:lnTo>
                      <a:pt x="352" y="365"/>
                    </a:lnTo>
                    <a:lnTo>
                      <a:pt x="360" y="365"/>
                    </a:lnTo>
                    <a:lnTo>
                      <a:pt x="396" y="370"/>
                    </a:lnTo>
                    <a:lnTo>
                      <a:pt x="436" y="367"/>
                    </a:lnTo>
                    <a:lnTo>
                      <a:pt x="451" y="368"/>
                    </a:lnTo>
                    <a:lnTo>
                      <a:pt x="455" y="368"/>
                    </a:lnTo>
                    <a:lnTo>
                      <a:pt x="458" y="366"/>
                    </a:lnTo>
                    <a:lnTo>
                      <a:pt x="460" y="363"/>
                    </a:lnTo>
                    <a:lnTo>
                      <a:pt x="461" y="360"/>
                    </a:lnTo>
                    <a:lnTo>
                      <a:pt x="462" y="356"/>
                    </a:lnTo>
                    <a:lnTo>
                      <a:pt x="462" y="351"/>
                    </a:lnTo>
                    <a:lnTo>
                      <a:pt x="462" y="345"/>
                    </a:lnTo>
                    <a:lnTo>
                      <a:pt x="460" y="333"/>
                    </a:lnTo>
                    <a:lnTo>
                      <a:pt x="458" y="327"/>
                    </a:lnTo>
                    <a:lnTo>
                      <a:pt x="456" y="321"/>
                    </a:lnTo>
                    <a:lnTo>
                      <a:pt x="451" y="313"/>
                    </a:lnTo>
                    <a:lnTo>
                      <a:pt x="450" y="309"/>
                    </a:lnTo>
                    <a:lnTo>
                      <a:pt x="451" y="303"/>
                    </a:lnTo>
                    <a:lnTo>
                      <a:pt x="453" y="294"/>
                    </a:lnTo>
                    <a:lnTo>
                      <a:pt x="452" y="288"/>
                    </a:lnTo>
                    <a:lnTo>
                      <a:pt x="452" y="288"/>
                    </a:lnTo>
                    <a:lnTo>
                      <a:pt x="439" y="271"/>
                    </a:lnTo>
                    <a:lnTo>
                      <a:pt x="425" y="246"/>
                    </a:lnTo>
                    <a:lnTo>
                      <a:pt x="420" y="241"/>
                    </a:lnTo>
                    <a:lnTo>
                      <a:pt x="407" y="227"/>
                    </a:lnTo>
                    <a:lnTo>
                      <a:pt x="404" y="224"/>
                    </a:lnTo>
                    <a:lnTo>
                      <a:pt x="403" y="219"/>
                    </a:lnTo>
                    <a:lnTo>
                      <a:pt x="402" y="216"/>
                    </a:lnTo>
                    <a:lnTo>
                      <a:pt x="402" y="212"/>
                    </a:lnTo>
                    <a:lnTo>
                      <a:pt x="405" y="187"/>
                    </a:lnTo>
                    <a:lnTo>
                      <a:pt x="405" y="180"/>
                    </a:lnTo>
                    <a:lnTo>
                      <a:pt x="403" y="171"/>
                    </a:lnTo>
                    <a:lnTo>
                      <a:pt x="404" y="166"/>
                    </a:lnTo>
                    <a:lnTo>
                      <a:pt x="407" y="163"/>
                    </a:lnTo>
                    <a:lnTo>
                      <a:pt x="410" y="160"/>
                    </a:lnTo>
                    <a:lnTo>
                      <a:pt x="415" y="159"/>
                    </a:lnTo>
                    <a:lnTo>
                      <a:pt x="421" y="157"/>
                    </a:lnTo>
                    <a:lnTo>
                      <a:pt x="424" y="157"/>
                    </a:lnTo>
                    <a:lnTo>
                      <a:pt x="426" y="154"/>
                    </a:lnTo>
                    <a:lnTo>
                      <a:pt x="439" y="136"/>
                    </a:lnTo>
                    <a:lnTo>
                      <a:pt x="445" y="129"/>
                    </a:lnTo>
                    <a:lnTo>
                      <a:pt x="452" y="122"/>
                    </a:lnTo>
                    <a:lnTo>
                      <a:pt x="456" y="119"/>
                    </a:lnTo>
                    <a:lnTo>
                      <a:pt x="461" y="117"/>
                    </a:lnTo>
                    <a:lnTo>
                      <a:pt x="469" y="113"/>
                    </a:lnTo>
                    <a:lnTo>
                      <a:pt x="472" y="111"/>
                    </a:lnTo>
                    <a:lnTo>
                      <a:pt x="476" y="110"/>
                    </a:lnTo>
                    <a:lnTo>
                      <a:pt x="478" y="106"/>
                    </a:lnTo>
                    <a:lnTo>
                      <a:pt x="479" y="103"/>
                    </a:lnTo>
                    <a:lnTo>
                      <a:pt x="480" y="101"/>
                    </a:lnTo>
                    <a:lnTo>
                      <a:pt x="480" y="97"/>
                    </a:lnTo>
                    <a:lnTo>
                      <a:pt x="479" y="94"/>
                    </a:lnTo>
                    <a:lnTo>
                      <a:pt x="478" y="90"/>
                    </a:lnTo>
                    <a:lnTo>
                      <a:pt x="478" y="86"/>
                    </a:lnTo>
                    <a:lnTo>
                      <a:pt x="475" y="82"/>
                    </a:lnTo>
                    <a:lnTo>
                      <a:pt x="472" y="78"/>
                    </a:lnTo>
                    <a:lnTo>
                      <a:pt x="469" y="74"/>
                    </a:lnTo>
                    <a:lnTo>
                      <a:pt x="462" y="69"/>
                    </a:lnTo>
                    <a:lnTo>
                      <a:pt x="455" y="64"/>
                    </a:lnTo>
                    <a:lnTo>
                      <a:pt x="444" y="58"/>
                    </a:lnTo>
                    <a:lnTo>
                      <a:pt x="442" y="57"/>
                    </a:lnTo>
                    <a:lnTo>
                      <a:pt x="440" y="50"/>
                    </a:lnTo>
                    <a:lnTo>
                      <a:pt x="440" y="46"/>
                    </a:lnTo>
                    <a:lnTo>
                      <a:pt x="440" y="42"/>
                    </a:lnTo>
                    <a:lnTo>
                      <a:pt x="441" y="38"/>
                    </a:lnTo>
                    <a:lnTo>
                      <a:pt x="443" y="32"/>
                    </a:lnTo>
                    <a:lnTo>
                      <a:pt x="446" y="27"/>
                    </a:lnTo>
                    <a:lnTo>
                      <a:pt x="450" y="19"/>
                    </a:lnTo>
                    <a:lnTo>
                      <a:pt x="455" y="13"/>
                    </a:lnTo>
                    <a:lnTo>
                      <a:pt x="460" y="8"/>
                    </a:lnTo>
                    <a:lnTo>
                      <a:pt x="463" y="6"/>
                    </a:lnTo>
                    <a:lnTo>
                      <a:pt x="472" y="3"/>
                    </a:lnTo>
                    <a:lnTo>
                      <a:pt x="476" y="5"/>
                    </a:lnTo>
                    <a:lnTo>
                      <a:pt x="479" y="10"/>
                    </a:lnTo>
                    <a:lnTo>
                      <a:pt x="482" y="12"/>
                    </a:lnTo>
                    <a:lnTo>
                      <a:pt x="485" y="14"/>
                    </a:lnTo>
                    <a:lnTo>
                      <a:pt x="490" y="14"/>
                    </a:lnTo>
                    <a:lnTo>
                      <a:pt x="493" y="12"/>
                    </a:lnTo>
                    <a:lnTo>
                      <a:pt x="497" y="10"/>
                    </a:lnTo>
                    <a:lnTo>
                      <a:pt x="504" y="0"/>
                    </a:lnTo>
                    <a:lnTo>
                      <a:pt x="506" y="1"/>
                    </a:lnTo>
                    <a:lnTo>
                      <a:pt x="520" y="12"/>
                    </a:lnTo>
                    <a:lnTo>
                      <a:pt x="527" y="19"/>
                    </a:lnTo>
                    <a:lnTo>
                      <a:pt x="531" y="22"/>
                    </a:lnTo>
                    <a:lnTo>
                      <a:pt x="532" y="27"/>
                    </a:lnTo>
                    <a:lnTo>
                      <a:pt x="537" y="43"/>
                    </a:lnTo>
                    <a:lnTo>
                      <a:pt x="539" y="48"/>
                    </a:lnTo>
                    <a:lnTo>
                      <a:pt x="543" y="53"/>
                    </a:lnTo>
                    <a:lnTo>
                      <a:pt x="546" y="57"/>
                    </a:lnTo>
                    <a:lnTo>
                      <a:pt x="594" y="85"/>
                    </a:lnTo>
                    <a:lnTo>
                      <a:pt x="602" y="87"/>
                    </a:lnTo>
                    <a:lnTo>
                      <a:pt x="614" y="88"/>
                    </a:lnTo>
                    <a:lnTo>
                      <a:pt x="618" y="88"/>
                    </a:lnTo>
                    <a:lnTo>
                      <a:pt x="621" y="90"/>
                    </a:lnTo>
                    <a:lnTo>
                      <a:pt x="625" y="94"/>
                    </a:lnTo>
                    <a:lnTo>
                      <a:pt x="636" y="106"/>
                    </a:lnTo>
                    <a:lnTo>
                      <a:pt x="651" y="122"/>
                    </a:lnTo>
                    <a:lnTo>
                      <a:pt x="659" y="126"/>
                    </a:lnTo>
                    <a:lnTo>
                      <a:pt x="662" y="128"/>
                    </a:lnTo>
                    <a:lnTo>
                      <a:pt x="669" y="130"/>
                    </a:lnTo>
                    <a:lnTo>
                      <a:pt x="696" y="131"/>
                    </a:lnTo>
                    <a:lnTo>
                      <a:pt x="704" y="132"/>
                    </a:lnTo>
                    <a:lnTo>
                      <a:pt x="711" y="134"/>
                    </a:lnTo>
                    <a:lnTo>
                      <a:pt x="722" y="141"/>
                    </a:lnTo>
                    <a:lnTo>
                      <a:pt x="764" y="171"/>
                    </a:lnTo>
                    <a:lnTo>
                      <a:pt x="767" y="172"/>
                    </a:lnTo>
                    <a:lnTo>
                      <a:pt x="771" y="173"/>
                    </a:lnTo>
                    <a:lnTo>
                      <a:pt x="775" y="174"/>
                    </a:lnTo>
                    <a:lnTo>
                      <a:pt x="779" y="174"/>
                    </a:lnTo>
                    <a:lnTo>
                      <a:pt x="804" y="170"/>
                    </a:lnTo>
                    <a:lnTo>
                      <a:pt x="808" y="170"/>
                    </a:lnTo>
                    <a:lnTo>
                      <a:pt x="812" y="172"/>
                    </a:lnTo>
                    <a:lnTo>
                      <a:pt x="816" y="173"/>
                    </a:lnTo>
                    <a:lnTo>
                      <a:pt x="843" y="201"/>
                    </a:lnTo>
                    <a:lnTo>
                      <a:pt x="847" y="208"/>
                    </a:lnTo>
                    <a:lnTo>
                      <a:pt x="851" y="211"/>
                    </a:lnTo>
                    <a:lnTo>
                      <a:pt x="854" y="214"/>
                    </a:lnTo>
                    <a:lnTo>
                      <a:pt x="908" y="235"/>
                    </a:lnTo>
                    <a:lnTo>
                      <a:pt x="910" y="237"/>
                    </a:lnTo>
                    <a:lnTo>
                      <a:pt x="912" y="239"/>
                    </a:lnTo>
                    <a:lnTo>
                      <a:pt x="914" y="242"/>
                    </a:lnTo>
                    <a:lnTo>
                      <a:pt x="916" y="246"/>
                    </a:lnTo>
                    <a:lnTo>
                      <a:pt x="917" y="249"/>
                    </a:lnTo>
                    <a:lnTo>
                      <a:pt x="918" y="256"/>
                    </a:lnTo>
                    <a:lnTo>
                      <a:pt x="922" y="505"/>
                    </a:lnTo>
                    <a:lnTo>
                      <a:pt x="923" y="513"/>
                    </a:lnTo>
                    <a:lnTo>
                      <a:pt x="924" y="515"/>
                    </a:lnTo>
                    <a:lnTo>
                      <a:pt x="927" y="520"/>
                    </a:lnTo>
                    <a:lnTo>
                      <a:pt x="930" y="522"/>
                    </a:lnTo>
                    <a:lnTo>
                      <a:pt x="990" y="566"/>
                    </a:lnTo>
                    <a:lnTo>
                      <a:pt x="1031" y="608"/>
                    </a:lnTo>
                    <a:lnTo>
                      <a:pt x="1038" y="617"/>
                    </a:lnTo>
                    <a:lnTo>
                      <a:pt x="1045" y="629"/>
                    </a:lnTo>
                    <a:lnTo>
                      <a:pt x="1052" y="645"/>
                    </a:lnTo>
                    <a:lnTo>
                      <a:pt x="1057" y="658"/>
                    </a:lnTo>
                    <a:lnTo>
                      <a:pt x="1058" y="681"/>
                    </a:lnTo>
                    <a:lnTo>
                      <a:pt x="1058" y="721"/>
                    </a:lnTo>
                    <a:lnTo>
                      <a:pt x="1010" y="1113"/>
                    </a:lnTo>
                    <a:lnTo>
                      <a:pt x="965" y="1466"/>
                    </a:lnTo>
                    <a:lnTo>
                      <a:pt x="965" y="1466"/>
                    </a:lnTo>
                    <a:close/>
                  </a:path>
                </a:pathLst>
              </a:custGeom>
              <a:solidFill>
                <a:srgbClr val="5EAD8E"/>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274" name="Freeform 8">
                <a:extLst>
                  <a:ext uri="{FF2B5EF4-FFF2-40B4-BE49-F238E27FC236}"/>
                </a:extLst>
              </p:cNvPr>
              <p:cNvSpPr>
                <a:spLocks noEditPoints="1"/>
              </p:cNvSpPr>
              <p:nvPr/>
            </p:nvSpPr>
            <p:spPr bwMode="auto">
              <a:xfrm>
                <a:off x="4445947" y="2783127"/>
                <a:ext cx="2845441" cy="3483118"/>
              </a:xfrm>
              <a:custGeom>
                <a:avLst/>
                <a:gdLst>
                  <a:gd name="T0" fmla="*/ 774 w 1790"/>
                  <a:gd name="T1" fmla="*/ 342 h 2194"/>
                  <a:gd name="T2" fmla="*/ 764 w 1790"/>
                  <a:gd name="T3" fmla="*/ 335 h 2194"/>
                  <a:gd name="T4" fmla="*/ 774 w 1790"/>
                  <a:gd name="T5" fmla="*/ 333 h 2194"/>
                  <a:gd name="T6" fmla="*/ 536 w 1790"/>
                  <a:gd name="T7" fmla="*/ 906 h 2194"/>
                  <a:gd name="T8" fmla="*/ 417 w 1790"/>
                  <a:gd name="T9" fmla="*/ 537 h 2194"/>
                  <a:gd name="T10" fmla="*/ 284 w 1790"/>
                  <a:gd name="T11" fmla="*/ 472 h 2194"/>
                  <a:gd name="T12" fmla="*/ 164 w 1790"/>
                  <a:gd name="T13" fmla="*/ 424 h 2194"/>
                  <a:gd name="T14" fmla="*/ 44 w 1790"/>
                  <a:gd name="T15" fmla="*/ 346 h 2194"/>
                  <a:gd name="T16" fmla="*/ 0 w 1790"/>
                  <a:gd name="T17" fmla="*/ 281 h 2194"/>
                  <a:gd name="T18" fmla="*/ 145 w 1790"/>
                  <a:gd name="T19" fmla="*/ 50 h 2194"/>
                  <a:gd name="T20" fmla="*/ 438 w 1790"/>
                  <a:gd name="T21" fmla="*/ 67 h 2194"/>
                  <a:gd name="T22" fmla="*/ 589 w 1790"/>
                  <a:gd name="T23" fmla="*/ 111 h 2194"/>
                  <a:gd name="T24" fmla="*/ 597 w 1790"/>
                  <a:gd name="T25" fmla="*/ 135 h 2194"/>
                  <a:gd name="T26" fmla="*/ 617 w 1790"/>
                  <a:gd name="T27" fmla="*/ 171 h 2194"/>
                  <a:gd name="T28" fmla="*/ 632 w 1790"/>
                  <a:gd name="T29" fmla="*/ 205 h 2194"/>
                  <a:gd name="T30" fmla="*/ 637 w 1790"/>
                  <a:gd name="T31" fmla="*/ 214 h 2194"/>
                  <a:gd name="T32" fmla="*/ 659 w 1790"/>
                  <a:gd name="T33" fmla="*/ 249 h 2194"/>
                  <a:gd name="T34" fmla="*/ 655 w 1790"/>
                  <a:gd name="T35" fmla="*/ 249 h 2194"/>
                  <a:gd name="T36" fmla="*/ 644 w 1790"/>
                  <a:gd name="T37" fmla="*/ 257 h 2194"/>
                  <a:gd name="T38" fmla="*/ 653 w 1790"/>
                  <a:gd name="T39" fmla="*/ 267 h 2194"/>
                  <a:gd name="T40" fmla="*/ 659 w 1790"/>
                  <a:gd name="T41" fmla="*/ 274 h 2194"/>
                  <a:gd name="T42" fmla="*/ 660 w 1790"/>
                  <a:gd name="T43" fmla="*/ 282 h 2194"/>
                  <a:gd name="T44" fmla="*/ 664 w 1790"/>
                  <a:gd name="T45" fmla="*/ 286 h 2194"/>
                  <a:gd name="T46" fmla="*/ 692 w 1790"/>
                  <a:gd name="T47" fmla="*/ 296 h 2194"/>
                  <a:gd name="T48" fmla="*/ 717 w 1790"/>
                  <a:gd name="T49" fmla="*/ 295 h 2194"/>
                  <a:gd name="T50" fmla="*/ 729 w 1790"/>
                  <a:gd name="T51" fmla="*/ 313 h 2194"/>
                  <a:gd name="T52" fmla="*/ 701 w 1790"/>
                  <a:gd name="T53" fmla="*/ 316 h 2194"/>
                  <a:gd name="T54" fmla="*/ 724 w 1790"/>
                  <a:gd name="T55" fmla="*/ 320 h 2194"/>
                  <a:gd name="T56" fmla="*/ 725 w 1790"/>
                  <a:gd name="T57" fmla="*/ 332 h 2194"/>
                  <a:gd name="T58" fmla="*/ 736 w 1790"/>
                  <a:gd name="T59" fmla="*/ 363 h 2194"/>
                  <a:gd name="T60" fmla="*/ 748 w 1790"/>
                  <a:gd name="T61" fmla="*/ 364 h 2194"/>
                  <a:gd name="T62" fmla="*/ 752 w 1790"/>
                  <a:gd name="T63" fmla="*/ 367 h 2194"/>
                  <a:gd name="T64" fmla="*/ 765 w 1790"/>
                  <a:gd name="T65" fmla="*/ 363 h 2194"/>
                  <a:gd name="T66" fmla="*/ 776 w 1790"/>
                  <a:gd name="T67" fmla="*/ 380 h 2194"/>
                  <a:gd name="T68" fmla="*/ 826 w 1790"/>
                  <a:gd name="T69" fmla="*/ 424 h 2194"/>
                  <a:gd name="T70" fmla="*/ 867 w 1790"/>
                  <a:gd name="T71" fmla="*/ 460 h 2194"/>
                  <a:gd name="T72" fmla="*/ 846 w 1790"/>
                  <a:gd name="T73" fmla="*/ 462 h 2194"/>
                  <a:gd name="T74" fmla="*/ 882 w 1790"/>
                  <a:gd name="T75" fmla="*/ 517 h 2194"/>
                  <a:gd name="T76" fmla="*/ 874 w 1790"/>
                  <a:gd name="T77" fmla="*/ 567 h 2194"/>
                  <a:gd name="T78" fmla="*/ 860 w 1790"/>
                  <a:gd name="T79" fmla="*/ 561 h 2194"/>
                  <a:gd name="T80" fmla="*/ 846 w 1790"/>
                  <a:gd name="T81" fmla="*/ 565 h 2194"/>
                  <a:gd name="T82" fmla="*/ 849 w 1790"/>
                  <a:gd name="T83" fmla="*/ 586 h 2194"/>
                  <a:gd name="T84" fmla="*/ 864 w 1790"/>
                  <a:gd name="T85" fmla="*/ 588 h 2194"/>
                  <a:gd name="T86" fmla="*/ 890 w 1790"/>
                  <a:gd name="T87" fmla="*/ 654 h 2194"/>
                  <a:gd name="T88" fmla="*/ 872 w 1790"/>
                  <a:gd name="T89" fmla="*/ 642 h 2194"/>
                  <a:gd name="T90" fmla="*/ 909 w 1790"/>
                  <a:gd name="T91" fmla="*/ 677 h 2194"/>
                  <a:gd name="T92" fmla="*/ 931 w 1790"/>
                  <a:gd name="T93" fmla="*/ 703 h 2194"/>
                  <a:gd name="T94" fmla="*/ 939 w 1790"/>
                  <a:gd name="T95" fmla="*/ 742 h 2194"/>
                  <a:gd name="T96" fmla="*/ 966 w 1790"/>
                  <a:gd name="T97" fmla="*/ 790 h 2194"/>
                  <a:gd name="T98" fmla="*/ 1003 w 1790"/>
                  <a:gd name="T99" fmla="*/ 848 h 2194"/>
                  <a:gd name="T100" fmla="*/ 1066 w 1790"/>
                  <a:gd name="T101" fmla="*/ 843 h 2194"/>
                  <a:gd name="T102" fmla="*/ 1075 w 1790"/>
                  <a:gd name="T103" fmla="*/ 850 h 2194"/>
                  <a:gd name="T104" fmla="*/ 1096 w 1790"/>
                  <a:gd name="T105" fmla="*/ 847 h 2194"/>
                  <a:gd name="T106" fmla="*/ 1081 w 1790"/>
                  <a:gd name="T107" fmla="*/ 866 h 2194"/>
                  <a:gd name="T108" fmla="*/ 1061 w 1790"/>
                  <a:gd name="T109" fmla="*/ 894 h 2194"/>
                  <a:gd name="T110" fmla="*/ 1097 w 1790"/>
                  <a:gd name="T111" fmla="*/ 901 h 2194"/>
                  <a:gd name="T112" fmla="*/ 1219 w 1790"/>
                  <a:gd name="T113" fmla="*/ 1079 h 2194"/>
                  <a:gd name="T114" fmla="*/ 1655 w 1790"/>
                  <a:gd name="T115" fmla="*/ 1201 h 2194"/>
                  <a:gd name="T116" fmla="*/ 1760 w 1790"/>
                  <a:gd name="T117" fmla="*/ 1421 h 2194"/>
                  <a:gd name="T118" fmla="*/ 1398 w 1790"/>
                  <a:gd name="T119" fmla="*/ 1781 h 2194"/>
                  <a:gd name="T120" fmla="*/ 884 w 1790"/>
                  <a:gd name="T121" fmla="*/ 1901 h 2194"/>
                  <a:gd name="T122" fmla="*/ 486 w 1790"/>
                  <a:gd name="T123" fmla="*/ 2077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0" h="2194">
                    <a:moveTo>
                      <a:pt x="774" y="333"/>
                    </a:moveTo>
                    <a:lnTo>
                      <a:pt x="778" y="333"/>
                    </a:lnTo>
                    <a:lnTo>
                      <a:pt x="796" y="339"/>
                    </a:lnTo>
                    <a:lnTo>
                      <a:pt x="792" y="340"/>
                    </a:lnTo>
                    <a:lnTo>
                      <a:pt x="789" y="339"/>
                    </a:lnTo>
                    <a:lnTo>
                      <a:pt x="788" y="338"/>
                    </a:lnTo>
                    <a:lnTo>
                      <a:pt x="784" y="337"/>
                    </a:lnTo>
                    <a:lnTo>
                      <a:pt x="781" y="338"/>
                    </a:lnTo>
                    <a:lnTo>
                      <a:pt x="779" y="339"/>
                    </a:lnTo>
                    <a:lnTo>
                      <a:pt x="777" y="341"/>
                    </a:lnTo>
                    <a:lnTo>
                      <a:pt x="774" y="342"/>
                    </a:lnTo>
                    <a:lnTo>
                      <a:pt x="773" y="341"/>
                    </a:lnTo>
                    <a:lnTo>
                      <a:pt x="773" y="341"/>
                    </a:lnTo>
                    <a:lnTo>
                      <a:pt x="770" y="340"/>
                    </a:lnTo>
                    <a:lnTo>
                      <a:pt x="770" y="339"/>
                    </a:lnTo>
                    <a:lnTo>
                      <a:pt x="773" y="338"/>
                    </a:lnTo>
                    <a:lnTo>
                      <a:pt x="773" y="337"/>
                    </a:lnTo>
                    <a:lnTo>
                      <a:pt x="772" y="335"/>
                    </a:lnTo>
                    <a:lnTo>
                      <a:pt x="771" y="334"/>
                    </a:lnTo>
                    <a:lnTo>
                      <a:pt x="769" y="333"/>
                    </a:lnTo>
                    <a:lnTo>
                      <a:pt x="767" y="333"/>
                    </a:lnTo>
                    <a:lnTo>
                      <a:pt x="764" y="335"/>
                    </a:lnTo>
                    <a:lnTo>
                      <a:pt x="761" y="335"/>
                    </a:lnTo>
                    <a:lnTo>
                      <a:pt x="759" y="338"/>
                    </a:lnTo>
                    <a:lnTo>
                      <a:pt x="758" y="341"/>
                    </a:lnTo>
                    <a:lnTo>
                      <a:pt x="756" y="344"/>
                    </a:lnTo>
                    <a:lnTo>
                      <a:pt x="756" y="339"/>
                    </a:lnTo>
                    <a:lnTo>
                      <a:pt x="759" y="334"/>
                    </a:lnTo>
                    <a:lnTo>
                      <a:pt x="764" y="331"/>
                    </a:lnTo>
                    <a:lnTo>
                      <a:pt x="769" y="330"/>
                    </a:lnTo>
                    <a:lnTo>
                      <a:pt x="771" y="330"/>
                    </a:lnTo>
                    <a:lnTo>
                      <a:pt x="772" y="331"/>
                    </a:lnTo>
                    <a:lnTo>
                      <a:pt x="774" y="333"/>
                    </a:lnTo>
                    <a:lnTo>
                      <a:pt x="774" y="333"/>
                    </a:lnTo>
                    <a:close/>
                    <a:moveTo>
                      <a:pt x="417" y="2194"/>
                    </a:moveTo>
                    <a:lnTo>
                      <a:pt x="470" y="1764"/>
                    </a:lnTo>
                    <a:lnTo>
                      <a:pt x="515" y="1411"/>
                    </a:lnTo>
                    <a:lnTo>
                      <a:pt x="563" y="1019"/>
                    </a:lnTo>
                    <a:lnTo>
                      <a:pt x="563" y="979"/>
                    </a:lnTo>
                    <a:lnTo>
                      <a:pt x="562" y="956"/>
                    </a:lnTo>
                    <a:lnTo>
                      <a:pt x="557" y="943"/>
                    </a:lnTo>
                    <a:lnTo>
                      <a:pt x="550" y="927"/>
                    </a:lnTo>
                    <a:lnTo>
                      <a:pt x="543" y="915"/>
                    </a:lnTo>
                    <a:lnTo>
                      <a:pt x="536" y="906"/>
                    </a:lnTo>
                    <a:lnTo>
                      <a:pt x="495" y="864"/>
                    </a:lnTo>
                    <a:lnTo>
                      <a:pt x="435" y="820"/>
                    </a:lnTo>
                    <a:lnTo>
                      <a:pt x="432" y="818"/>
                    </a:lnTo>
                    <a:lnTo>
                      <a:pt x="429" y="813"/>
                    </a:lnTo>
                    <a:lnTo>
                      <a:pt x="428" y="811"/>
                    </a:lnTo>
                    <a:lnTo>
                      <a:pt x="427" y="803"/>
                    </a:lnTo>
                    <a:lnTo>
                      <a:pt x="423" y="554"/>
                    </a:lnTo>
                    <a:lnTo>
                      <a:pt x="422" y="547"/>
                    </a:lnTo>
                    <a:lnTo>
                      <a:pt x="421" y="544"/>
                    </a:lnTo>
                    <a:lnTo>
                      <a:pt x="419" y="540"/>
                    </a:lnTo>
                    <a:lnTo>
                      <a:pt x="417" y="537"/>
                    </a:lnTo>
                    <a:lnTo>
                      <a:pt x="415" y="535"/>
                    </a:lnTo>
                    <a:lnTo>
                      <a:pt x="413" y="533"/>
                    </a:lnTo>
                    <a:lnTo>
                      <a:pt x="359" y="512"/>
                    </a:lnTo>
                    <a:lnTo>
                      <a:pt x="356" y="509"/>
                    </a:lnTo>
                    <a:lnTo>
                      <a:pt x="352" y="506"/>
                    </a:lnTo>
                    <a:lnTo>
                      <a:pt x="348" y="499"/>
                    </a:lnTo>
                    <a:lnTo>
                      <a:pt x="321" y="471"/>
                    </a:lnTo>
                    <a:lnTo>
                      <a:pt x="317" y="470"/>
                    </a:lnTo>
                    <a:lnTo>
                      <a:pt x="313" y="468"/>
                    </a:lnTo>
                    <a:lnTo>
                      <a:pt x="309" y="468"/>
                    </a:lnTo>
                    <a:lnTo>
                      <a:pt x="284" y="472"/>
                    </a:lnTo>
                    <a:lnTo>
                      <a:pt x="280" y="472"/>
                    </a:lnTo>
                    <a:lnTo>
                      <a:pt x="276" y="471"/>
                    </a:lnTo>
                    <a:lnTo>
                      <a:pt x="272" y="470"/>
                    </a:lnTo>
                    <a:lnTo>
                      <a:pt x="269" y="469"/>
                    </a:lnTo>
                    <a:lnTo>
                      <a:pt x="227" y="439"/>
                    </a:lnTo>
                    <a:lnTo>
                      <a:pt x="216" y="432"/>
                    </a:lnTo>
                    <a:lnTo>
                      <a:pt x="209" y="430"/>
                    </a:lnTo>
                    <a:lnTo>
                      <a:pt x="201" y="429"/>
                    </a:lnTo>
                    <a:lnTo>
                      <a:pt x="174" y="428"/>
                    </a:lnTo>
                    <a:lnTo>
                      <a:pt x="167" y="426"/>
                    </a:lnTo>
                    <a:lnTo>
                      <a:pt x="164" y="424"/>
                    </a:lnTo>
                    <a:lnTo>
                      <a:pt x="156" y="420"/>
                    </a:lnTo>
                    <a:lnTo>
                      <a:pt x="141" y="404"/>
                    </a:lnTo>
                    <a:lnTo>
                      <a:pt x="130" y="392"/>
                    </a:lnTo>
                    <a:lnTo>
                      <a:pt x="126" y="388"/>
                    </a:lnTo>
                    <a:lnTo>
                      <a:pt x="123" y="386"/>
                    </a:lnTo>
                    <a:lnTo>
                      <a:pt x="119" y="386"/>
                    </a:lnTo>
                    <a:lnTo>
                      <a:pt x="107" y="385"/>
                    </a:lnTo>
                    <a:lnTo>
                      <a:pt x="99" y="383"/>
                    </a:lnTo>
                    <a:lnTo>
                      <a:pt x="51" y="355"/>
                    </a:lnTo>
                    <a:lnTo>
                      <a:pt x="48" y="351"/>
                    </a:lnTo>
                    <a:lnTo>
                      <a:pt x="44" y="346"/>
                    </a:lnTo>
                    <a:lnTo>
                      <a:pt x="42" y="341"/>
                    </a:lnTo>
                    <a:lnTo>
                      <a:pt x="37" y="325"/>
                    </a:lnTo>
                    <a:lnTo>
                      <a:pt x="36" y="320"/>
                    </a:lnTo>
                    <a:lnTo>
                      <a:pt x="32" y="317"/>
                    </a:lnTo>
                    <a:lnTo>
                      <a:pt x="25" y="310"/>
                    </a:lnTo>
                    <a:lnTo>
                      <a:pt x="11" y="299"/>
                    </a:lnTo>
                    <a:lnTo>
                      <a:pt x="9" y="298"/>
                    </a:lnTo>
                    <a:lnTo>
                      <a:pt x="7" y="295"/>
                    </a:lnTo>
                    <a:lnTo>
                      <a:pt x="3" y="289"/>
                    </a:lnTo>
                    <a:lnTo>
                      <a:pt x="1" y="286"/>
                    </a:lnTo>
                    <a:lnTo>
                      <a:pt x="0" y="281"/>
                    </a:lnTo>
                    <a:lnTo>
                      <a:pt x="0" y="279"/>
                    </a:lnTo>
                    <a:lnTo>
                      <a:pt x="1" y="275"/>
                    </a:lnTo>
                    <a:lnTo>
                      <a:pt x="2" y="270"/>
                    </a:lnTo>
                    <a:lnTo>
                      <a:pt x="6" y="259"/>
                    </a:lnTo>
                    <a:lnTo>
                      <a:pt x="10" y="252"/>
                    </a:lnTo>
                    <a:lnTo>
                      <a:pt x="38" y="219"/>
                    </a:lnTo>
                    <a:lnTo>
                      <a:pt x="46" y="206"/>
                    </a:lnTo>
                    <a:lnTo>
                      <a:pt x="105" y="95"/>
                    </a:lnTo>
                    <a:lnTo>
                      <a:pt x="115" y="80"/>
                    </a:lnTo>
                    <a:lnTo>
                      <a:pt x="128" y="65"/>
                    </a:lnTo>
                    <a:lnTo>
                      <a:pt x="145" y="50"/>
                    </a:lnTo>
                    <a:lnTo>
                      <a:pt x="168" y="36"/>
                    </a:lnTo>
                    <a:lnTo>
                      <a:pt x="247" y="6"/>
                    </a:lnTo>
                    <a:lnTo>
                      <a:pt x="249" y="4"/>
                    </a:lnTo>
                    <a:lnTo>
                      <a:pt x="267" y="0"/>
                    </a:lnTo>
                    <a:lnTo>
                      <a:pt x="305" y="5"/>
                    </a:lnTo>
                    <a:lnTo>
                      <a:pt x="342" y="10"/>
                    </a:lnTo>
                    <a:lnTo>
                      <a:pt x="409" y="19"/>
                    </a:lnTo>
                    <a:lnTo>
                      <a:pt x="418" y="20"/>
                    </a:lnTo>
                    <a:lnTo>
                      <a:pt x="428" y="37"/>
                    </a:lnTo>
                    <a:lnTo>
                      <a:pt x="437" y="63"/>
                    </a:lnTo>
                    <a:lnTo>
                      <a:pt x="438" y="67"/>
                    </a:lnTo>
                    <a:lnTo>
                      <a:pt x="439" y="78"/>
                    </a:lnTo>
                    <a:lnTo>
                      <a:pt x="441" y="83"/>
                    </a:lnTo>
                    <a:lnTo>
                      <a:pt x="442" y="89"/>
                    </a:lnTo>
                    <a:lnTo>
                      <a:pt x="445" y="93"/>
                    </a:lnTo>
                    <a:lnTo>
                      <a:pt x="449" y="97"/>
                    </a:lnTo>
                    <a:lnTo>
                      <a:pt x="452" y="100"/>
                    </a:lnTo>
                    <a:lnTo>
                      <a:pt x="456" y="103"/>
                    </a:lnTo>
                    <a:lnTo>
                      <a:pt x="457" y="108"/>
                    </a:lnTo>
                    <a:lnTo>
                      <a:pt x="525" y="107"/>
                    </a:lnTo>
                    <a:lnTo>
                      <a:pt x="585" y="106"/>
                    </a:lnTo>
                    <a:lnTo>
                      <a:pt x="589" y="111"/>
                    </a:lnTo>
                    <a:lnTo>
                      <a:pt x="592" y="112"/>
                    </a:lnTo>
                    <a:lnTo>
                      <a:pt x="595" y="114"/>
                    </a:lnTo>
                    <a:lnTo>
                      <a:pt x="596" y="116"/>
                    </a:lnTo>
                    <a:lnTo>
                      <a:pt x="598" y="124"/>
                    </a:lnTo>
                    <a:lnTo>
                      <a:pt x="598" y="130"/>
                    </a:lnTo>
                    <a:lnTo>
                      <a:pt x="596" y="135"/>
                    </a:lnTo>
                    <a:lnTo>
                      <a:pt x="593" y="134"/>
                    </a:lnTo>
                    <a:lnTo>
                      <a:pt x="592" y="135"/>
                    </a:lnTo>
                    <a:lnTo>
                      <a:pt x="592" y="135"/>
                    </a:lnTo>
                    <a:lnTo>
                      <a:pt x="594" y="136"/>
                    </a:lnTo>
                    <a:lnTo>
                      <a:pt x="597" y="135"/>
                    </a:lnTo>
                    <a:lnTo>
                      <a:pt x="600" y="134"/>
                    </a:lnTo>
                    <a:lnTo>
                      <a:pt x="600" y="130"/>
                    </a:lnTo>
                    <a:lnTo>
                      <a:pt x="602" y="132"/>
                    </a:lnTo>
                    <a:lnTo>
                      <a:pt x="602" y="134"/>
                    </a:lnTo>
                    <a:lnTo>
                      <a:pt x="600" y="137"/>
                    </a:lnTo>
                    <a:lnTo>
                      <a:pt x="600" y="142"/>
                    </a:lnTo>
                    <a:lnTo>
                      <a:pt x="599" y="144"/>
                    </a:lnTo>
                    <a:lnTo>
                      <a:pt x="600" y="149"/>
                    </a:lnTo>
                    <a:lnTo>
                      <a:pt x="602" y="153"/>
                    </a:lnTo>
                    <a:lnTo>
                      <a:pt x="616" y="168"/>
                    </a:lnTo>
                    <a:lnTo>
                      <a:pt x="617" y="171"/>
                    </a:lnTo>
                    <a:lnTo>
                      <a:pt x="615" y="174"/>
                    </a:lnTo>
                    <a:lnTo>
                      <a:pt x="614" y="178"/>
                    </a:lnTo>
                    <a:lnTo>
                      <a:pt x="613" y="181"/>
                    </a:lnTo>
                    <a:lnTo>
                      <a:pt x="615" y="185"/>
                    </a:lnTo>
                    <a:lnTo>
                      <a:pt x="616" y="188"/>
                    </a:lnTo>
                    <a:lnTo>
                      <a:pt x="622" y="196"/>
                    </a:lnTo>
                    <a:lnTo>
                      <a:pt x="623" y="197"/>
                    </a:lnTo>
                    <a:lnTo>
                      <a:pt x="622" y="201"/>
                    </a:lnTo>
                    <a:lnTo>
                      <a:pt x="624" y="203"/>
                    </a:lnTo>
                    <a:lnTo>
                      <a:pt x="630" y="205"/>
                    </a:lnTo>
                    <a:lnTo>
                      <a:pt x="632" y="205"/>
                    </a:lnTo>
                    <a:lnTo>
                      <a:pt x="638" y="205"/>
                    </a:lnTo>
                    <a:lnTo>
                      <a:pt x="639" y="205"/>
                    </a:lnTo>
                    <a:lnTo>
                      <a:pt x="643" y="207"/>
                    </a:lnTo>
                    <a:lnTo>
                      <a:pt x="645" y="208"/>
                    </a:lnTo>
                    <a:lnTo>
                      <a:pt x="645" y="208"/>
                    </a:lnTo>
                    <a:lnTo>
                      <a:pt x="645" y="210"/>
                    </a:lnTo>
                    <a:lnTo>
                      <a:pt x="644" y="211"/>
                    </a:lnTo>
                    <a:lnTo>
                      <a:pt x="643" y="212"/>
                    </a:lnTo>
                    <a:lnTo>
                      <a:pt x="640" y="211"/>
                    </a:lnTo>
                    <a:lnTo>
                      <a:pt x="638" y="213"/>
                    </a:lnTo>
                    <a:lnTo>
                      <a:pt x="637" y="214"/>
                    </a:lnTo>
                    <a:lnTo>
                      <a:pt x="638" y="217"/>
                    </a:lnTo>
                    <a:lnTo>
                      <a:pt x="638" y="219"/>
                    </a:lnTo>
                    <a:lnTo>
                      <a:pt x="642" y="223"/>
                    </a:lnTo>
                    <a:lnTo>
                      <a:pt x="646" y="226"/>
                    </a:lnTo>
                    <a:lnTo>
                      <a:pt x="649" y="227"/>
                    </a:lnTo>
                    <a:lnTo>
                      <a:pt x="649" y="228"/>
                    </a:lnTo>
                    <a:lnTo>
                      <a:pt x="653" y="234"/>
                    </a:lnTo>
                    <a:lnTo>
                      <a:pt x="660" y="241"/>
                    </a:lnTo>
                    <a:lnTo>
                      <a:pt x="660" y="242"/>
                    </a:lnTo>
                    <a:lnTo>
                      <a:pt x="659" y="246"/>
                    </a:lnTo>
                    <a:lnTo>
                      <a:pt x="659" y="249"/>
                    </a:lnTo>
                    <a:lnTo>
                      <a:pt x="659" y="250"/>
                    </a:lnTo>
                    <a:lnTo>
                      <a:pt x="660" y="252"/>
                    </a:lnTo>
                    <a:lnTo>
                      <a:pt x="659" y="253"/>
                    </a:lnTo>
                    <a:lnTo>
                      <a:pt x="658" y="256"/>
                    </a:lnTo>
                    <a:lnTo>
                      <a:pt x="655" y="259"/>
                    </a:lnTo>
                    <a:lnTo>
                      <a:pt x="653" y="261"/>
                    </a:lnTo>
                    <a:lnTo>
                      <a:pt x="654" y="259"/>
                    </a:lnTo>
                    <a:lnTo>
                      <a:pt x="654" y="257"/>
                    </a:lnTo>
                    <a:lnTo>
                      <a:pt x="654" y="252"/>
                    </a:lnTo>
                    <a:lnTo>
                      <a:pt x="654" y="250"/>
                    </a:lnTo>
                    <a:lnTo>
                      <a:pt x="655" y="249"/>
                    </a:lnTo>
                    <a:lnTo>
                      <a:pt x="656" y="247"/>
                    </a:lnTo>
                    <a:lnTo>
                      <a:pt x="655" y="244"/>
                    </a:lnTo>
                    <a:lnTo>
                      <a:pt x="653" y="247"/>
                    </a:lnTo>
                    <a:lnTo>
                      <a:pt x="650" y="254"/>
                    </a:lnTo>
                    <a:lnTo>
                      <a:pt x="647" y="256"/>
                    </a:lnTo>
                    <a:lnTo>
                      <a:pt x="651" y="248"/>
                    </a:lnTo>
                    <a:lnTo>
                      <a:pt x="651" y="245"/>
                    </a:lnTo>
                    <a:lnTo>
                      <a:pt x="650" y="242"/>
                    </a:lnTo>
                    <a:lnTo>
                      <a:pt x="648" y="242"/>
                    </a:lnTo>
                    <a:lnTo>
                      <a:pt x="647" y="245"/>
                    </a:lnTo>
                    <a:lnTo>
                      <a:pt x="644" y="257"/>
                    </a:lnTo>
                    <a:lnTo>
                      <a:pt x="644" y="261"/>
                    </a:lnTo>
                    <a:lnTo>
                      <a:pt x="643" y="263"/>
                    </a:lnTo>
                    <a:lnTo>
                      <a:pt x="643" y="264"/>
                    </a:lnTo>
                    <a:lnTo>
                      <a:pt x="645" y="264"/>
                    </a:lnTo>
                    <a:lnTo>
                      <a:pt x="646" y="263"/>
                    </a:lnTo>
                    <a:lnTo>
                      <a:pt x="647" y="259"/>
                    </a:lnTo>
                    <a:lnTo>
                      <a:pt x="648" y="258"/>
                    </a:lnTo>
                    <a:lnTo>
                      <a:pt x="648" y="266"/>
                    </a:lnTo>
                    <a:lnTo>
                      <a:pt x="649" y="269"/>
                    </a:lnTo>
                    <a:lnTo>
                      <a:pt x="651" y="268"/>
                    </a:lnTo>
                    <a:lnTo>
                      <a:pt x="653" y="267"/>
                    </a:lnTo>
                    <a:lnTo>
                      <a:pt x="653" y="264"/>
                    </a:lnTo>
                    <a:lnTo>
                      <a:pt x="654" y="267"/>
                    </a:lnTo>
                    <a:lnTo>
                      <a:pt x="654" y="270"/>
                    </a:lnTo>
                    <a:lnTo>
                      <a:pt x="654" y="272"/>
                    </a:lnTo>
                    <a:lnTo>
                      <a:pt x="656" y="273"/>
                    </a:lnTo>
                    <a:lnTo>
                      <a:pt x="658" y="272"/>
                    </a:lnTo>
                    <a:lnTo>
                      <a:pt x="659" y="271"/>
                    </a:lnTo>
                    <a:lnTo>
                      <a:pt x="660" y="269"/>
                    </a:lnTo>
                    <a:lnTo>
                      <a:pt x="660" y="272"/>
                    </a:lnTo>
                    <a:lnTo>
                      <a:pt x="660" y="273"/>
                    </a:lnTo>
                    <a:lnTo>
                      <a:pt x="659" y="274"/>
                    </a:lnTo>
                    <a:lnTo>
                      <a:pt x="660" y="276"/>
                    </a:lnTo>
                    <a:lnTo>
                      <a:pt x="660" y="277"/>
                    </a:lnTo>
                    <a:lnTo>
                      <a:pt x="659" y="278"/>
                    </a:lnTo>
                    <a:lnTo>
                      <a:pt x="657" y="278"/>
                    </a:lnTo>
                    <a:lnTo>
                      <a:pt x="659" y="283"/>
                    </a:lnTo>
                    <a:lnTo>
                      <a:pt x="655" y="280"/>
                    </a:lnTo>
                    <a:lnTo>
                      <a:pt x="653" y="281"/>
                    </a:lnTo>
                    <a:lnTo>
                      <a:pt x="652" y="283"/>
                    </a:lnTo>
                    <a:lnTo>
                      <a:pt x="655" y="284"/>
                    </a:lnTo>
                    <a:lnTo>
                      <a:pt x="659" y="284"/>
                    </a:lnTo>
                    <a:lnTo>
                      <a:pt x="660" y="282"/>
                    </a:lnTo>
                    <a:lnTo>
                      <a:pt x="662" y="279"/>
                    </a:lnTo>
                    <a:lnTo>
                      <a:pt x="663" y="279"/>
                    </a:lnTo>
                    <a:lnTo>
                      <a:pt x="664" y="282"/>
                    </a:lnTo>
                    <a:lnTo>
                      <a:pt x="662" y="284"/>
                    </a:lnTo>
                    <a:lnTo>
                      <a:pt x="662" y="287"/>
                    </a:lnTo>
                    <a:lnTo>
                      <a:pt x="662" y="291"/>
                    </a:lnTo>
                    <a:lnTo>
                      <a:pt x="666" y="291"/>
                    </a:lnTo>
                    <a:lnTo>
                      <a:pt x="667" y="289"/>
                    </a:lnTo>
                    <a:lnTo>
                      <a:pt x="666" y="288"/>
                    </a:lnTo>
                    <a:lnTo>
                      <a:pt x="665" y="287"/>
                    </a:lnTo>
                    <a:lnTo>
                      <a:pt x="664" y="286"/>
                    </a:lnTo>
                    <a:lnTo>
                      <a:pt x="666" y="284"/>
                    </a:lnTo>
                    <a:lnTo>
                      <a:pt x="668" y="283"/>
                    </a:lnTo>
                    <a:lnTo>
                      <a:pt x="671" y="282"/>
                    </a:lnTo>
                    <a:lnTo>
                      <a:pt x="675" y="281"/>
                    </a:lnTo>
                    <a:lnTo>
                      <a:pt x="677" y="282"/>
                    </a:lnTo>
                    <a:lnTo>
                      <a:pt x="683" y="288"/>
                    </a:lnTo>
                    <a:lnTo>
                      <a:pt x="689" y="291"/>
                    </a:lnTo>
                    <a:lnTo>
                      <a:pt x="690" y="294"/>
                    </a:lnTo>
                    <a:lnTo>
                      <a:pt x="687" y="296"/>
                    </a:lnTo>
                    <a:lnTo>
                      <a:pt x="690" y="297"/>
                    </a:lnTo>
                    <a:lnTo>
                      <a:pt x="692" y="296"/>
                    </a:lnTo>
                    <a:lnTo>
                      <a:pt x="693" y="295"/>
                    </a:lnTo>
                    <a:lnTo>
                      <a:pt x="692" y="293"/>
                    </a:lnTo>
                    <a:lnTo>
                      <a:pt x="695" y="295"/>
                    </a:lnTo>
                    <a:lnTo>
                      <a:pt x="698" y="295"/>
                    </a:lnTo>
                    <a:lnTo>
                      <a:pt x="705" y="296"/>
                    </a:lnTo>
                    <a:lnTo>
                      <a:pt x="706" y="295"/>
                    </a:lnTo>
                    <a:lnTo>
                      <a:pt x="708" y="294"/>
                    </a:lnTo>
                    <a:lnTo>
                      <a:pt x="710" y="293"/>
                    </a:lnTo>
                    <a:lnTo>
                      <a:pt x="712" y="294"/>
                    </a:lnTo>
                    <a:lnTo>
                      <a:pt x="715" y="295"/>
                    </a:lnTo>
                    <a:lnTo>
                      <a:pt x="717" y="295"/>
                    </a:lnTo>
                    <a:lnTo>
                      <a:pt x="721" y="295"/>
                    </a:lnTo>
                    <a:lnTo>
                      <a:pt x="722" y="298"/>
                    </a:lnTo>
                    <a:lnTo>
                      <a:pt x="727" y="303"/>
                    </a:lnTo>
                    <a:lnTo>
                      <a:pt x="728" y="305"/>
                    </a:lnTo>
                    <a:lnTo>
                      <a:pt x="730" y="306"/>
                    </a:lnTo>
                    <a:lnTo>
                      <a:pt x="731" y="308"/>
                    </a:lnTo>
                    <a:lnTo>
                      <a:pt x="731" y="309"/>
                    </a:lnTo>
                    <a:lnTo>
                      <a:pt x="732" y="312"/>
                    </a:lnTo>
                    <a:lnTo>
                      <a:pt x="732" y="314"/>
                    </a:lnTo>
                    <a:lnTo>
                      <a:pt x="730" y="314"/>
                    </a:lnTo>
                    <a:lnTo>
                      <a:pt x="729" y="313"/>
                    </a:lnTo>
                    <a:lnTo>
                      <a:pt x="728" y="311"/>
                    </a:lnTo>
                    <a:lnTo>
                      <a:pt x="729" y="309"/>
                    </a:lnTo>
                    <a:lnTo>
                      <a:pt x="728" y="309"/>
                    </a:lnTo>
                    <a:lnTo>
                      <a:pt x="724" y="313"/>
                    </a:lnTo>
                    <a:lnTo>
                      <a:pt x="715" y="312"/>
                    </a:lnTo>
                    <a:lnTo>
                      <a:pt x="712" y="316"/>
                    </a:lnTo>
                    <a:lnTo>
                      <a:pt x="710" y="316"/>
                    </a:lnTo>
                    <a:lnTo>
                      <a:pt x="709" y="312"/>
                    </a:lnTo>
                    <a:lnTo>
                      <a:pt x="706" y="312"/>
                    </a:lnTo>
                    <a:lnTo>
                      <a:pt x="700" y="316"/>
                    </a:lnTo>
                    <a:lnTo>
                      <a:pt x="701" y="316"/>
                    </a:lnTo>
                    <a:lnTo>
                      <a:pt x="705" y="318"/>
                    </a:lnTo>
                    <a:lnTo>
                      <a:pt x="707" y="318"/>
                    </a:lnTo>
                    <a:lnTo>
                      <a:pt x="711" y="321"/>
                    </a:lnTo>
                    <a:lnTo>
                      <a:pt x="713" y="322"/>
                    </a:lnTo>
                    <a:lnTo>
                      <a:pt x="714" y="324"/>
                    </a:lnTo>
                    <a:lnTo>
                      <a:pt x="715" y="324"/>
                    </a:lnTo>
                    <a:lnTo>
                      <a:pt x="719" y="321"/>
                    </a:lnTo>
                    <a:lnTo>
                      <a:pt x="720" y="319"/>
                    </a:lnTo>
                    <a:lnTo>
                      <a:pt x="721" y="318"/>
                    </a:lnTo>
                    <a:lnTo>
                      <a:pt x="722" y="319"/>
                    </a:lnTo>
                    <a:lnTo>
                      <a:pt x="724" y="320"/>
                    </a:lnTo>
                    <a:lnTo>
                      <a:pt x="723" y="323"/>
                    </a:lnTo>
                    <a:lnTo>
                      <a:pt x="721" y="325"/>
                    </a:lnTo>
                    <a:lnTo>
                      <a:pt x="720" y="325"/>
                    </a:lnTo>
                    <a:lnTo>
                      <a:pt x="719" y="327"/>
                    </a:lnTo>
                    <a:lnTo>
                      <a:pt x="718" y="329"/>
                    </a:lnTo>
                    <a:lnTo>
                      <a:pt x="718" y="333"/>
                    </a:lnTo>
                    <a:lnTo>
                      <a:pt x="717" y="336"/>
                    </a:lnTo>
                    <a:lnTo>
                      <a:pt x="719" y="335"/>
                    </a:lnTo>
                    <a:lnTo>
                      <a:pt x="721" y="334"/>
                    </a:lnTo>
                    <a:lnTo>
                      <a:pt x="723" y="333"/>
                    </a:lnTo>
                    <a:lnTo>
                      <a:pt x="725" y="332"/>
                    </a:lnTo>
                    <a:lnTo>
                      <a:pt x="727" y="331"/>
                    </a:lnTo>
                    <a:lnTo>
                      <a:pt x="729" y="332"/>
                    </a:lnTo>
                    <a:lnTo>
                      <a:pt x="732" y="333"/>
                    </a:lnTo>
                    <a:lnTo>
                      <a:pt x="731" y="337"/>
                    </a:lnTo>
                    <a:lnTo>
                      <a:pt x="731" y="341"/>
                    </a:lnTo>
                    <a:lnTo>
                      <a:pt x="733" y="344"/>
                    </a:lnTo>
                    <a:lnTo>
                      <a:pt x="733" y="348"/>
                    </a:lnTo>
                    <a:lnTo>
                      <a:pt x="733" y="356"/>
                    </a:lnTo>
                    <a:lnTo>
                      <a:pt x="734" y="360"/>
                    </a:lnTo>
                    <a:lnTo>
                      <a:pt x="736" y="359"/>
                    </a:lnTo>
                    <a:lnTo>
                      <a:pt x="736" y="363"/>
                    </a:lnTo>
                    <a:lnTo>
                      <a:pt x="738" y="364"/>
                    </a:lnTo>
                    <a:lnTo>
                      <a:pt x="740" y="363"/>
                    </a:lnTo>
                    <a:lnTo>
                      <a:pt x="742" y="362"/>
                    </a:lnTo>
                    <a:lnTo>
                      <a:pt x="741" y="359"/>
                    </a:lnTo>
                    <a:lnTo>
                      <a:pt x="742" y="357"/>
                    </a:lnTo>
                    <a:lnTo>
                      <a:pt x="744" y="357"/>
                    </a:lnTo>
                    <a:lnTo>
                      <a:pt x="747" y="359"/>
                    </a:lnTo>
                    <a:lnTo>
                      <a:pt x="748" y="358"/>
                    </a:lnTo>
                    <a:lnTo>
                      <a:pt x="749" y="360"/>
                    </a:lnTo>
                    <a:lnTo>
                      <a:pt x="749" y="362"/>
                    </a:lnTo>
                    <a:lnTo>
                      <a:pt x="748" y="364"/>
                    </a:lnTo>
                    <a:lnTo>
                      <a:pt x="747" y="367"/>
                    </a:lnTo>
                    <a:lnTo>
                      <a:pt x="747" y="368"/>
                    </a:lnTo>
                    <a:lnTo>
                      <a:pt x="745" y="369"/>
                    </a:lnTo>
                    <a:lnTo>
                      <a:pt x="743" y="369"/>
                    </a:lnTo>
                    <a:lnTo>
                      <a:pt x="742" y="369"/>
                    </a:lnTo>
                    <a:lnTo>
                      <a:pt x="743" y="371"/>
                    </a:lnTo>
                    <a:lnTo>
                      <a:pt x="747" y="371"/>
                    </a:lnTo>
                    <a:lnTo>
                      <a:pt x="748" y="373"/>
                    </a:lnTo>
                    <a:lnTo>
                      <a:pt x="750" y="372"/>
                    </a:lnTo>
                    <a:lnTo>
                      <a:pt x="751" y="371"/>
                    </a:lnTo>
                    <a:lnTo>
                      <a:pt x="752" y="367"/>
                    </a:lnTo>
                    <a:lnTo>
                      <a:pt x="753" y="368"/>
                    </a:lnTo>
                    <a:lnTo>
                      <a:pt x="754" y="369"/>
                    </a:lnTo>
                    <a:lnTo>
                      <a:pt x="752" y="371"/>
                    </a:lnTo>
                    <a:lnTo>
                      <a:pt x="754" y="372"/>
                    </a:lnTo>
                    <a:lnTo>
                      <a:pt x="758" y="371"/>
                    </a:lnTo>
                    <a:lnTo>
                      <a:pt x="760" y="371"/>
                    </a:lnTo>
                    <a:lnTo>
                      <a:pt x="765" y="373"/>
                    </a:lnTo>
                    <a:lnTo>
                      <a:pt x="768" y="373"/>
                    </a:lnTo>
                    <a:lnTo>
                      <a:pt x="763" y="369"/>
                    </a:lnTo>
                    <a:lnTo>
                      <a:pt x="762" y="365"/>
                    </a:lnTo>
                    <a:lnTo>
                      <a:pt x="765" y="363"/>
                    </a:lnTo>
                    <a:lnTo>
                      <a:pt x="766" y="363"/>
                    </a:lnTo>
                    <a:lnTo>
                      <a:pt x="770" y="365"/>
                    </a:lnTo>
                    <a:lnTo>
                      <a:pt x="771" y="366"/>
                    </a:lnTo>
                    <a:lnTo>
                      <a:pt x="773" y="365"/>
                    </a:lnTo>
                    <a:lnTo>
                      <a:pt x="775" y="362"/>
                    </a:lnTo>
                    <a:lnTo>
                      <a:pt x="775" y="365"/>
                    </a:lnTo>
                    <a:lnTo>
                      <a:pt x="773" y="370"/>
                    </a:lnTo>
                    <a:lnTo>
                      <a:pt x="773" y="372"/>
                    </a:lnTo>
                    <a:lnTo>
                      <a:pt x="774" y="377"/>
                    </a:lnTo>
                    <a:lnTo>
                      <a:pt x="775" y="379"/>
                    </a:lnTo>
                    <a:lnTo>
                      <a:pt x="776" y="380"/>
                    </a:lnTo>
                    <a:lnTo>
                      <a:pt x="780" y="381"/>
                    </a:lnTo>
                    <a:lnTo>
                      <a:pt x="782" y="385"/>
                    </a:lnTo>
                    <a:lnTo>
                      <a:pt x="792" y="401"/>
                    </a:lnTo>
                    <a:lnTo>
                      <a:pt x="797" y="406"/>
                    </a:lnTo>
                    <a:lnTo>
                      <a:pt x="798" y="408"/>
                    </a:lnTo>
                    <a:lnTo>
                      <a:pt x="803" y="409"/>
                    </a:lnTo>
                    <a:lnTo>
                      <a:pt x="805" y="411"/>
                    </a:lnTo>
                    <a:lnTo>
                      <a:pt x="807" y="413"/>
                    </a:lnTo>
                    <a:lnTo>
                      <a:pt x="809" y="415"/>
                    </a:lnTo>
                    <a:lnTo>
                      <a:pt x="819" y="420"/>
                    </a:lnTo>
                    <a:lnTo>
                      <a:pt x="826" y="424"/>
                    </a:lnTo>
                    <a:lnTo>
                      <a:pt x="830" y="425"/>
                    </a:lnTo>
                    <a:lnTo>
                      <a:pt x="833" y="424"/>
                    </a:lnTo>
                    <a:lnTo>
                      <a:pt x="838" y="425"/>
                    </a:lnTo>
                    <a:lnTo>
                      <a:pt x="842" y="428"/>
                    </a:lnTo>
                    <a:lnTo>
                      <a:pt x="848" y="433"/>
                    </a:lnTo>
                    <a:lnTo>
                      <a:pt x="856" y="445"/>
                    </a:lnTo>
                    <a:lnTo>
                      <a:pt x="859" y="450"/>
                    </a:lnTo>
                    <a:lnTo>
                      <a:pt x="871" y="459"/>
                    </a:lnTo>
                    <a:lnTo>
                      <a:pt x="874" y="462"/>
                    </a:lnTo>
                    <a:lnTo>
                      <a:pt x="874" y="466"/>
                    </a:lnTo>
                    <a:lnTo>
                      <a:pt x="867" y="460"/>
                    </a:lnTo>
                    <a:lnTo>
                      <a:pt x="863" y="457"/>
                    </a:lnTo>
                    <a:lnTo>
                      <a:pt x="854" y="455"/>
                    </a:lnTo>
                    <a:lnTo>
                      <a:pt x="851" y="455"/>
                    </a:lnTo>
                    <a:lnTo>
                      <a:pt x="849" y="453"/>
                    </a:lnTo>
                    <a:lnTo>
                      <a:pt x="849" y="446"/>
                    </a:lnTo>
                    <a:lnTo>
                      <a:pt x="847" y="447"/>
                    </a:lnTo>
                    <a:lnTo>
                      <a:pt x="846" y="450"/>
                    </a:lnTo>
                    <a:lnTo>
                      <a:pt x="844" y="454"/>
                    </a:lnTo>
                    <a:lnTo>
                      <a:pt x="844" y="458"/>
                    </a:lnTo>
                    <a:lnTo>
                      <a:pt x="845" y="460"/>
                    </a:lnTo>
                    <a:lnTo>
                      <a:pt x="846" y="462"/>
                    </a:lnTo>
                    <a:lnTo>
                      <a:pt x="848" y="463"/>
                    </a:lnTo>
                    <a:lnTo>
                      <a:pt x="849" y="464"/>
                    </a:lnTo>
                    <a:lnTo>
                      <a:pt x="848" y="476"/>
                    </a:lnTo>
                    <a:lnTo>
                      <a:pt x="848" y="479"/>
                    </a:lnTo>
                    <a:lnTo>
                      <a:pt x="853" y="493"/>
                    </a:lnTo>
                    <a:lnTo>
                      <a:pt x="855" y="496"/>
                    </a:lnTo>
                    <a:lnTo>
                      <a:pt x="857" y="500"/>
                    </a:lnTo>
                    <a:lnTo>
                      <a:pt x="860" y="501"/>
                    </a:lnTo>
                    <a:lnTo>
                      <a:pt x="874" y="506"/>
                    </a:lnTo>
                    <a:lnTo>
                      <a:pt x="879" y="510"/>
                    </a:lnTo>
                    <a:lnTo>
                      <a:pt x="882" y="517"/>
                    </a:lnTo>
                    <a:lnTo>
                      <a:pt x="884" y="525"/>
                    </a:lnTo>
                    <a:lnTo>
                      <a:pt x="883" y="546"/>
                    </a:lnTo>
                    <a:lnTo>
                      <a:pt x="883" y="550"/>
                    </a:lnTo>
                    <a:lnTo>
                      <a:pt x="881" y="554"/>
                    </a:lnTo>
                    <a:lnTo>
                      <a:pt x="878" y="556"/>
                    </a:lnTo>
                    <a:lnTo>
                      <a:pt x="878" y="554"/>
                    </a:lnTo>
                    <a:lnTo>
                      <a:pt x="877" y="553"/>
                    </a:lnTo>
                    <a:lnTo>
                      <a:pt x="874" y="553"/>
                    </a:lnTo>
                    <a:lnTo>
                      <a:pt x="873" y="554"/>
                    </a:lnTo>
                    <a:lnTo>
                      <a:pt x="874" y="560"/>
                    </a:lnTo>
                    <a:lnTo>
                      <a:pt x="874" y="567"/>
                    </a:lnTo>
                    <a:lnTo>
                      <a:pt x="872" y="574"/>
                    </a:lnTo>
                    <a:lnTo>
                      <a:pt x="871" y="579"/>
                    </a:lnTo>
                    <a:lnTo>
                      <a:pt x="869" y="577"/>
                    </a:lnTo>
                    <a:lnTo>
                      <a:pt x="868" y="575"/>
                    </a:lnTo>
                    <a:lnTo>
                      <a:pt x="868" y="572"/>
                    </a:lnTo>
                    <a:lnTo>
                      <a:pt x="867" y="569"/>
                    </a:lnTo>
                    <a:lnTo>
                      <a:pt x="866" y="567"/>
                    </a:lnTo>
                    <a:lnTo>
                      <a:pt x="864" y="565"/>
                    </a:lnTo>
                    <a:lnTo>
                      <a:pt x="864" y="564"/>
                    </a:lnTo>
                    <a:lnTo>
                      <a:pt x="861" y="561"/>
                    </a:lnTo>
                    <a:lnTo>
                      <a:pt x="860" y="561"/>
                    </a:lnTo>
                    <a:lnTo>
                      <a:pt x="859" y="556"/>
                    </a:lnTo>
                    <a:lnTo>
                      <a:pt x="858" y="554"/>
                    </a:lnTo>
                    <a:lnTo>
                      <a:pt x="856" y="552"/>
                    </a:lnTo>
                    <a:lnTo>
                      <a:pt x="855" y="549"/>
                    </a:lnTo>
                    <a:lnTo>
                      <a:pt x="853" y="548"/>
                    </a:lnTo>
                    <a:lnTo>
                      <a:pt x="851" y="549"/>
                    </a:lnTo>
                    <a:lnTo>
                      <a:pt x="847" y="558"/>
                    </a:lnTo>
                    <a:lnTo>
                      <a:pt x="845" y="559"/>
                    </a:lnTo>
                    <a:lnTo>
                      <a:pt x="843" y="560"/>
                    </a:lnTo>
                    <a:lnTo>
                      <a:pt x="844" y="562"/>
                    </a:lnTo>
                    <a:lnTo>
                      <a:pt x="846" y="565"/>
                    </a:lnTo>
                    <a:lnTo>
                      <a:pt x="847" y="566"/>
                    </a:lnTo>
                    <a:lnTo>
                      <a:pt x="848" y="567"/>
                    </a:lnTo>
                    <a:lnTo>
                      <a:pt x="849" y="570"/>
                    </a:lnTo>
                    <a:lnTo>
                      <a:pt x="849" y="572"/>
                    </a:lnTo>
                    <a:lnTo>
                      <a:pt x="846" y="573"/>
                    </a:lnTo>
                    <a:lnTo>
                      <a:pt x="846" y="575"/>
                    </a:lnTo>
                    <a:lnTo>
                      <a:pt x="846" y="577"/>
                    </a:lnTo>
                    <a:lnTo>
                      <a:pt x="847" y="580"/>
                    </a:lnTo>
                    <a:lnTo>
                      <a:pt x="847" y="583"/>
                    </a:lnTo>
                    <a:lnTo>
                      <a:pt x="846" y="585"/>
                    </a:lnTo>
                    <a:lnTo>
                      <a:pt x="849" y="586"/>
                    </a:lnTo>
                    <a:lnTo>
                      <a:pt x="851" y="585"/>
                    </a:lnTo>
                    <a:lnTo>
                      <a:pt x="852" y="583"/>
                    </a:lnTo>
                    <a:lnTo>
                      <a:pt x="851" y="579"/>
                    </a:lnTo>
                    <a:lnTo>
                      <a:pt x="853" y="580"/>
                    </a:lnTo>
                    <a:lnTo>
                      <a:pt x="854" y="581"/>
                    </a:lnTo>
                    <a:lnTo>
                      <a:pt x="856" y="583"/>
                    </a:lnTo>
                    <a:lnTo>
                      <a:pt x="856" y="584"/>
                    </a:lnTo>
                    <a:lnTo>
                      <a:pt x="858" y="584"/>
                    </a:lnTo>
                    <a:lnTo>
                      <a:pt x="858" y="586"/>
                    </a:lnTo>
                    <a:lnTo>
                      <a:pt x="860" y="587"/>
                    </a:lnTo>
                    <a:lnTo>
                      <a:pt x="864" y="588"/>
                    </a:lnTo>
                    <a:lnTo>
                      <a:pt x="866" y="591"/>
                    </a:lnTo>
                    <a:lnTo>
                      <a:pt x="867" y="593"/>
                    </a:lnTo>
                    <a:lnTo>
                      <a:pt x="869" y="597"/>
                    </a:lnTo>
                    <a:lnTo>
                      <a:pt x="869" y="599"/>
                    </a:lnTo>
                    <a:lnTo>
                      <a:pt x="865" y="602"/>
                    </a:lnTo>
                    <a:lnTo>
                      <a:pt x="867" y="611"/>
                    </a:lnTo>
                    <a:lnTo>
                      <a:pt x="871" y="620"/>
                    </a:lnTo>
                    <a:lnTo>
                      <a:pt x="874" y="627"/>
                    </a:lnTo>
                    <a:lnTo>
                      <a:pt x="885" y="638"/>
                    </a:lnTo>
                    <a:lnTo>
                      <a:pt x="888" y="645"/>
                    </a:lnTo>
                    <a:lnTo>
                      <a:pt x="890" y="654"/>
                    </a:lnTo>
                    <a:lnTo>
                      <a:pt x="889" y="654"/>
                    </a:lnTo>
                    <a:lnTo>
                      <a:pt x="886" y="645"/>
                    </a:lnTo>
                    <a:lnTo>
                      <a:pt x="885" y="645"/>
                    </a:lnTo>
                    <a:lnTo>
                      <a:pt x="883" y="644"/>
                    </a:lnTo>
                    <a:lnTo>
                      <a:pt x="881" y="643"/>
                    </a:lnTo>
                    <a:lnTo>
                      <a:pt x="879" y="641"/>
                    </a:lnTo>
                    <a:lnTo>
                      <a:pt x="877" y="638"/>
                    </a:lnTo>
                    <a:lnTo>
                      <a:pt x="874" y="636"/>
                    </a:lnTo>
                    <a:lnTo>
                      <a:pt x="871" y="636"/>
                    </a:lnTo>
                    <a:lnTo>
                      <a:pt x="871" y="639"/>
                    </a:lnTo>
                    <a:lnTo>
                      <a:pt x="872" y="642"/>
                    </a:lnTo>
                    <a:lnTo>
                      <a:pt x="877" y="645"/>
                    </a:lnTo>
                    <a:lnTo>
                      <a:pt x="878" y="647"/>
                    </a:lnTo>
                    <a:lnTo>
                      <a:pt x="879" y="645"/>
                    </a:lnTo>
                    <a:lnTo>
                      <a:pt x="880" y="645"/>
                    </a:lnTo>
                    <a:lnTo>
                      <a:pt x="886" y="658"/>
                    </a:lnTo>
                    <a:lnTo>
                      <a:pt x="906" y="683"/>
                    </a:lnTo>
                    <a:lnTo>
                      <a:pt x="909" y="686"/>
                    </a:lnTo>
                    <a:lnTo>
                      <a:pt x="909" y="683"/>
                    </a:lnTo>
                    <a:lnTo>
                      <a:pt x="909" y="681"/>
                    </a:lnTo>
                    <a:lnTo>
                      <a:pt x="908" y="678"/>
                    </a:lnTo>
                    <a:lnTo>
                      <a:pt x="909" y="677"/>
                    </a:lnTo>
                    <a:lnTo>
                      <a:pt x="911" y="676"/>
                    </a:lnTo>
                    <a:lnTo>
                      <a:pt x="912" y="677"/>
                    </a:lnTo>
                    <a:lnTo>
                      <a:pt x="913" y="681"/>
                    </a:lnTo>
                    <a:lnTo>
                      <a:pt x="915" y="683"/>
                    </a:lnTo>
                    <a:lnTo>
                      <a:pt x="916" y="685"/>
                    </a:lnTo>
                    <a:lnTo>
                      <a:pt x="919" y="687"/>
                    </a:lnTo>
                    <a:lnTo>
                      <a:pt x="924" y="689"/>
                    </a:lnTo>
                    <a:lnTo>
                      <a:pt x="926" y="691"/>
                    </a:lnTo>
                    <a:lnTo>
                      <a:pt x="930" y="699"/>
                    </a:lnTo>
                    <a:lnTo>
                      <a:pt x="928" y="700"/>
                    </a:lnTo>
                    <a:lnTo>
                      <a:pt x="931" y="703"/>
                    </a:lnTo>
                    <a:lnTo>
                      <a:pt x="932" y="708"/>
                    </a:lnTo>
                    <a:lnTo>
                      <a:pt x="934" y="714"/>
                    </a:lnTo>
                    <a:lnTo>
                      <a:pt x="935" y="717"/>
                    </a:lnTo>
                    <a:lnTo>
                      <a:pt x="935" y="720"/>
                    </a:lnTo>
                    <a:lnTo>
                      <a:pt x="934" y="724"/>
                    </a:lnTo>
                    <a:lnTo>
                      <a:pt x="934" y="726"/>
                    </a:lnTo>
                    <a:lnTo>
                      <a:pt x="934" y="729"/>
                    </a:lnTo>
                    <a:lnTo>
                      <a:pt x="936" y="731"/>
                    </a:lnTo>
                    <a:lnTo>
                      <a:pt x="937" y="735"/>
                    </a:lnTo>
                    <a:lnTo>
                      <a:pt x="939" y="739"/>
                    </a:lnTo>
                    <a:lnTo>
                      <a:pt x="939" y="742"/>
                    </a:lnTo>
                    <a:lnTo>
                      <a:pt x="939" y="750"/>
                    </a:lnTo>
                    <a:lnTo>
                      <a:pt x="939" y="758"/>
                    </a:lnTo>
                    <a:lnTo>
                      <a:pt x="941" y="761"/>
                    </a:lnTo>
                    <a:lnTo>
                      <a:pt x="943" y="764"/>
                    </a:lnTo>
                    <a:lnTo>
                      <a:pt x="945" y="760"/>
                    </a:lnTo>
                    <a:lnTo>
                      <a:pt x="948" y="764"/>
                    </a:lnTo>
                    <a:lnTo>
                      <a:pt x="954" y="770"/>
                    </a:lnTo>
                    <a:lnTo>
                      <a:pt x="955" y="773"/>
                    </a:lnTo>
                    <a:lnTo>
                      <a:pt x="958" y="775"/>
                    </a:lnTo>
                    <a:lnTo>
                      <a:pt x="961" y="788"/>
                    </a:lnTo>
                    <a:lnTo>
                      <a:pt x="966" y="790"/>
                    </a:lnTo>
                    <a:lnTo>
                      <a:pt x="969" y="794"/>
                    </a:lnTo>
                    <a:lnTo>
                      <a:pt x="970" y="801"/>
                    </a:lnTo>
                    <a:lnTo>
                      <a:pt x="970" y="813"/>
                    </a:lnTo>
                    <a:lnTo>
                      <a:pt x="971" y="814"/>
                    </a:lnTo>
                    <a:lnTo>
                      <a:pt x="973" y="818"/>
                    </a:lnTo>
                    <a:lnTo>
                      <a:pt x="975" y="820"/>
                    </a:lnTo>
                    <a:lnTo>
                      <a:pt x="977" y="822"/>
                    </a:lnTo>
                    <a:lnTo>
                      <a:pt x="979" y="822"/>
                    </a:lnTo>
                    <a:lnTo>
                      <a:pt x="983" y="819"/>
                    </a:lnTo>
                    <a:lnTo>
                      <a:pt x="994" y="839"/>
                    </a:lnTo>
                    <a:lnTo>
                      <a:pt x="1003" y="848"/>
                    </a:lnTo>
                    <a:lnTo>
                      <a:pt x="1011" y="851"/>
                    </a:lnTo>
                    <a:lnTo>
                      <a:pt x="1021" y="853"/>
                    </a:lnTo>
                    <a:lnTo>
                      <a:pt x="1030" y="853"/>
                    </a:lnTo>
                    <a:lnTo>
                      <a:pt x="1039" y="850"/>
                    </a:lnTo>
                    <a:lnTo>
                      <a:pt x="1051" y="841"/>
                    </a:lnTo>
                    <a:lnTo>
                      <a:pt x="1051" y="843"/>
                    </a:lnTo>
                    <a:lnTo>
                      <a:pt x="1059" y="841"/>
                    </a:lnTo>
                    <a:lnTo>
                      <a:pt x="1061" y="843"/>
                    </a:lnTo>
                    <a:lnTo>
                      <a:pt x="1063" y="844"/>
                    </a:lnTo>
                    <a:lnTo>
                      <a:pt x="1064" y="845"/>
                    </a:lnTo>
                    <a:lnTo>
                      <a:pt x="1066" y="843"/>
                    </a:lnTo>
                    <a:lnTo>
                      <a:pt x="1067" y="845"/>
                    </a:lnTo>
                    <a:lnTo>
                      <a:pt x="1066" y="847"/>
                    </a:lnTo>
                    <a:lnTo>
                      <a:pt x="1065" y="848"/>
                    </a:lnTo>
                    <a:lnTo>
                      <a:pt x="1063" y="850"/>
                    </a:lnTo>
                    <a:lnTo>
                      <a:pt x="1063" y="851"/>
                    </a:lnTo>
                    <a:lnTo>
                      <a:pt x="1065" y="854"/>
                    </a:lnTo>
                    <a:lnTo>
                      <a:pt x="1064" y="860"/>
                    </a:lnTo>
                    <a:lnTo>
                      <a:pt x="1065" y="861"/>
                    </a:lnTo>
                    <a:lnTo>
                      <a:pt x="1068" y="860"/>
                    </a:lnTo>
                    <a:lnTo>
                      <a:pt x="1070" y="858"/>
                    </a:lnTo>
                    <a:lnTo>
                      <a:pt x="1075" y="850"/>
                    </a:lnTo>
                    <a:lnTo>
                      <a:pt x="1077" y="848"/>
                    </a:lnTo>
                    <a:lnTo>
                      <a:pt x="1080" y="846"/>
                    </a:lnTo>
                    <a:lnTo>
                      <a:pt x="1081" y="844"/>
                    </a:lnTo>
                    <a:lnTo>
                      <a:pt x="1081" y="840"/>
                    </a:lnTo>
                    <a:lnTo>
                      <a:pt x="1083" y="841"/>
                    </a:lnTo>
                    <a:lnTo>
                      <a:pt x="1086" y="842"/>
                    </a:lnTo>
                    <a:lnTo>
                      <a:pt x="1089" y="842"/>
                    </a:lnTo>
                    <a:lnTo>
                      <a:pt x="1089" y="844"/>
                    </a:lnTo>
                    <a:lnTo>
                      <a:pt x="1091" y="847"/>
                    </a:lnTo>
                    <a:lnTo>
                      <a:pt x="1093" y="847"/>
                    </a:lnTo>
                    <a:lnTo>
                      <a:pt x="1096" y="847"/>
                    </a:lnTo>
                    <a:lnTo>
                      <a:pt x="1098" y="849"/>
                    </a:lnTo>
                    <a:lnTo>
                      <a:pt x="1098" y="850"/>
                    </a:lnTo>
                    <a:lnTo>
                      <a:pt x="1095" y="851"/>
                    </a:lnTo>
                    <a:lnTo>
                      <a:pt x="1091" y="852"/>
                    </a:lnTo>
                    <a:lnTo>
                      <a:pt x="1089" y="854"/>
                    </a:lnTo>
                    <a:lnTo>
                      <a:pt x="1088" y="857"/>
                    </a:lnTo>
                    <a:lnTo>
                      <a:pt x="1087" y="857"/>
                    </a:lnTo>
                    <a:lnTo>
                      <a:pt x="1083" y="861"/>
                    </a:lnTo>
                    <a:lnTo>
                      <a:pt x="1082" y="863"/>
                    </a:lnTo>
                    <a:lnTo>
                      <a:pt x="1082" y="866"/>
                    </a:lnTo>
                    <a:lnTo>
                      <a:pt x="1081" y="866"/>
                    </a:lnTo>
                    <a:lnTo>
                      <a:pt x="1071" y="874"/>
                    </a:lnTo>
                    <a:lnTo>
                      <a:pt x="1068" y="877"/>
                    </a:lnTo>
                    <a:lnTo>
                      <a:pt x="1067" y="880"/>
                    </a:lnTo>
                    <a:lnTo>
                      <a:pt x="1066" y="881"/>
                    </a:lnTo>
                    <a:lnTo>
                      <a:pt x="1066" y="883"/>
                    </a:lnTo>
                    <a:lnTo>
                      <a:pt x="1065" y="888"/>
                    </a:lnTo>
                    <a:lnTo>
                      <a:pt x="1065" y="889"/>
                    </a:lnTo>
                    <a:lnTo>
                      <a:pt x="1065" y="892"/>
                    </a:lnTo>
                    <a:lnTo>
                      <a:pt x="1064" y="893"/>
                    </a:lnTo>
                    <a:lnTo>
                      <a:pt x="1062" y="893"/>
                    </a:lnTo>
                    <a:lnTo>
                      <a:pt x="1061" y="894"/>
                    </a:lnTo>
                    <a:lnTo>
                      <a:pt x="1061" y="897"/>
                    </a:lnTo>
                    <a:lnTo>
                      <a:pt x="1061" y="899"/>
                    </a:lnTo>
                    <a:lnTo>
                      <a:pt x="1062" y="900"/>
                    </a:lnTo>
                    <a:lnTo>
                      <a:pt x="1072" y="901"/>
                    </a:lnTo>
                    <a:lnTo>
                      <a:pt x="1076" y="900"/>
                    </a:lnTo>
                    <a:lnTo>
                      <a:pt x="1078" y="899"/>
                    </a:lnTo>
                    <a:lnTo>
                      <a:pt x="1080" y="897"/>
                    </a:lnTo>
                    <a:lnTo>
                      <a:pt x="1081" y="897"/>
                    </a:lnTo>
                    <a:lnTo>
                      <a:pt x="1083" y="897"/>
                    </a:lnTo>
                    <a:lnTo>
                      <a:pt x="1095" y="899"/>
                    </a:lnTo>
                    <a:lnTo>
                      <a:pt x="1097" y="901"/>
                    </a:lnTo>
                    <a:lnTo>
                      <a:pt x="1103" y="907"/>
                    </a:lnTo>
                    <a:lnTo>
                      <a:pt x="1110" y="909"/>
                    </a:lnTo>
                    <a:lnTo>
                      <a:pt x="1111" y="916"/>
                    </a:lnTo>
                    <a:lnTo>
                      <a:pt x="1111" y="920"/>
                    </a:lnTo>
                    <a:lnTo>
                      <a:pt x="1111" y="933"/>
                    </a:lnTo>
                    <a:lnTo>
                      <a:pt x="1112" y="937"/>
                    </a:lnTo>
                    <a:lnTo>
                      <a:pt x="1114" y="942"/>
                    </a:lnTo>
                    <a:lnTo>
                      <a:pt x="1150" y="988"/>
                    </a:lnTo>
                    <a:lnTo>
                      <a:pt x="1176" y="1022"/>
                    </a:lnTo>
                    <a:lnTo>
                      <a:pt x="1185" y="1034"/>
                    </a:lnTo>
                    <a:lnTo>
                      <a:pt x="1219" y="1079"/>
                    </a:lnTo>
                    <a:lnTo>
                      <a:pt x="1237" y="1102"/>
                    </a:lnTo>
                    <a:lnTo>
                      <a:pt x="1263" y="1136"/>
                    </a:lnTo>
                    <a:lnTo>
                      <a:pt x="1272" y="1148"/>
                    </a:lnTo>
                    <a:lnTo>
                      <a:pt x="1275" y="1150"/>
                    </a:lnTo>
                    <a:lnTo>
                      <a:pt x="1279" y="1152"/>
                    </a:lnTo>
                    <a:lnTo>
                      <a:pt x="1353" y="1161"/>
                    </a:lnTo>
                    <a:lnTo>
                      <a:pt x="1469" y="1177"/>
                    </a:lnTo>
                    <a:lnTo>
                      <a:pt x="1539" y="1186"/>
                    </a:lnTo>
                    <a:lnTo>
                      <a:pt x="1586" y="1193"/>
                    </a:lnTo>
                    <a:lnTo>
                      <a:pt x="1609" y="1195"/>
                    </a:lnTo>
                    <a:lnTo>
                      <a:pt x="1655" y="1201"/>
                    </a:lnTo>
                    <a:lnTo>
                      <a:pt x="1701" y="1208"/>
                    </a:lnTo>
                    <a:lnTo>
                      <a:pt x="1704" y="1208"/>
                    </a:lnTo>
                    <a:lnTo>
                      <a:pt x="1714" y="1193"/>
                    </a:lnTo>
                    <a:lnTo>
                      <a:pt x="1739" y="1233"/>
                    </a:lnTo>
                    <a:lnTo>
                      <a:pt x="1766" y="1278"/>
                    </a:lnTo>
                    <a:lnTo>
                      <a:pt x="1789" y="1316"/>
                    </a:lnTo>
                    <a:lnTo>
                      <a:pt x="1790" y="1320"/>
                    </a:lnTo>
                    <a:lnTo>
                      <a:pt x="1790" y="1324"/>
                    </a:lnTo>
                    <a:lnTo>
                      <a:pt x="1783" y="1347"/>
                    </a:lnTo>
                    <a:lnTo>
                      <a:pt x="1774" y="1376"/>
                    </a:lnTo>
                    <a:lnTo>
                      <a:pt x="1760" y="1421"/>
                    </a:lnTo>
                    <a:lnTo>
                      <a:pt x="1744" y="1476"/>
                    </a:lnTo>
                    <a:lnTo>
                      <a:pt x="1734" y="1506"/>
                    </a:lnTo>
                    <a:lnTo>
                      <a:pt x="1708" y="1590"/>
                    </a:lnTo>
                    <a:lnTo>
                      <a:pt x="1694" y="1635"/>
                    </a:lnTo>
                    <a:lnTo>
                      <a:pt x="1690" y="1650"/>
                    </a:lnTo>
                    <a:lnTo>
                      <a:pt x="1680" y="1681"/>
                    </a:lnTo>
                    <a:lnTo>
                      <a:pt x="1626" y="1700"/>
                    </a:lnTo>
                    <a:lnTo>
                      <a:pt x="1541" y="1730"/>
                    </a:lnTo>
                    <a:lnTo>
                      <a:pt x="1483" y="1750"/>
                    </a:lnTo>
                    <a:lnTo>
                      <a:pt x="1455" y="1761"/>
                    </a:lnTo>
                    <a:lnTo>
                      <a:pt x="1398" y="1781"/>
                    </a:lnTo>
                    <a:lnTo>
                      <a:pt x="1368" y="1791"/>
                    </a:lnTo>
                    <a:lnTo>
                      <a:pt x="1311" y="1811"/>
                    </a:lnTo>
                    <a:lnTo>
                      <a:pt x="1283" y="1822"/>
                    </a:lnTo>
                    <a:lnTo>
                      <a:pt x="1225" y="1841"/>
                    </a:lnTo>
                    <a:lnTo>
                      <a:pt x="1197" y="1852"/>
                    </a:lnTo>
                    <a:lnTo>
                      <a:pt x="1178" y="1858"/>
                    </a:lnTo>
                    <a:lnTo>
                      <a:pt x="1098" y="1870"/>
                    </a:lnTo>
                    <a:lnTo>
                      <a:pt x="991" y="1886"/>
                    </a:lnTo>
                    <a:lnTo>
                      <a:pt x="964" y="1889"/>
                    </a:lnTo>
                    <a:lnTo>
                      <a:pt x="938" y="1893"/>
                    </a:lnTo>
                    <a:lnTo>
                      <a:pt x="884" y="1901"/>
                    </a:lnTo>
                    <a:lnTo>
                      <a:pt x="857" y="1904"/>
                    </a:lnTo>
                    <a:lnTo>
                      <a:pt x="723" y="1924"/>
                    </a:lnTo>
                    <a:lnTo>
                      <a:pt x="701" y="1926"/>
                    </a:lnTo>
                    <a:lnTo>
                      <a:pt x="686" y="1932"/>
                    </a:lnTo>
                    <a:lnTo>
                      <a:pt x="654" y="1948"/>
                    </a:lnTo>
                    <a:lnTo>
                      <a:pt x="593" y="1979"/>
                    </a:lnTo>
                    <a:lnTo>
                      <a:pt x="544" y="2006"/>
                    </a:lnTo>
                    <a:lnTo>
                      <a:pt x="540" y="2008"/>
                    </a:lnTo>
                    <a:lnTo>
                      <a:pt x="526" y="2024"/>
                    </a:lnTo>
                    <a:lnTo>
                      <a:pt x="511" y="2044"/>
                    </a:lnTo>
                    <a:lnTo>
                      <a:pt x="486" y="2077"/>
                    </a:lnTo>
                    <a:lnTo>
                      <a:pt x="444" y="2129"/>
                    </a:lnTo>
                    <a:lnTo>
                      <a:pt x="442" y="2135"/>
                    </a:lnTo>
                    <a:lnTo>
                      <a:pt x="422" y="2188"/>
                    </a:lnTo>
                    <a:lnTo>
                      <a:pt x="417" y="2194"/>
                    </a:lnTo>
                    <a:lnTo>
                      <a:pt x="417" y="2194"/>
                    </a:lnTo>
                    <a:close/>
                  </a:path>
                </a:pathLst>
              </a:custGeom>
              <a:solidFill>
                <a:srgbClr val="5EAD8E"/>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275" name="Freeform 9">
                <a:extLst>
                  <a:ext uri="{FF2B5EF4-FFF2-40B4-BE49-F238E27FC236}"/>
                </a:extLst>
              </p:cNvPr>
              <p:cNvSpPr>
                <a:spLocks/>
              </p:cNvSpPr>
              <p:nvPr/>
            </p:nvSpPr>
            <p:spPr bwMode="auto">
              <a:xfrm>
                <a:off x="2287337" y="3298234"/>
                <a:ext cx="1406367" cy="1447214"/>
              </a:xfrm>
              <a:custGeom>
                <a:avLst/>
                <a:gdLst>
                  <a:gd name="T0" fmla="*/ 504 w 889"/>
                  <a:gd name="T1" fmla="*/ 179 h 907"/>
                  <a:gd name="T2" fmla="*/ 526 w 889"/>
                  <a:gd name="T3" fmla="*/ 196 h 907"/>
                  <a:gd name="T4" fmla="*/ 531 w 889"/>
                  <a:gd name="T5" fmla="*/ 320 h 907"/>
                  <a:gd name="T6" fmla="*/ 546 w 889"/>
                  <a:gd name="T7" fmla="*/ 389 h 907"/>
                  <a:gd name="T8" fmla="*/ 638 w 889"/>
                  <a:gd name="T9" fmla="*/ 371 h 907"/>
                  <a:gd name="T10" fmla="*/ 674 w 889"/>
                  <a:gd name="T11" fmla="*/ 340 h 907"/>
                  <a:gd name="T12" fmla="*/ 808 w 889"/>
                  <a:gd name="T13" fmla="*/ 357 h 907"/>
                  <a:gd name="T14" fmla="*/ 818 w 889"/>
                  <a:gd name="T15" fmla="*/ 433 h 907"/>
                  <a:gd name="T16" fmla="*/ 866 w 889"/>
                  <a:gd name="T17" fmla="*/ 494 h 907"/>
                  <a:gd name="T18" fmla="*/ 884 w 889"/>
                  <a:gd name="T19" fmla="*/ 539 h 907"/>
                  <a:gd name="T20" fmla="*/ 875 w 889"/>
                  <a:gd name="T21" fmla="*/ 578 h 907"/>
                  <a:gd name="T22" fmla="*/ 829 w 889"/>
                  <a:gd name="T23" fmla="*/ 645 h 907"/>
                  <a:gd name="T24" fmla="*/ 830 w 889"/>
                  <a:gd name="T25" fmla="*/ 690 h 907"/>
                  <a:gd name="T26" fmla="*/ 752 w 889"/>
                  <a:gd name="T27" fmla="*/ 745 h 907"/>
                  <a:gd name="T28" fmla="*/ 776 w 889"/>
                  <a:gd name="T29" fmla="*/ 780 h 907"/>
                  <a:gd name="T30" fmla="*/ 654 w 889"/>
                  <a:gd name="T31" fmla="*/ 884 h 907"/>
                  <a:gd name="T32" fmla="*/ 583 w 889"/>
                  <a:gd name="T33" fmla="*/ 903 h 907"/>
                  <a:gd name="T34" fmla="*/ 550 w 889"/>
                  <a:gd name="T35" fmla="*/ 899 h 907"/>
                  <a:gd name="T36" fmla="*/ 547 w 889"/>
                  <a:gd name="T37" fmla="*/ 862 h 907"/>
                  <a:gd name="T38" fmla="*/ 519 w 889"/>
                  <a:gd name="T39" fmla="*/ 839 h 907"/>
                  <a:gd name="T40" fmla="*/ 524 w 889"/>
                  <a:gd name="T41" fmla="*/ 787 h 907"/>
                  <a:gd name="T42" fmla="*/ 446 w 889"/>
                  <a:gd name="T43" fmla="*/ 790 h 907"/>
                  <a:gd name="T44" fmla="*/ 402 w 889"/>
                  <a:gd name="T45" fmla="*/ 781 h 907"/>
                  <a:gd name="T46" fmla="*/ 349 w 889"/>
                  <a:gd name="T47" fmla="*/ 732 h 907"/>
                  <a:gd name="T48" fmla="*/ 305 w 889"/>
                  <a:gd name="T49" fmla="*/ 716 h 907"/>
                  <a:gd name="T50" fmla="*/ 303 w 889"/>
                  <a:gd name="T51" fmla="*/ 717 h 907"/>
                  <a:gd name="T52" fmla="*/ 281 w 889"/>
                  <a:gd name="T53" fmla="*/ 675 h 907"/>
                  <a:gd name="T54" fmla="*/ 267 w 889"/>
                  <a:gd name="T55" fmla="*/ 657 h 907"/>
                  <a:gd name="T56" fmla="*/ 244 w 889"/>
                  <a:gd name="T57" fmla="*/ 640 h 907"/>
                  <a:gd name="T58" fmla="*/ 217 w 889"/>
                  <a:gd name="T59" fmla="*/ 618 h 907"/>
                  <a:gd name="T60" fmla="*/ 197 w 889"/>
                  <a:gd name="T61" fmla="*/ 602 h 907"/>
                  <a:gd name="T62" fmla="*/ 194 w 889"/>
                  <a:gd name="T63" fmla="*/ 592 h 907"/>
                  <a:gd name="T64" fmla="*/ 187 w 889"/>
                  <a:gd name="T65" fmla="*/ 602 h 907"/>
                  <a:gd name="T66" fmla="*/ 156 w 889"/>
                  <a:gd name="T67" fmla="*/ 582 h 907"/>
                  <a:gd name="T68" fmla="*/ 135 w 889"/>
                  <a:gd name="T69" fmla="*/ 586 h 907"/>
                  <a:gd name="T70" fmla="*/ 106 w 889"/>
                  <a:gd name="T71" fmla="*/ 557 h 907"/>
                  <a:gd name="T72" fmla="*/ 103 w 889"/>
                  <a:gd name="T73" fmla="*/ 519 h 907"/>
                  <a:gd name="T74" fmla="*/ 139 w 889"/>
                  <a:gd name="T75" fmla="*/ 505 h 907"/>
                  <a:gd name="T76" fmla="*/ 171 w 889"/>
                  <a:gd name="T77" fmla="*/ 486 h 907"/>
                  <a:gd name="T78" fmla="*/ 204 w 889"/>
                  <a:gd name="T79" fmla="*/ 470 h 907"/>
                  <a:gd name="T80" fmla="*/ 188 w 889"/>
                  <a:gd name="T81" fmla="*/ 356 h 907"/>
                  <a:gd name="T82" fmla="*/ 163 w 889"/>
                  <a:gd name="T83" fmla="*/ 301 h 907"/>
                  <a:gd name="T84" fmla="*/ 98 w 889"/>
                  <a:gd name="T85" fmla="*/ 240 h 907"/>
                  <a:gd name="T86" fmla="*/ 75 w 889"/>
                  <a:gd name="T87" fmla="*/ 226 h 907"/>
                  <a:gd name="T88" fmla="*/ 80 w 889"/>
                  <a:gd name="T89" fmla="*/ 163 h 907"/>
                  <a:gd name="T90" fmla="*/ 45 w 889"/>
                  <a:gd name="T91" fmla="*/ 135 h 907"/>
                  <a:gd name="T92" fmla="*/ 37 w 889"/>
                  <a:gd name="T93" fmla="*/ 77 h 907"/>
                  <a:gd name="T94" fmla="*/ 22 w 889"/>
                  <a:gd name="T95" fmla="*/ 39 h 907"/>
                  <a:gd name="T96" fmla="*/ 4 w 889"/>
                  <a:gd name="T97" fmla="*/ 30 h 907"/>
                  <a:gd name="T98" fmla="*/ 105 w 889"/>
                  <a:gd name="T99" fmla="*/ 15 h 907"/>
                  <a:gd name="T100" fmla="*/ 165 w 889"/>
                  <a:gd name="T101" fmla="*/ 0 h 907"/>
                  <a:gd name="T102" fmla="*/ 197 w 889"/>
                  <a:gd name="T103" fmla="*/ 59 h 907"/>
                  <a:gd name="T104" fmla="*/ 239 w 889"/>
                  <a:gd name="T105" fmla="*/ 72 h 907"/>
                  <a:gd name="T106" fmla="*/ 257 w 889"/>
                  <a:gd name="T107" fmla="*/ 102 h 907"/>
                  <a:gd name="T108" fmla="*/ 288 w 889"/>
                  <a:gd name="T109" fmla="*/ 96 h 907"/>
                  <a:gd name="T110" fmla="*/ 327 w 889"/>
                  <a:gd name="T111" fmla="*/ 100 h 907"/>
                  <a:gd name="T112" fmla="*/ 339 w 889"/>
                  <a:gd name="T113" fmla="*/ 102 h 907"/>
                  <a:gd name="T114" fmla="*/ 491 w 889"/>
                  <a:gd name="T115" fmla="*/ 12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9" h="907">
                    <a:moveTo>
                      <a:pt x="508" y="138"/>
                    </a:moveTo>
                    <a:lnTo>
                      <a:pt x="511" y="146"/>
                    </a:lnTo>
                    <a:lnTo>
                      <a:pt x="511" y="150"/>
                    </a:lnTo>
                    <a:lnTo>
                      <a:pt x="511" y="154"/>
                    </a:lnTo>
                    <a:lnTo>
                      <a:pt x="511" y="159"/>
                    </a:lnTo>
                    <a:lnTo>
                      <a:pt x="510" y="166"/>
                    </a:lnTo>
                    <a:lnTo>
                      <a:pt x="510" y="168"/>
                    </a:lnTo>
                    <a:lnTo>
                      <a:pt x="504" y="179"/>
                    </a:lnTo>
                    <a:lnTo>
                      <a:pt x="501" y="184"/>
                    </a:lnTo>
                    <a:lnTo>
                      <a:pt x="502" y="189"/>
                    </a:lnTo>
                    <a:lnTo>
                      <a:pt x="504" y="193"/>
                    </a:lnTo>
                    <a:lnTo>
                      <a:pt x="506" y="196"/>
                    </a:lnTo>
                    <a:lnTo>
                      <a:pt x="510" y="198"/>
                    </a:lnTo>
                    <a:lnTo>
                      <a:pt x="514" y="198"/>
                    </a:lnTo>
                    <a:lnTo>
                      <a:pt x="522" y="196"/>
                    </a:lnTo>
                    <a:lnTo>
                      <a:pt x="526" y="196"/>
                    </a:lnTo>
                    <a:lnTo>
                      <a:pt x="529" y="199"/>
                    </a:lnTo>
                    <a:lnTo>
                      <a:pt x="531" y="203"/>
                    </a:lnTo>
                    <a:lnTo>
                      <a:pt x="532" y="207"/>
                    </a:lnTo>
                    <a:lnTo>
                      <a:pt x="522" y="270"/>
                    </a:lnTo>
                    <a:lnTo>
                      <a:pt x="522" y="275"/>
                    </a:lnTo>
                    <a:lnTo>
                      <a:pt x="523" y="280"/>
                    </a:lnTo>
                    <a:lnTo>
                      <a:pt x="528" y="300"/>
                    </a:lnTo>
                    <a:lnTo>
                      <a:pt x="531" y="320"/>
                    </a:lnTo>
                    <a:lnTo>
                      <a:pt x="529" y="368"/>
                    </a:lnTo>
                    <a:lnTo>
                      <a:pt x="531" y="373"/>
                    </a:lnTo>
                    <a:lnTo>
                      <a:pt x="533" y="378"/>
                    </a:lnTo>
                    <a:lnTo>
                      <a:pt x="534" y="381"/>
                    </a:lnTo>
                    <a:lnTo>
                      <a:pt x="537" y="384"/>
                    </a:lnTo>
                    <a:lnTo>
                      <a:pt x="540" y="386"/>
                    </a:lnTo>
                    <a:lnTo>
                      <a:pt x="542" y="387"/>
                    </a:lnTo>
                    <a:lnTo>
                      <a:pt x="546" y="389"/>
                    </a:lnTo>
                    <a:lnTo>
                      <a:pt x="549" y="389"/>
                    </a:lnTo>
                    <a:lnTo>
                      <a:pt x="554" y="389"/>
                    </a:lnTo>
                    <a:lnTo>
                      <a:pt x="557" y="389"/>
                    </a:lnTo>
                    <a:lnTo>
                      <a:pt x="599" y="373"/>
                    </a:lnTo>
                    <a:lnTo>
                      <a:pt x="608" y="372"/>
                    </a:lnTo>
                    <a:lnTo>
                      <a:pt x="627" y="373"/>
                    </a:lnTo>
                    <a:lnTo>
                      <a:pt x="634" y="372"/>
                    </a:lnTo>
                    <a:lnTo>
                      <a:pt x="638" y="371"/>
                    </a:lnTo>
                    <a:lnTo>
                      <a:pt x="641" y="370"/>
                    </a:lnTo>
                    <a:lnTo>
                      <a:pt x="644" y="369"/>
                    </a:lnTo>
                    <a:lnTo>
                      <a:pt x="647" y="367"/>
                    </a:lnTo>
                    <a:lnTo>
                      <a:pt x="650" y="366"/>
                    </a:lnTo>
                    <a:lnTo>
                      <a:pt x="653" y="362"/>
                    </a:lnTo>
                    <a:lnTo>
                      <a:pt x="665" y="346"/>
                    </a:lnTo>
                    <a:lnTo>
                      <a:pt x="669" y="343"/>
                    </a:lnTo>
                    <a:lnTo>
                      <a:pt x="674" y="340"/>
                    </a:lnTo>
                    <a:lnTo>
                      <a:pt x="679" y="338"/>
                    </a:lnTo>
                    <a:lnTo>
                      <a:pt x="685" y="337"/>
                    </a:lnTo>
                    <a:lnTo>
                      <a:pt x="713" y="335"/>
                    </a:lnTo>
                    <a:lnTo>
                      <a:pt x="760" y="343"/>
                    </a:lnTo>
                    <a:lnTo>
                      <a:pt x="775" y="347"/>
                    </a:lnTo>
                    <a:lnTo>
                      <a:pt x="778" y="349"/>
                    </a:lnTo>
                    <a:lnTo>
                      <a:pt x="800" y="354"/>
                    </a:lnTo>
                    <a:lnTo>
                      <a:pt x="808" y="357"/>
                    </a:lnTo>
                    <a:lnTo>
                      <a:pt x="811" y="358"/>
                    </a:lnTo>
                    <a:lnTo>
                      <a:pt x="813" y="363"/>
                    </a:lnTo>
                    <a:lnTo>
                      <a:pt x="815" y="367"/>
                    </a:lnTo>
                    <a:lnTo>
                      <a:pt x="815" y="372"/>
                    </a:lnTo>
                    <a:lnTo>
                      <a:pt x="813" y="419"/>
                    </a:lnTo>
                    <a:lnTo>
                      <a:pt x="813" y="424"/>
                    </a:lnTo>
                    <a:lnTo>
                      <a:pt x="814" y="427"/>
                    </a:lnTo>
                    <a:lnTo>
                      <a:pt x="818" y="433"/>
                    </a:lnTo>
                    <a:lnTo>
                      <a:pt x="821" y="436"/>
                    </a:lnTo>
                    <a:lnTo>
                      <a:pt x="826" y="438"/>
                    </a:lnTo>
                    <a:lnTo>
                      <a:pt x="847" y="444"/>
                    </a:lnTo>
                    <a:lnTo>
                      <a:pt x="850" y="445"/>
                    </a:lnTo>
                    <a:lnTo>
                      <a:pt x="852" y="447"/>
                    </a:lnTo>
                    <a:lnTo>
                      <a:pt x="855" y="452"/>
                    </a:lnTo>
                    <a:lnTo>
                      <a:pt x="858" y="459"/>
                    </a:lnTo>
                    <a:lnTo>
                      <a:pt x="866" y="494"/>
                    </a:lnTo>
                    <a:lnTo>
                      <a:pt x="870" y="502"/>
                    </a:lnTo>
                    <a:lnTo>
                      <a:pt x="872" y="505"/>
                    </a:lnTo>
                    <a:lnTo>
                      <a:pt x="874" y="508"/>
                    </a:lnTo>
                    <a:lnTo>
                      <a:pt x="889" y="518"/>
                    </a:lnTo>
                    <a:lnTo>
                      <a:pt x="889" y="525"/>
                    </a:lnTo>
                    <a:lnTo>
                      <a:pt x="888" y="533"/>
                    </a:lnTo>
                    <a:lnTo>
                      <a:pt x="885" y="539"/>
                    </a:lnTo>
                    <a:lnTo>
                      <a:pt x="884" y="539"/>
                    </a:lnTo>
                    <a:lnTo>
                      <a:pt x="877" y="549"/>
                    </a:lnTo>
                    <a:lnTo>
                      <a:pt x="874" y="554"/>
                    </a:lnTo>
                    <a:lnTo>
                      <a:pt x="873" y="556"/>
                    </a:lnTo>
                    <a:lnTo>
                      <a:pt x="873" y="559"/>
                    </a:lnTo>
                    <a:lnTo>
                      <a:pt x="873" y="561"/>
                    </a:lnTo>
                    <a:lnTo>
                      <a:pt x="875" y="567"/>
                    </a:lnTo>
                    <a:lnTo>
                      <a:pt x="876" y="571"/>
                    </a:lnTo>
                    <a:lnTo>
                      <a:pt x="875" y="578"/>
                    </a:lnTo>
                    <a:lnTo>
                      <a:pt x="873" y="592"/>
                    </a:lnTo>
                    <a:lnTo>
                      <a:pt x="870" y="624"/>
                    </a:lnTo>
                    <a:lnTo>
                      <a:pt x="871" y="640"/>
                    </a:lnTo>
                    <a:lnTo>
                      <a:pt x="849" y="637"/>
                    </a:lnTo>
                    <a:lnTo>
                      <a:pt x="838" y="638"/>
                    </a:lnTo>
                    <a:lnTo>
                      <a:pt x="835" y="640"/>
                    </a:lnTo>
                    <a:lnTo>
                      <a:pt x="831" y="641"/>
                    </a:lnTo>
                    <a:lnTo>
                      <a:pt x="829" y="645"/>
                    </a:lnTo>
                    <a:lnTo>
                      <a:pt x="828" y="648"/>
                    </a:lnTo>
                    <a:lnTo>
                      <a:pt x="828" y="653"/>
                    </a:lnTo>
                    <a:lnTo>
                      <a:pt x="833" y="664"/>
                    </a:lnTo>
                    <a:lnTo>
                      <a:pt x="834" y="669"/>
                    </a:lnTo>
                    <a:lnTo>
                      <a:pt x="834" y="672"/>
                    </a:lnTo>
                    <a:lnTo>
                      <a:pt x="834" y="680"/>
                    </a:lnTo>
                    <a:lnTo>
                      <a:pt x="833" y="686"/>
                    </a:lnTo>
                    <a:lnTo>
                      <a:pt x="830" y="690"/>
                    </a:lnTo>
                    <a:lnTo>
                      <a:pt x="826" y="697"/>
                    </a:lnTo>
                    <a:lnTo>
                      <a:pt x="821" y="701"/>
                    </a:lnTo>
                    <a:lnTo>
                      <a:pt x="818" y="704"/>
                    </a:lnTo>
                    <a:lnTo>
                      <a:pt x="788" y="717"/>
                    </a:lnTo>
                    <a:lnTo>
                      <a:pt x="766" y="730"/>
                    </a:lnTo>
                    <a:lnTo>
                      <a:pt x="759" y="735"/>
                    </a:lnTo>
                    <a:lnTo>
                      <a:pt x="753" y="740"/>
                    </a:lnTo>
                    <a:lnTo>
                      <a:pt x="752" y="745"/>
                    </a:lnTo>
                    <a:lnTo>
                      <a:pt x="753" y="749"/>
                    </a:lnTo>
                    <a:lnTo>
                      <a:pt x="756" y="752"/>
                    </a:lnTo>
                    <a:lnTo>
                      <a:pt x="760" y="754"/>
                    </a:lnTo>
                    <a:lnTo>
                      <a:pt x="778" y="765"/>
                    </a:lnTo>
                    <a:lnTo>
                      <a:pt x="781" y="768"/>
                    </a:lnTo>
                    <a:lnTo>
                      <a:pt x="782" y="771"/>
                    </a:lnTo>
                    <a:lnTo>
                      <a:pt x="780" y="777"/>
                    </a:lnTo>
                    <a:lnTo>
                      <a:pt x="776" y="780"/>
                    </a:lnTo>
                    <a:lnTo>
                      <a:pt x="773" y="783"/>
                    </a:lnTo>
                    <a:lnTo>
                      <a:pt x="753" y="790"/>
                    </a:lnTo>
                    <a:lnTo>
                      <a:pt x="749" y="792"/>
                    </a:lnTo>
                    <a:lnTo>
                      <a:pt x="744" y="797"/>
                    </a:lnTo>
                    <a:lnTo>
                      <a:pt x="720" y="820"/>
                    </a:lnTo>
                    <a:lnTo>
                      <a:pt x="672" y="858"/>
                    </a:lnTo>
                    <a:lnTo>
                      <a:pt x="666" y="866"/>
                    </a:lnTo>
                    <a:lnTo>
                      <a:pt x="654" y="884"/>
                    </a:lnTo>
                    <a:lnTo>
                      <a:pt x="649" y="889"/>
                    </a:lnTo>
                    <a:lnTo>
                      <a:pt x="646" y="891"/>
                    </a:lnTo>
                    <a:lnTo>
                      <a:pt x="642" y="891"/>
                    </a:lnTo>
                    <a:lnTo>
                      <a:pt x="616" y="884"/>
                    </a:lnTo>
                    <a:lnTo>
                      <a:pt x="612" y="883"/>
                    </a:lnTo>
                    <a:lnTo>
                      <a:pt x="607" y="884"/>
                    </a:lnTo>
                    <a:lnTo>
                      <a:pt x="600" y="888"/>
                    </a:lnTo>
                    <a:lnTo>
                      <a:pt x="583" y="903"/>
                    </a:lnTo>
                    <a:lnTo>
                      <a:pt x="579" y="905"/>
                    </a:lnTo>
                    <a:lnTo>
                      <a:pt x="574" y="907"/>
                    </a:lnTo>
                    <a:lnTo>
                      <a:pt x="571" y="907"/>
                    </a:lnTo>
                    <a:lnTo>
                      <a:pt x="567" y="907"/>
                    </a:lnTo>
                    <a:lnTo>
                      <a:pt x="556" y="905"/>
                    </a:lnTo>
                    <a:lnTo>
                      <a:pt x="556" y="905"/>
                    </a:lnTo>
                    <a:lnTo>
                      <a:pt x="552" y="903"/>
                    </a:lnTo>
                    <a:lnTo>
                      <a:pt x="550" y="899"/>
                    </a:lnTo>
                    <a:lnTo>
                      <a:pt x="549" y="896"/>
                    </a:lnTo>
                    <a:lnTo>
                      <a:pt x="549" y="892"/>
                    </a:lnTo>
                    <a:lnTo>
                      <a:pt x="551" y="885"/>
                    </a:lnTo>
                    <a:lnTo>
                      <a:pt x="552" y="877"/>
                    </a:lnTo>
                    <a:lnTo>
                      <a:pt x="552" y="873"/>
                    </a:lnTo>
                    <a:lnTo>
                      <a:pt x="551" y="869"/>
                    </a:lnTo>
                    <a:lnTo>
                      <a:pt x="549" y="866"/>
                    </a:lnTo>
                    <a:lnTo>
                      <a:pt x="547" y="862"/>
                    </a:lnTo>
                    <a:lnTo>
                      <a:pt x="544" y="859"/>
                    </a:lnTo>
                    <a:lnTo>
                      <a:pt x="541" y="857"/>
                    </a:lnTo>
                    <a:lnTo>
                      <a:pt x="536" y="854"/>
                    </a:lnTo>
                    <a:lnTo>
                      <a:pt x="525" y="851"/>
                    </a:lnTo>
                    <a:lnTo>
                      <a:pt x="521" y="850"/>
                    </a:lnTo>
                    <a:lnTo>
                      <a:pt x="519" y="846"/>
                    </a:lnTo>
                    <a:lnTo>
                      <a:pt x="519" y="843"/>
                    </a:lnTo>
                    <a:lnTo>
                      <a:pt x="519" y="839"/>
                    </a:lnTo>
                    <a:lnTo>
                      <a:pt x="529" y="817"/>
                    </a:lnTo>
                    <a:lnTo>
                      <a:pt x="529" y="815"/>
                    </a:lnTo>
                    <a:lnTo>
                      <a:pt x="531" y="806"/>
                    </a:lnTo>
                    <a:lnTo>
                      <a:pt x="531" y="800"/>
                    </a:lnTo>
                    <a:lnTo>
                      <a:pt x="530" y="797"/>
                    </a:lnTo>
                    <a:lnTo>
                      <a:pt x="529" y="793"/>
                    </a:lnTo>
                    <a:lnTo>
                      <a:pt x="527" y="790"/>
                    </a:lnTo>
                    <a:lnTo>
                      <a:pt x="524" y="787"/>
                    </a:lnTo>
                    <a:lnTo>
                      <a:pt x="520" y="786"/>
                    </a:lnTo>
                    <a:lnTo>
                      <a:pt x="517" y="786"/>
                    </a:lnTo>
                    <a:lnTo>
                      <a:pt x="501" y="788"/>
                    </a:lnTo>
                    <a:lnTo>
                      <a:pt x="466" y="799"/>
                    </a:lnTo>
                    <a:lnTo>
                      <a:pt x="452" y="801"/>
                    </a:lnTo>
                    <a:lnTo>
                      <a:pt x="449" y="800"/>
                    </a:lnTo>
                    <a:lnTo>
                      <a:pt x="447" y="797"/>
                    </a:lnTo>
                    <a:lnTo>
                      <a:pt x="446" y="790"/>
                    </a:lnTo>
                    <a:lnTo>
                      <a:pt x="445" y="786"/>
                    </a:lnTo>
                    <a:lnTo>
                      <a:pt x="444" y="783"/>
                    </a:lnTo>
                    <a:lnTo>
                      <a:pt x="441" y="781"/>
                    </a:lnTo>
                    <a:lnTo>
                      <a:pt x="436" y="781"/>
                    </a:lnTo>
                    <a:lnTo>
                      <a:pt x="418" y="785"/>
                    </a:lnTo>
                    <a:lnTo>
                      <a:pt x="411" y="785"/>
                    </a:lnTo>
                    <a:lnTo>
                      <a:pt x="406" y="784"/>
                    </a:lnTo>
                    <a:lnTo>
                      <a:pt x="402" y="781"/>
                    </a:lnTo>
                    <a:lnTo>
                      <a:pt x="398" y="777"/>
                    </a:lnTo>
                    <a:lnTo>
                      <a:pt x="384" y="762"/>
                    </a:lnTo>
                    <a:lnTo>
                      <a:pt x="371" y="750"/>
                    </a:lnTo>
                    <a:lnTo>
                      <a:pt x="369" y="747"/>
                    </a:lnTo>
                    <a:lnTo>
                      <a:pt x="362" y="737"/>
                    </a:lnTo>
                    <a:lnTo>
                      <a:pt x="359" y="733"/>
                    </a:lnTo>
                    <a:lnTo>
                      <a:pt x="354" y="731"/>
                    </a:lnTo>
                    <a:lnTo>
                      <a:pt x="349" y="732"/>
                    </a:lnTo>
                    <a:lnTo>
                      <a:pt x="338" y="735"/>
                    </a:lnTo>
                    <a:lnTo>
                      <a:pt x="316" y="737"/>
                    </a:lnTo>
                    <a:lnTo>
                      <a:pt x="312" y="738"/>
                    </a:lnTo>
                    <a:lnTo>
                      <a:pt x="310" y="729"/>
                    </a:lnTo>
                    <a:lnTo>
                      <a:pt x="309" y="724"/>
                    </a:lnTo>
                    <a:lnTo>
                      <a:pt x="309" y="721"/>
                    </a:lnTo>
                    <a:lnTo>
                      <a:pt x="307" y="718"/>
                    </a:lnTo>
                    <a:lnTo>
                      <a:pt x="305" y="716"/>
                    </a:lnTo>
                    <a:lnTo>
                      <a:pt x="305" y="713"/>
                    </a:lnTo>
                    <a:lnTo>
                      <a:pt x="304" y="710"/>
                    </a:lnTo>
                    <a:lnTo>
                      <a:pt x="301" y="712"/>
                    </a:lnTo>
                    <a:lnTo>
                      <a:pt x="299" y="711"/>
                    </a:lnTo>
                    <a:lnTo>
                      <a:pt x="298" y="711"/>
                    </a:lnTo>
                    <a:lnTo>
                      <a:pt x="298" y="714"/>
                    </a:lnTo>
                    <a:lnTo>
                      <a:pt x="300" y="716"/>
                    </a:lnTo>
                    <a:lnTo>
                      <a:pt x="303" y="717"/>
                    </a:lnTo>
                    <a:lnTo>
                      <a:pt x="303" y="719"/>
                    </a:lnTo>
                    <a:lnTo>
                      <a:pt x="298" y="718"/>
                    </a:lnTo>
                    <a:lnTo>
                      <a:pt x="294" y="715"/>
                    </a:lnTo>
                    <a:lnTo>
                      <a:pt x="294" y="706"/>
                    </a:lnTo>
                    <a:lnTo>
                      <a:pt x="286" y="696"/>
                    </a:lnTo>
                    <a:lnTo>
                      <a:pt x="283" y="684"/>
                    </a:lnTo>
                    <a:lnTo>
                      <a:pt x="282" y="679"/>
                    </a:lnTo>
                    <a:lnTo>
                      <a:pt x="281" y="675"/>
                    </a:lnTo>
                    <a:lnTo>
                      <a:pt x="279" y="671"/>
                    </a:lnTo>
                    <a:lnTo>
                      <a:pt x="277" y="668"/>
                    </a:lnTo>
                    <a:lnTo>
                      <a:pt x="275" y="666"/>
                    </a:lnTo>
                    <a:lnTo>
                      <a:pt x="273" y="666"/>
                    </a:lnTo>
                    <a:lnTo>
                      <a:pt x="271" y="665"/>
                    </a:lnTo>
                    <a:lnTo>
                      <a:pt x="270" y="663"/>
                    </a:lnTo>
                    <a:lnTo>
                      <a:pt x="268" y="661"/>
                    </a:lnTo>
                    <a:lnTo>
                      <a:pt x="267" y="657"/>
                    </a:lnTo>
                    <a:lnTo>
                      <a:pt x="265" y="655"/>
                    </a:lnTo>
                    <a:lnTo>
                      <a:pt x="259" y="654"/>
                    </a:lnTo>
                    <a:lnTo>
                      <a:pt x="257" y="652"/>
                    </a:lnTo>
                    <a:lnTo>
                      <a:pt x="256" y="650"/>
                    </a:lnTo>
                    <a:lnTo>
                      <a:pt x="254" y="648"/>
                    </a:lnTo>
                    <a:lnTo>
                      <a:pt x="251" y="644"/>
                    </a:lnTo>
                    <a:lnTo>
                      <a:pt x="247" y="641"/>
                    </a:lnTo>
                    <a:lnTo>
                      <a:pt x="244" y="640"/>
                    </a:lnTo>
                    <a:lnTo>
                      <a:pt x="241" y="640"/>
                    </a:lnTo>
                    <a:lnTo>
                      <a:pt x="237" y="637"/>
                    </a:lnTo>
                    <a:lnTo>
                      <a:pt x="235" y="635"/>
                    </a:lnTo>
                    <a:lnTo>
                      <a:pt x="232" y="632"/>
                    </a:lnTo>
                    <a:lnTo>
                      <a:pt x="228" y="628"/>
                    </a:lnTo>
                    <a:lnTo>
                      <a:pt x="225" y="625"/>
                    </a:lnTo>
                    <a:lnTo>
                      <a:pt x="222" y="623"/>
                    </a:lnTo>
                    <a:lnTo>
                      <a:pt x="217" y="618"/>
                    </a:lnTo>
                    <a:lnTo>
                      <a:pt x="215" y="617"/>
                    </a:lnTo>
                    <a:lnTo>
                      <a:pt x="211" y="618"/>
                    </a:lnTo>
                    <a:lnTo>
                      <a:pt x="208" y="617"/>
                    </a:lnTo>
                    <a:lnTo>
                      <a:pt x="205" y="614"/>
                    </a:lnTo>
                    <a:lnTo>
                      <a:pt x="198" y="610"/>
                    </a:lnTo>
                    <a:lnTo>
                      <a:pt x="193" y="606"/>
                    </a:lnTo>
                    <a:lnTo>
                      <a:pt x="194" y="603"/>
                    </a:lnTo>
                    <a:lnTo>
                      <a:pt x="197" y="602"/>
                    </a:lnTo>
                    <a:lnTo>
                      <a:pt x="201" y="601"/>
                    </a:lnTo>
                    <a:lnTo>
                      <a:pt x="199" y="599"/>
                    </a:lnTo>
                    <a:lnTo>
                      <a:pt x="197" y="600"/>
                    </a:lnTo>
                    <a:lnTo>
                      <a:pt x="194" y="602"/>
                    </a:lnTo>
                    <a:lnTo>
                      <a:pt x="193" y="599"/>
                    </a:lnTo>
                    <a:lnTo>
                      <a:pt x="195" y="596"/>
                    </a:lnTo>
                    <a:lnTo>
                      <a:pt x="195" y="593"/>
                    </a:lnTo>
                    <a:lnTo>
                      <a:pt x="194" y="592"/>
                    </a:lnTo>
                    <a:lnTo>
                      <a:pt x="192" y="594"/>
                    </a:lnTo>
                    <a:lnTo>
                      <a:pt x="190" y="594"/>
                    </a:lnTo>
                    <a:lnTo>
                      <a:pt x="189" y="595"/>
                    </a:lnTo>
                    <a:lnTo>
                      <a:pt x="190" y="597"/>
                    </a:lnTo>
                    <a:lnTo>
                      <a:pt x="191" y="599"/>
                    </a:lnTo>
                    <a:lnTo>
                      <a:pt x="191" y="602"/>
                    </a:lnTo>
                    <a:lnTo>
                      <a:pt x="190" y="603"/>
                    </a:lnTo>
                    <a:lnTo>
                      <a:pt x="187" y="602"/>
                    </a:lnTo>
                    <a:lnTo>
                      <a:pt x="181" y="603"/>
                    </a:lnTo>
                    <a:lnTo>
                      <a:pt x="174" y="598"/>
                    </a:lnTo>
                    <a:lnTo>
                      <a:pt x="172" y="595"/>
                    </a:lnTo>
                    <a:lnTo>
                      <a:pt x="165" y="590"/>
                    </a:lnTo>
                    <a:lnTo>
                      <a:pt x="164" y="587"/>
                    </a:lnTo>
                    <a:lnTo>
                      <a:pt x="161" y="585"/>
                    </a:lnTo>
                    <a:lnTo>
                      <a:pt x="158" y="584"/>
                    </a:lnTo>
                    <a:lnTo>
                      <a:pt x="156" y="582"/>
                    </a:lnTo>
                    <a:lnTo>
                      <a:pt x="153" y="579"/>
                    </a:lnTo>
                    <a:lnTo>
                      <a:pt x="150" y="578"/>
                    </a:lnTo>
                    <a:lnTo>
                      <a:pt x="146" y="578"/>
                    </a:lnTo>
                    <a:lnTo>
                      <a:pt x="144" y="578"/>
                    </a:lnTo>
                    <a:lnTo>
                      <a:pt x="142" y="579"/>
                    </a:lnTo>
                    <a:lnTo>
                      <a:pt x="141" y="582"/>
                    </a:lnTo>
                    <a:lnTo>
                      <a:pt x="142" y="586"/>
                    </a:lnTo>
                    <a:lnTo>
                      <a:pt x="135" y="586"/>
                    </a:lnTo>
                    <a:lnTo>
                      <a:pt x="133" y="583"/>
                    </a:lnTo>
                    <a:lnTo>
                      <a:pt x="128" y="580"/>
                    </a:lnTo>
                    <a:lnTo>
                      <a:pt x="124" y="582"/>
                    </a:lnTo>
                    <a:lnTo>
                      <a:pt x="120" y="578"/>
                    </a:lnTo>
                    <a:lnTo>
                      <a:pt x="118" y="574"/>
                    </a:lnTo>
                    <a:lnTo>
                      <a:pt x="114" y="569"/>
                    </a:lnTo>
                    <a:lnTo>
                      <a:pt x="108" y="564"/>
                    </a:lnTo>
                    <a:lnTo>
                      <a:pt x="106" y="557"/>
                    </a:lnTo>
                    <a:lnTo>
                      <a:pt x="108" y="554"/>
                    </a:lnTo>
                    <a:lnTo>
                      <a:pt x="109" y="554"/>
                    </a:lnTo>
                    <a:lnTo>
                      <a:pt x="112" y="556"/>
                    </a:lnTo>
                    <a:lnTo>
                      <a:pt x="114" y="553"/>
                    </a:lnTo>
                    <a:lnTo>
                      <a:pt x="112" y="549"/>
                    </a:lnTo>
                    <a:lnTo>
                      <a:pt x="100" y="532"/>
                    </a:lnTo>
                    <a:lnTo>
                      <a:pt x="101" y="531"/>
                    </a:lnTo>
                    <a:lnTo>
                      <a:pt x="103" y="519"/>
                    </a:lnTo>
                    <a:lnTo>
                      <a:pt x="104" y="517"/>
                    </a:lnTo>
                    <a:lnTo>
                      <a:pt x="106" y="513"/>
                    </a:lnTo>
                    <a:lnTo>
                      <a:pt x="109" y="511"/>
                    </a:lnTo>
                    <a:lnTo>
                      <a:pt x="112" y="509"/>
                    </a:lnTo>
                    <a:lnTo>
                      <a:pt x="115" y="508"/>
                    </a:lnTo>
                    <a:lnTo>
                      <a:pt x="129" y="508"/>
                    </a:lnTo>
                    <a:lnTo>
                      <a:pt x="135" y="507"/>
                    </a:lnTo>
                    <a:lnTo>
                      <a:pt x="139" y="505"/>
                    </a:lnTo>
                    <a:lnTo>
                      <a:pt x="143" y="504"/>
                    </a:lnTo>
                    <a:lnTo>
                      <a:pt x="148" y="502"/>
                    </a:lnTo>
                    <a:lnTo>
                      <a:pt x="151" y="497"/>
                    </a:lnTo>
                    <a:lnTo>
                      <a:pt x="156" y="492"/>
                    </a:lnTo>
                    <a:lnTo>
                      <a:pt x="159" y="488"/>
                    </a:lnTo>
                    <a:lnTo>
                      <a:pt x="164" y="486"/>
                    </a:lnTo>
                    <a:lnTo>
                      <a:pt x="167" y="485"/>
                    </a:lnTo>
                    <a:lnTo>
                      <a:pt x="171" y="486"/>
                    </a:lnTo>
                    <a:lnTo>
                      <a:pt x="178" y="487"/>
                    </a:lnTo>
                    <a:lnTo>
                      <a:pt x="187" y="487"/>
                    </a:lnTo>
                    <a:lnTo>
                      <a:pt x="190" y="486"/>
                    </a:lnTo>
                    <a:lnTo>
                      <a:pt x="195" y="484"/>
                    </a:lnTo>
                    <a:lnTo>
                      <a:pt x="198" y="481"/>
                    </a:lnTo>
                    <a:lnTo>
                      <a:pt x="202" y="477"/>
                    </a:lnTo>
                    <a:lnTo>
                      <a:pt x="203" y="473"/>
                    </a:lnTo>
                    <a:lnTo>
                      <a:pt x="204" y="470"/>
                    </a:lnTo>
                    <a:lnTo>
                      <a:pt x="202" y="410"/>
                    </a:lnTo>
                    <a:lnTo>
                      <a:pt x="208" y="367"/>
                    </a:lnTo>
                    <a:lnTo>
                      <a:pt x="208" y="364"/>
                    </a:lnTo>
                    <a:lnTo>
                      <a:pt x="206" y="360"/>
                    </a:lnTo>
                    <a:lnTo>
                      <a:pt x="204" y="358"/>
                    </a:lnTo>
                    <a:lnTo>
                      <a:pt x="202" y="357"/>
                    </a:lnTo>
                    <a:lnTo>
                      <a:pt x="198" y="356"/>
                    </a:lnTo>
                    <a:lnTo>
                      <a:pt x="188" y="356"/>
                    </a:lnTo>
                    <a:lnTo>
                      <a:pt x="185" y="355"/>
                    </a:lnTo>
                    <a:lnTo>
                      <a:pt x="183" y="354"/>
                    </a:lnTo>
                    <a:lnTo>
                      <a:pt x="182" y="350"/>
                    </a:lnTo>
                    <a:lnTo>
                      <a:pt x="176" y="328"/>
                    </a:lnTo>
                    <a:lnTo>
                      <a:pt x="171" y="313"/>
                    </a:lnTo>
                    <a:lnTo>
                      <a:pt x="168" y="308"/>
                    </a:lnTo>
                    <a:lnTo>
                      <a:pt x="165" y="305"/>
                    </a:lnTo>
                    <a:lnTo>
                      <a:pt x="163" y="301"/>
                    </a:lnTo>
                    <a:lnTo>
                      <a:pt x="141" y="282"/>
                    </a:lnTo>
                    <a:lnTo>
                      <a:pt x="138" y="279"/>
                    </a:lnTo>
                    <a:lnTo>
                      <a:pt x="136" y="275"/>
                    </a:lnTo>
                    <a:lnTo>
                      <a:pt x="135" y="271"/>
                    </a:lnTo>
                    <a:lnTo>
                      <a:pt x="132" y="261"/>
                    </a:lnTo>
                    <a:lnTo>
                      <a:pt x="130" y="259"/>
                    </a:lnTo>
                    <a:lnTo>
                      <a:pt x="128" y="258"/>
                    </a:lnTo>
                    <a:lnTo>
                      <a:pt x="98" y="240"/>
                    </a:lnTo>
                    <a:lnTo>
                      <a:pt x="95" y="239"/>
                    </a:lnTo>
                    <a:lnTo>
                      <a:pt x="91" y="241"/>
                    </a:lnTo>
                    <a:lnTo>
                      <a:pt x="84" y="245"/>
                    </a:lnTo>
                    <a:lnTo>
                      <a:pt x="82" y="246"/>
                    </a:lnTo>
                    <a:lnTo>
                      <a:pt x="81" y="244"/>
                    </a:lnTo>
                    <a:lnTo>
                      <a:pt x="80" y="241"/>
                    </a:lnTo>
                    <a:lnTo>
                      <a:pt x="78" y="233"/>
                    </a:lnTo>
                    <a:lnTo>
                      <a:pt x="75" y="226"/>
                    </a:lnTo>
                    <a:lnTo>
                      <a:pt x="66" y="206"/>
                    </a:lnTo>
                    <a:lnTo>
                      <a:pt x="65" y="202"/>
                    </a:lnTo>
                    <a:lnTo>
                      <a:pt x="65" y="198"/>
                    </a:lnTo>
                    <a:lnTo>
                      <a:pt x="65" y="194"/>
                    </a:lnTo>
                    <a:lnTo>
                      <a:pt x="66" y="191"/>
                    </a:lnTo>
                    <a:lnTo>
                      <a:pt x="68" y="183"/>
                    </a:lnTo>
                    <a:lnTo>
                      <a:pt x="79" y="166"/>
                    </a:lnTo>
                    <a:lnTo>
                      <a:pt x="80" y="163"/>
                    </a:lnTo>
                    <a:lnTo>
                      <a:pt x="81" y="159"/>
                    </a:lnTo>
                    <a:lnTo>
                      <a:pt x="81" y="154"/>
                    </a:lnTo>
                    <a:lnTo>
                      <a:pt x="79" y="150"/>
                    </a:lnTo>
                    <a:lnTo>
                      <a:pt x="76" y="146"/>
                    </a:lnTo>
                    <a:lnTo>
                      <a:pt x="73" y="145"/>
                    </a:lnTo>
                    <a:lnTo>
                      <a:pt x="53" y="139"/>
                    </a:lnTo>
                    <a:lnTo>
                      <a:pt x="49" y="137"/>
                    </a:lnTo>
                    <a:lnTo>
                      <a:pt x="45" y="135"/>
                    </a:lnTo>
                    <a:lnTo>
                      <a:pt x="42" y="131"/>
                    </a:lnTo>
                    <a:lnTo>
                      <a:pt x="39" y="128"/>
                    </a:lnTo>
                    <a:lnTo>
                      <a:pt x="37" y="123"/>
                    </a:lnTo>
                    <a:lnTo>
                      <a:pt x="35" y="120"/>
                    </a:lnTo>
                    <a:lnTo>
                      <a:pt x="34" y="115"/>
                    </a:lnTo>
                    <a:lnTo>
                      <a:pt x="33" y="111"/>
                    </a:lnTo>
                    <a:lnTo>
                      <a:pt x="33" y="103"/>
                    </a:lnTo>
                    <a:lnTo>
                      <a:pt x="37" y="77"/>
                    </a:lnTo>
                    <a:lnTo>
                      <a:pt x="37" y="67"/>
                    </a:lnTo>
                    <a:lnTo>
                      <a:pt x="37" y="62"/>
                    </a:lnTo>
                    <a:lnTo>
                      <a:pt x="34" y="51"/>
                    </a:lnTo>
                    <a:lnTo>
                      <a:pt x="33" y="47"/>
                    </a:lnTo>
                    <a:lnTo>
                      <a:pt x="31" y="46"/>
                    </a:lnTo>
                    <a:lnTo>
                      <a:pt x="29" y="43"/>
                    </a:lnTo>
                    <a:lnTo>
                      <a:pt x="26" y="40"/>
                    </a:lnTo>
                    <a:lnTo>
                      <a:pt x="22" y="39"/>
                    </a:lnTo>
                    <a:lnTo>
                      <a:pt x="21" y="39"/>
                    </a:lnTo>
                    <a:lnTo>
                      <a:pt x="17" y="39"/>
                    </a:lnTo>
                    <a:lnTo>
                      <a:pt x="7" y="41"/>
                    </a:lnTo>
                    <a:lnTo>
                      <a:pt x="3" y="41"/>
                    </a:lnTo>
                    <a:lnTo>
                      <a:pt x="0" y="39"/>
                    </a:lnTo>
                    <a:lnTo>
                      <a:pt x="0" y="36"/>
                    </a:lnTo>
                    <a:lnTo>
                      <a:pt x="0" y="33"/>
                    </a:lnTo>
                    <a:lnTo>
                      <a:pt x="4" y="30"/>
                    </a:lnTo>
                    <a:lnTo>
                      <a:pt x="7" y="28"/>
                    </a:lnTo>
                    <a:lnTo>
                      <a:pt x="26" y="23"/>
                    </a:lnTo>
                    <a:lnTo>
                      <a:pt x="69" y="3"/>
                    </a:lnTo>
                    <a:lnTo>
                      <a:pt x="73" y="1"/>
                    </a:lnTo>
                    <a:lnTo>
                      <a:pt x="77" y="1"/>
                    </a:lnTo>
                    <a:lnTo>
                      <a:pt x="82" y="3"/>
                    </a:lnTo>
                    <a:lnTo>
                      <a:pt x="90" y="6"/>
                    </a:lnTo>
                    <a:lnTo>
                      <a:pt x="105" y="15"/>
                    </a:lnTo>
                    <a:lnTo>
                      <a:pt x="109" y="17"/>
                    </a:lnTo>
                    <a:lnTo>
                      <a:pt x="116" y="18"/>
                    </a:lnTo>
                    <a:lnTo>
                      <a:pt x="120" y="18"/>
                    </a:lnTo>
                    <a:lnTo>
                      <a:pt x="124" y="17"/>
                    </a:lnTo>
                    <a:lnTo>
                      <a:pt x="128" y="16"/>
                    </a:lnTo>
                    <a:lnTo>
                      <a:pt x="159" y="0"/>
                    </a:lnTo>
                    <a:lnTo>
                      <a:pt x="162" y="0"/>
                    </a:lnTo>
                    <a:lnTo>
                      <a:pt x="165" y="0"/>
                    </a:lnTo>
                    <a:lnTo>
                      <a:pt x="169" y="3"/>
                    </a:lnTo>
                    <a:lnTo>
                      <a:pt x="172" y="7"/>
                    </a:lnTo>
                    <a:lnTo>
                      <a:pt x="173" y="10"/>
                    </a:lnTo>
                    <a:lnTo>
                      <a:pt x="178" y="27"/>
                    </a:lnTo>
                    <a:lnTo>
                      <a:pt x="181" y="35"/>
                    </a:lnTo>
                    <a:lnTo>
                      <a:pt x="185" y="41"/>
                    </a:lnTo>
                    <a:lnTo>
                      <a:pt x="194" y="55"/>
                    </a:lnTo>
                    <a:lnTo>
                      <a:pt x="197" y="59"/>
                    </a:lnTo>
                    <a:lnTo>
                      <a:pt x="203" y="61"/>
                    </a:lnTo>
                    <a:lnTo>
                      <a:pt x="210" y="63"/>
                    </a:lnTo>
                    <a:lnTo>
                      <a:pt x="226" y="63"/>
                    </a:lnTo>
                    <a:lnTo>
                      <a:pt x="231" y="64"/>
                    </a:lnTo>
                    <a:lnTo>
                      <a:pt x="233" y="65"/>
                    </a:lnTo>
                    <a:lnTo>
                      <a:pt x="236" y="68"/>
                    </a:lnTo>
                    <a:lnTo>
                      <a:pt x="238" y="70"/>
                    </a:lnTo>
                    <a:lnTo>
                      <a:pt x="239" y="72"/>
                    </a:lnTo>
                    <a:lnTo>
                      <a:pt x="238" y="76"/>
                    </a:lnTo>
                    <a:lnTo>
                      <a:pt x="239" y="78"/>
                    </a:lnTo>
                    <a:lnTo>
                      <a:pt x="240" y="82"/>
                    </a:lnTo>
                    <a:lnTo>
                      <a:pt x="242" y="84"/>
                    </a:lnTo>
                    <a:lnTo>
                      <a:pt x="253" y="92"/>
                    </a:lnTo>
                    <a:lnTo>
                      <a:pt x="256" y="95"/>
                    </a:lnTo>
                    <a:lnTo>
                      <a:pt x="257" y="99"/>
                    </a:lnTo>
                    <a:lnTo>
                      <a:pt x="257" y="102"/>
                    </a:lnTo>
                    <a:lnTo>
                      <a:pt x="256" y="106"/>
                    </a:lnTo>
                    <a:lnTo>
                      <a:pt x="256" y="109"/>
                    </a:lnTo>
                    <a:lnTo>
                      <a:pt x="258" y="113"/>
                    </a:lnTo>
                    <a:lnTo>
                      <a:pt x="261" y="114"/>
                    </a:lnTo>
                    <a:lnTo>
                      <a:pt x="266" y="112"/>
                    </a:lnTo>
                    <a:lnTo>
                      <a:pt x="271" y="109"/>
                    </a:lnTo>
                    <a:lnTo>
                      <a:pt x="286" y="97"/>
                    </a:lnTo>
                    <a:lnTo>
                      <a:pt x="288" y="96"/>
                    </a:lnTo>
                    <a:lnTo>
                      <a:pt x="292" y="95"/>
                    </a:lnTo>
                    <a:lnTo>
                      <a:pt x="296" y="96"/>
                    </a:lnTo>
                    <a:lnTo>
                      <a:pt x="301" y="97"/>
                    </a:lnTo>
                    <a:lnTo>
                      <a:pt x="314" y="103"/>
                    </a:lnTo>
                    <a:lnTo>
                      <a:pt x="318" y="105"/>
                    </a:lnTo>
                    <a:lnTo>
                      <a:pt x="322" y="105"/>
                    </a:lnTo>
                    <a:lnTo>
                      <a:pt x="326" y="103"/>
                    </a:lnTo>
                    <a:lnTo>
                      <a:pt x="327" y="100"/>
                    </a:lnTo>
                    <a:lnTo>
                      <a:pt x="326" y="97"/>
                    </a:lnTo>
                    <a:lnTo>
                      <a:pt x="325" y="92"/>
                    </a:lnTo>
                    <a:lnTo>
                      <a:pt x="326" y="90"/>
                    </a:lnTo>
                    <a:lnTo>
                      <a:pt x="328" y="87"/>
                    </a:lnTo>
                    <a:lnTo>
                      <a:pt x="331" y="88"/>
                    </a:lnTo>
                    <a:lnTo>
                      <a:pt x="335" y="91"/>
                    </a:lnTo>
                    <a:lnTo>
                      <a:pt x="337" y="95"/>
                    </a:lnTo>
                    <a:lnTo>
                      <a:pt x="339" y="102"/>
                    </a:lnTo>
                    <a:lnTo>
                      <a:pt x="344" y="106"/>
                    </a:lnTo>
                    <a:lnTo>
                      <a:pt x="349" y="109"/>
                    </a:lnTo>
                    <a:lnTo>
                      <a:pt x="370" y="116"/>
                    </a:lnTo>
                    <a:lnTo>
                      <a:pt x="391" y="132"/>
                    </a:lnTo>
                    <a:lnTo>
                      <a:pt x="397" y="134"/>
                    </a:lnTo>
                    <a:lnTo>
                      <a:pt x="406" y="136"/>
                    </a:lnTo>
                    <a:lnTo>
                      <a:pt x="422" y="136"/>
                    </a:lnTo>
                    <a:lnTo>
                      <a:pt x="491" y="124"/>
                    </a:lnTo>
                    <a:lnTo>
                      <a:pt x="496" y="125"/>
                    </a:lnTo>
                    <a:lnTo>
                      <a:pt x="499" y="127"/>
                    </a:lnTo>
                    <a:lnTo>
                      <a:pt x="502" y="130"/>
                    </a:lnTo>
                    <a:lnTo>
                      <a:pt x="508" y="138"/>
                    </a:lnTo>
                    <a:lnTo>
                      <a:pt x="508" y="138"/>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76" name="Freeform 10">
                <a:extLst>
                  <a:ext uri="{FF2B5EF4-FFF2-40B4-BE49-F238E27FC236}"/>
                </a:extLst>
              </p:cNvPr>
              <p:cNvSpPr>
                <a:spLocks/>
              </p:cNvSpPr>
              <p:nvPr/>
            </p:nvSpPr>
            <p:spPr bwMode="auto">
              <a:xfrm>
                <a:off x="3513820" y="3322765"/>
                <a:ext cx="915774" cy="801281"/>
              </a:xfrm>
              <a:custGeom>
                <a:avLst/>
                <a:gdLst>
                  <a:gd name="T0" fmla="*/ 563 w 574"/>
                  <a:gd name="T1" fmla="*/ 35 h 506"/>
                  <a:gd name="T2" fmla="*/ 572 w 574"/>
                  <a:gd name="T3" fmla="*/ 51 h 506"/>
                  <a:gd name="T4" fmla="*/ 573 w 574"/>
                  <a:gd name="T5" fmla="*/ 64 h 506"/>
                  <a:gd name="T6" fmla="*/ 563 w 574"/>
                  <a:gd name="T7" fmla="*/ 74 h 506"/>
                  <a:gd name="T8" fmla="*/ 539 w 574"/>
                  <a:gd name="T9" fmla="*/ 90 h 506"/>
                  <a:gd name="T10" fmla="*/ 515 w 574"/>
                  <a:gd name="T11" fmla="*/ 118 h 506"/>
                  <a:gd name="T12" fmla="*/ 498 w 574"/>
                  <a:gd name="T13" fmla="*/ 127 h 506"/>
                  <a:gd name="T14" fmla="*/ 496 w 574"/>
                  <a:gd name="T15" fmla="*/ 173 h 506"/>
                  <a:gd name="T16" fmla="*/ 501 w 574"/>
                  <a:gd name="T17" fmla="*/ 188 h 506"/>
                  <a:gd name="T18" fmla="*/ 546 w 574"/>
                  <a:gd name="T19" fmla="*/ 249 h 506"/>
                  <a:gd name="T20" fmla="*/ 544 w 574"/>
                  <a:gd name="T21" fmla="*/ 270 h 506"/>
                  <a:gd name="T22" fmla="*/ 554 w 574"/>
                  <a:gd name="T23" fmla="*/ 294 h 506"/>
                  <a:gd name="T24" fmla="*/ 555 w 574"/>
                  <a:gd name="T25" fmla="*/ 321 h 506"/>
                  <a:gd name="T26" fmla="*/ 545 w 574"/>
                  <a:gd name="T27" fmla="*/ 329 h 506"/>
                  <a:gd name="T28" fmla="*/ 446 w 574"/>
                  <a:gd name="T29" fmla="*/ 326 h 506"/>
                  <a:gd name="T30" fmla="*/ 433 w 574"/>
                  <a:gd name="T31" fmla="*/ 331 h 506"/>
                  <a:gd name="T32" fmla="*/ 418 w 574"/>
                  <a:gd name="T33" fmla="*/ 354 h 506"/>
                  <a:gd name="T34" fmla="*/ 390 w 574"/>
                  <a:gd name="T35" fmla="*/ 380 h 506"/>
                  <a:gd name="T36" fmla="*/ 319 w 574"/>
                  <a:gd name="T37" fmla="*/ 401 h 506"/>
                  <a:gd name="T38" fmla="*/ 280 w 574"/>
                  <a:gd name="T39" fmla="*/ 447 h 506"/>
                  <a:gd name="T40" fmla="*/ 286 w 574"/>
                  <a:gd name="T41" fmla="*/ 467 h 506"/>
                  <a:gd name="T42" fmla="*/ 282 w 574"/>
                  <a:gd name="T43" fmla="*/ 487 h 506"/>
                  <a:gd name="T44" fmla="*/ 267 w 574"/>
                  <a:gd name="T45" fmla="*/ 493 h 506"/>
                  <a:gd name="T46" fmla="*/ 214 w 574"/>
                  <a:gd name="T47" fmla="*/ 493 h 506"/>
                  <a:gd name="T48" fmla="*/ 146 w 574"/>
                  <a:gd name="T49" fmla="*/ 476 h 506"/>
                  <a:gd name="T50" fmla="*/ 130 w 574"/>
                  <a:gd name="T51" fmla="*/ 481 h 506"/>
                  <a:gd name="T52" fmla="*/ 99 w 574"/>
                  <a:gd name="T53" fmla="*/ 496 h 506"/>
                  <a:gd name="T54" fmla="*/ 83 w 574"/>
                  <a:gd name="T55" fmla="*/ 447 h 506"/>
                  <a:gd name="T56" fmla="*/ 72 w 574"/>
                  <a:gd name="T57" fmla="*/ 432 h 506"/>
                  <a:gd name="T58" fmla="*/ 39 w 574"/>
                  <a:gd name="T59" fmla="*/ 415 h 506"/>
                  <a:gd name="T60" fmla="*/ 40 w 574"/>
                  <a:gd name="T61" fmla="*/ 355 h 506"/>
                  <a:gd name="T62" fmla="*/ 25 w 574"/>
                  <a:gd name="T63" fmla="*/ 342 h 506"/>
                  <a:gd name="T64" fmla="*/ 13 w 574"/>
                  <a:gd name="T65" fmla="*/ 327 h 506"/>
                  <a:gd name="T66" fmla="*/ 61 w 574"/>
                  <a:gd name="T67" fmla="*/ 307 h 506"/>
                  <a:gd name="T68" fmla="*/ 90 w 574"/>
                  <a:gd name="T69" fmla="*/ 301 h 506"/>
                  <a:gd name="T70" fmla="*/ 81 w 574"/>
                  <a:gd name="T71" fmla="*/ 278 h 506"/>
                  <a:gd name="T72" fmla="*/ 83 w 574"/>
                  <a:gd name="T73" fmla="*/ 261 h 506"/>
                  <a:gd name="T74" fmla="*/ 98 w 574"/>
                  <a:gd name="T75" fmla="*/ 255 h 506"/>
                  <a:gd name="T76" fmla="*/ 121 w 574"/>
                  <a:gd name="T77" fmla="*/ 260 h 506"/>
                  <a:gd name="T78" fmla="*/ 121 w 574"/>
                  <a:gd name="T79" fmla="*/ 233 h 506"/>
                  <a:gd name="T80" fmla="*/ 125 w 574"/>
                  <a:gd name="T81" fmla="*/ 215 h 506"/>
                  <a:gd name="T82" fmla="*/ 137 w 574"/>
                  <a:gd name="T83" fmla="*/ 202 h 506"/>
                  <a:gd name="T84" fmla="*/ 157 w 574"/>
                  <a:gd name="T85" fmla="*/ 198 h 506"/>
                  <a:gd name="T86" fmla="*/ 168 w 574"/>
                  <a:gd name="T87" fmla="*/ 176 h 506"/>
                  <a:gd name="T88" fmla="*/ 290 w 574"/>
                  <a:gd name="T89" fmla="*/ 88 h 506"/>
                  <a:gd name="T90" fmla="*/ 308 w 574"/>
                  <a:gd name="T91" fmla="*/ 60 h 506"/>
                  <a:gd name="T92" fmla="*/ 399 w 574"/>
                  <a:gd name="T93" fmla="*/ 4 h 506"/>
                  <a:gd name="T94" fmla="*/ 418 w 574"/>
                  <a:gd name="T95" fmla="*/ 0 h 506"/>
                  <a:gd name="T96" fmla="*/ 444 w 574"/>
                  <a:gd name="T97" fmla="*/ 22 h 506"/>
                  <a:gd name="T98" fmla="*/ 494 w 574"/>
                  <a:gd name="T99" fmla="*/ 46 h 506"/>
                  <a:gd name="T100" fmla="*/ 515 w 574"/>
                  <a:gd name="T101" fmla="*/ 46 h 506"/>
                  <a:gd name="T102" fmla="*/ 538 w 574"/>
                  <a:gd name="T103" fmla="*/ 19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4" h="506">
                    <a:moveTo>
                      <a:pt x="538" y="19"/>
                    </a:moveTo>
                    <a:lnTo>
                      <a:pt x="549" y="25"/>
                    </a:lnTo>
                    <a:lnTo>
                      <a:pt x="556" y="30"/>
                    </a:lnTo>
                    <a:lnTo>
                      <a:pt x="563" y="35"/>
                    </a:lnTo>
                    <a:lnTo>
                      <a:pt x="566" y="39"/>
                    </a:lnTo>
                    <a:lnTo>
                      <a:pt x="569" y="43"/>
                    </a:lnTo>
                    <a:lnTo>
                      <a:pt x="572" y="47"/>
                    </a:lnTo>
                    <a:lnTo>
                      <a:pt x="572" y="51"/>
                    </a:lnTo>
                    <a:lnTo>
                      <a:pt x="573" y="55"/>
                    </a:lnTo>
                    <a:lnTo>
                      <a:pt x="574" y="58"/>
                    </a:lnTo>
                    <a:lnTo>
                      <a:pt x="574" y="62"/>
                    </a:lnTo>
                    <a:lnTo>
                      <a:pt x="573" y="64"/>
                    </a:lnTo>
                    <a:lnTo>
                      <a:pt x="572" y="67"/>
                    </a:lnTo>
                    <a:lnTo>
                      <a:pt x="570" y="71"/>
                    </a:lnTo>
                    <a:lnTo>
                      <a:pt x="566" y="72"/>
                    </a:lnTo>
                    <a:lnTo>
                      <a:pt x="563" y="74"/>
                    </a:lnTo>
                    <a:lnTo>
                      <a:pt x="555" y="78"/>
                    </a:lnTo>
                    <a:lnTo>
                      <a:pt x="550" y="80"/>
                    </a:lnTo>
                    <a:lnTo>
                      <a:pt x="546" y="83"/>
                    </a:lnTo>
                    <a:lnTo>
                      <a:pt x="539" y="90"/>
                    </a:lnTo>
                    <a:lnTo>
                      <a:pt x="533" y="97"/>
                    </a:lnTo>
                    <a:lnTo>
                      <a:pt x="520" y="115"/>
                    </a:lnTo>
                    <a:lnTo>
                      <a:pt x="518" y="118"/>
                    </a:lnTo>
                    <a:lnTo>
                      <a:pt x="515" y="118"/>
                    </a:lnTo>
                    <a:lnTo>
                      <a:pt x="509" y="120"/>
                    </a:lnTo>
                    <a:lnTo>
                      <a:pt x="504" y="121"/>
                    </a:lnTo>
                    <a:lnTo>
                      <a:pt x="501" y="124"/>
                    </a:lnTo>
                    <a:lnTo>
                      <a:pt x="498" y="127"/>
                    </a:lnTo>
                    <a:lnTo>
                      <a:pt x="497" y="132"/>
                    </a:lnTo>
                    <a:lnTo>
                      <a:pt x="499" y="141"/>
                    </a:lnTo>
                    <a:lnTo>
                      <a:pt x="499" y="148"/>
                    </a:lnTo>
                    <a:lnTo>
                      <a:pt x="496" y="173"/>
                    </a:lnTo>
                    <a:lnTo>
                      <a:pt x="496" y="177"/>
                    </a:lnTo>
                    <a:lnTo>
                      <a:pt x="497" y="180"/>
                    </a:lnTo>
                    <a:lnTo>
                      <a:pt x="498" y="185"/>
                    </a:lnTo>
                    <a:lnTo>
                      <a:pt x="501" y="188"/>
                    </a:lnTo>
                    <a:lnTo>
                      <a:pt x="514" y="202"/>
                    </a:lnTo>
                    <a:lnTo>
                      <a:pt x="519" y="207"/>
                    </a:lnTo>
                    <a:lnTo>
                      <a:pt x="533" y="232"/>
                    </a:lnTo>
                    <a:lnTo>
                      <a:pt x="546" y="249"/>
                    </a:lnTo>
                    <a:lnTo>
                      <a:pt x="546" y="249"/>
                    </a:lnTo>
                    <a:lnTo>
                      <a:pt x="547" y="255"/>
                    </a:lnTo>
                    <a:lnTo>
                      <a:pt x="545" y="264"/>
                    </a:lnTo>
                    <a:lnTo>
                      <a:pt x="544" y="270"/>
                    </a:lnTo>
                    <a:lnTo>
                      <a:pt x="545" y="274"/>
                    </a:lnTo>
                    <a:lnTo>
                      <a:pt x="550" y="282"/>
                    </a:lnTo>
                    <a:lnTo>
                      <a:pt x="552" y="288"/>
                    </a:lnTo>
                    <a:lnTo>
                      <a:pt x="554" y="294"/>
                    </a:lnTo>
                    <a:lnTo>
                      <a:pt x="556" y="306"/>
                    </a:lnTo>
                    <a:lnTo>
                      <a:pt x="556" y="312"/>
                    </a:lnTo>
                    <a:lnTo>
                      <a:pt x="556" y="317"/>
                    </a:lnTo>
                    <a:lnTo>
                      <a:pt x="555" y="321"/>
                    </a:lnTo>
                    <a:lnTo>
                      <a:pt x="554" y="324"/>
                    </a:lnTo>
                    <a:lnTo>
                      <a:pt x="552" y="327"/>
                    </a:lnTo>
                    <a:lnTo>
                      <a:pt x="549" y="329"/>
                    </a:lnTo>
                    <a:lnTo>
                      <a:pt x="545" y="329"/>
                    </a:lnTo>
                    <a:lnTo>
                      <a:pt x="530" y="328"/>
                    </a:lnTo>
                    <a:lnTo>
                      <a:pt x="490" y="331"/>
                    </a:lnTo>
                    <a:lnTo>
                      <a:pt x="454" y="326"/>
                    </a:lnTo>
                    <a:lnTo>
                      <a:pt x="446" y="326"/>
                    </a:lnTo>
                    <a:lnTo>
                      <a:pt x="443" y="327"/>
                    </a:lnTo>
                    <a:lnTo>
                      <a:pt x="439" y="328"/>
                    </a:lnTo>
                    <a:lnTo>
                      <a:pt x="436" y="330"/>
                    </a:lnTo>
                    <a:lnTo>
                      <a:pt x="433" y="331"/>
                    </a:lnTo>
                    <a:lnTo>
                      <a:pt x="431" y="333"/>
                    </a:lnTo>
                    <a:lnTo>
                      <a:pt x="429" y="336"/>
                    </a:lnTo>
                    <a:lnTo>
                      <a:pt x="423" y="342"/>
                    </a:lnTo>
                    <a:lnTo>
                      <a:pt x="418" y="354"/>
                    </a:lnTo>
                    <a:lnTo>
                      <a:pt x="414" y="360"/>
                    </a:lnTo>
                    <a:lnTo>
                      <a:pt x="411" y="363"/>
                    </a:lnTo>
                    <a:lnTo>
                      <a:pt x="399" y="371"/>
                    </a:lnTo>
                    <a:lnTo>
                      <a:pt x="390" y="380"/>
                    </a:lnTo>
                    <a:lnTo>
                      <a:pt x="386" y="383"/>
                    </a:lnTo>
                    <a:lnTo>
                      <a:pt x="379" y="386"/>
                    </a:lnTo>
                    <a:lnTo>
                      <a:pt x="323" y="400"/>
                    </a:lnTo>
                    <a:lnTo>
                      <a:pt x="319" y="401"/>
                    </a:lnTo>
                    <a:lnTo>
                      <a:pt x="316" y="404"/>
                    </a:lnTo>
                    <a:lnTo>
                      <a:pt x="300" y="420"/>
                    </a:lnTo>
                    <a:lnTo>
                      <a:pt x="283" y="442"/>
                    </a:lnTo>
                    <a:lnTo>
                      <a:pt x="280" y="447"/>
                    </a:lnTo>
                    <a:lnTo>
                      <a:pt x="280" y="452"/>
                    </a:lnTo>
                    <a:lnTo>
                      <a:pt x="280" y="455"/>
                    </a:lnTo>
                    <a:lnTo>
                      <a:pt x="282" y="459"/>
                    </a:lnTo>
                    <a:lnTo>
                      <a:pt x="286" y="467"/>
                    </a:lnTo>
                    <a:lnTo>
                      <a:pt x="288" y="471"/>
                    </a:lnTo>
                    <a:lnTo>
                      <a:pt x="287" y="476"/>
                    </a:lnTo>
                    <a:lnTo>
                      <a:pt x="286" y="483"/>
                    </a:lnTo>
                    <a:lnTo>
                      <a:pt x="282" y="487"/>
                    </a:lnTo>
                    <a:lnTo>
                      <a:pt x="278" y="491"/>
                    </a:lnTo>
                    <a:lnTo>
                      <a:pt x="273" y="492"/>
                    </a:lnTo>
                    <a:lnTo>
                      <a:pt x="271" y="493"/>
                    </a:lnTo>
                    <a:lnTo>
                      <a:pt x="267" y="493"/>
                    </a:lnTo>
                    <a:lnTo>
                      <a:pt x="254" y="490"/>
                    </a:lnTo>
                    <a:lnTo>
                      <a:pt x="246" y="490"/>
                    </a:lnTo>
                    <a:lnTo>
                      <a:pt x="222" y="493"/>
                    </a:lnTo>
                    <a:lnTo>
                      <a:pt x="214" y="493"/>
                    </a:lnTo>
                    <a:lnTo>
                      <a:pt x="183" y="490"/>
                    </a:lnTo>
                    <a:lnTo>
                      <a:pt x="172" y="487"/>
                    </a:lnTo>
                    <a:lnTo>
                      <a:pt x="165" y="484"/>
                    </a:lnTo>
                    <a:lnTo>
                      <a:pt x="146" y="476"/>
                    </a:lnTo>
                    <a:lnTo>
                      <a:pt x="143" y="475"/>
                    </a:lnTo>
                    <a:lnTo>
                      <a:pt x="139" y="475"/>
                    </a:lnTo>
                    <a:lnTo>
                      <a:pt x="135" y="477"/>
                    </a:lnTo>
                    <a:lnTo>
                      <a:pt x="130" y="481"/>
                    </a:lnTo>
                    <a:lnTo>
                      <a:pt x="128" y="483"/>
                    </a:lnTo>
                    <a:lnTo>
                      <a:pt x="117" y="499"/>
                    </a:lnTo>
                    <a:lnTo>
                      <a:pt x="114" y="506"/>
                    </a:lnTo>
                    <a:lnTo>
                      <a:pt x="99" y="496"/>
                    </a:lnTo>
                    <a:lnTo>
                      <a:pt x="97" y="493"/>
                    </a:lnTo>
                    <a:lnTo>
                      <a:pt x="95" y="490"/>
                    </a:lnTo>
                    <a:lnTo>
                      <a:pt x="91" y="482"/>
                    </a:lnTo>
                    <a:lnTo>
                      <a:pt x="83" y="447"/>
                    </a:lnTo>
                    <a:lnTo>
                      <a:pt x="80" y="440"/>
                    </a:lnTo>
                    <a:lnTo>
                      <a:pt x="77" y="435"/>
                    </a:lnTo>
                    <a:lnTo>
                      <a:pt x="75" y="433"/>
                    </a:lnTo>
                    <a:lnTo>
                      <a:pt x="72" y="432"/>
                    </a:lnTo>
                    <a:lnTo>
                      <a:pt x="51" y="426"/>
                    </a:lnTo>
                    <a:lnTo>
                      <a:pt x="46" y="424"/>
                    </a:lnTo>
                    <a:lnTo>
                      <a:pt x="43" y="421"/>
                    </a:lnTo>
                    <a:lnTo>
                      <a:pt x="39" y="415"/>
                    </a:lnTo>
                    <a:lnTo>
                      <a:pt x="38" y="412"/>
                    </a:lnTo>
                    <a:lnTo>
                      <a:pt x="38" y="407"/>
                    </a:lnTo>
                    <a:lnTo>
                      <a:pt x="40" y="360"/>
                    </a:lnTo>
                    <a:lnTo>
                      <a:pt x="40" y="355"/>
                    </a:lnTo>
                    <a:lnTo>
                      <a:pt x="38" y="351"/>
                    </a:lnTo>
                    <a:lnTo>
                      <a:pt x="36" y="346"/>
                    </a:lnTo>
                    <a:lnTo>
                      <a:pt x="33" y="345"/>
                    </a:lnTo>
                    <a:lnTo>
                      <a:pt x="25" y="342"/>
                    </a:lnTo>
                    <a:lnTo>
                      <a:pt x="3" y="337"/>
                    </a:lnTo>
                    <a:lnTo>
                      <a:pt x="0" y="335"/>
                    </a:lnTo>
                    <a:lnTo>
                      <a:pt x="6" y="329"/>
                    </a:lnTo>
                    <a:lnTo>
                      <a:pt x="13" y="327"/>
                    </a:lnTo>
                    <a:lnTo>
                      <a:pt x="22" y="326"/>
                    </a:lnTo>
                    <a:lnTo>
                      <a:pt x="28" y="324"/>
                    </a:lnTo>
                    <a:lnTo>
                      <a:pt x="55" y="309"/>
                    </a:lnTo>
                    <a:lnTo>
                      <a:pt x="61" y="307"/>
                    </a:lnTo>
                    <a:lnTo>
                      <a:pt x="67" y="306"/>
                    </a:lnTo>
                    <a:lnTo>
                      <a:pt x="83" y="304"/>
                    </a:lnTo>
                    <a:lnTo>
                      <a:pt x="87" y="302"/>
                    </a:lnTo>
                    <a:lnTo>
                      <a:pt x="90" y="301"/>
                    </a:lnTo>
                    <a:lnTo>
                      <a:pt x="90" y="297"/>
                    </a:lnTo>
                    <a:lnTo>
                      <a:pt x="90" y="294"/>
                    </a:lnTo>
                    <a:lnTo>
                      <a:pt x="90" y="292"/>
                    </a:lnTo>
                    <a:lnTo>
                      <a:pt x="81" y="278"/>
                    </a:lnTo>
                    <a:lnTo>
                      <a:pt x="80" y="273"/>
                    </a:lnTo>
                    <a:lnTo>
                      <a:pt x="80" y="269"/>
                    </a:lnTo>
                    <a:lnTo>
                      <a:pt x="81" y="265"/>
                    </a:lnTo>
                    <a:lnTo>
                      <a:pt x="83" y="261"/>
                    </a:lnTo>
                    <a:lnTo>
                      <a:pt x="87" y="256"/>
                    </a:lnTo>
                    <a:lnTo>
                      <a:pt x="91" y="255"/>
                    </a:lnTo>
                    <a:lnTo>
                      <a:pt x="95" y="254"/>
                    </a:lnTo>
                    <a:lnTo>
                      <a:pt x="98" y="255"/>
                    </a:lnTo>
                    <a:lnTo>
                      <a:pt x="111" y="260"/>
                    </a:lnTo>
                    <a:lnTo>
                      <a:pt x="114" y="261"/>
                    </a:lnTo>
                    <a:lnTo>
                      <a:pt x="119" y="261"/>
                    </a:lnTo>
                    <a:lnTo>
                      <a:pt x="121" y="260"/>
                    </a:lnTo>
                    <a:lnTo>
                      <a:pt x="124" y="256"/>
                    </a:lnTo>
                    <a:lnTo>
                      <a:pt x="124" y="254"/>
                    </a:lnTo>
                    <a:lnTo>
                      <a:pt x="124" y="249"/>
                    </a:lnTo>
                    <a:lnTo>
                      <a:pt x="121" y="233"/>
                    </a:lnTo>
                    <a:lnTo>
                      <a:pt x="120" y="230"/>
                    </a:lnTo>
                    <a:lnTo>
                      <a:pt x="121" y="226"/>
                    </a:lnTo>
                    <a:lnTo>
                      <a:pt x="121" y="223"/>
                    </a:lnTo>
                    <a:lnTo>
                      <a:pt x="125" y="215"/>
                    </a:lnTo>
                    <a:lnTo>
                      <a:pt x="128" y="207"/>
                    </a:lnTo>
                    <a:lnTo>
                      <a:pt x="130" y="203"/>
                    </a:lnTo>
                    <a:lnTo>
                      <a:pt x="134" y="202"/>
                    </a:lnTo>
                    <a:lnTo>
                      <a:pt x="137" y="202"/>
                    </a:lnTo>
                    <a:lnTo>
                      <a:pt x="142" y="202"/>
                    </a:lnTo>
                    <a:lnTo>
                      <a:pt x="146" y="202"/>
                    </a:lnTo>
                    <a:lnTo>
                      <a:pt x="153" y="200"/>
                    </a:lnTo>
                    <a:lnTo>
                      <a:pt x="157" y="198"/>
                    </a:lnTo>
                    <a:lnTo>
                      <a:pt x="159" y="195"/>
                    </a:lnTo>
                    <a:lnTo>
                      <a:pt x="160" y="191"/>
                    </a:lnTo>
                    <a:lnTo>
                      <a:pt x="163" y="185"/>
                    </a:lnTo>
                    <a:lnTo>
                      <a:pt x="168" y="176"/>
                    </a:lnTo>
                    <a:lnTo>
                      <a:pt x="188" y="154"/>
                    </a:lnTo>
                    <a:lnTo>
                      <a:pt x="232" y="118"/>
                    </a:lnTo>
                    <a:lnTo>
                      <a:pt x="252" y="104"/>
                    </a:lnTo>
                    <a:lnTo>
                      <a:pt x="290" y="88"/>
                    </a:lnTo>
                    <a:lnTo>
                      <a:pt x="296" y="84"/>
                    </a:lnTo>
                    <a:lnTo>
                      <a:pt x="300" y="80"/>
                    </a:lnTo>
                    <a:lnTo>
                      <a:pt x="301" y="76"/>
                    </a:lnTo>
                    <a:lnTo>
                      <a:pt x="308" y="60"/>
                    </a:lnTo>
                    <a:lnTo>
                      <a:pt x="315" y="53"/>
                    </a:lnTo>
                    <a:lnTo>
                      <a:pt x="323" y="45"/>
                    </a:lnTo>
                    <a:lnTo>
                      <a:pt x="335" y="37"/>
                    </a:lnTo>
                    <a:lnTo>
                      <a:pt x="399" y="4"/>
                    </a:lnTo>
                    <a:lnTo>
                      <a:pt x="406" y="1"/>
                    </a:lnTo>
                    <a:lnTo>
                      <a:pt x="411" y="0"/>
                    </a:lnTo>
                    <a:lnTo>
                      <a:pt x="414" y="0"/>
                    </a:lnTo>
                    <a:lnTo>
                      <a:pt x="418" y="0"/>
                    </a:lnTo>
                    <a:lnTo>
                      <a:pt x="422" y="2"/>
                    </a:lnTo>
                    <a:lnTo>
                      <a:pt x="426" y="4"/>
                    </a:lnTo>
                    <a:lnTo>
                      <a:pt x="432" y="9"/>
                    </a:lnTo>
                    <a:lnTo>
                      <a:pt x="444" y="22"/>
                    </a:lnTo>
                    <a:lnTo>
                      <a:pt x="466" y="39"/>
                    </a:lnTo>
                    <a:lnTo>
                      <a:pt x="473" y="44"/>
                    </a:lnTo>
                    <a:lnTo>
                      <a:pt x="477" y="45"/>
                    </a:lnTo>
                    <a:lnTo>
                      <a:pt x="494" y="46"/>
                    </a:lnTo>
                    <a:lnTo>
                      <a:pt x="505" y="49"/>
                    </a:lnTo>
                    <a:lnTo>
                      <a:pt x="509" y="49"/>
                    </a:lnTo>
                    <a:lnTo>
                      <a:pt x="512" y="48"/>
                    </a:lnTo>
                    <a:lnTo>
                      <a:pt x="515" y="46"/>
                    </a:lnTo>
                    <a:lnTo>
                      <a:pt x="518" y="44"/>
                    </a:lnTo>
                    <a:lnTo>
                      <a:pt x="531" y="26"/>
                    </a:lnTo>
                    <a:lnTo>
                      <a:pt x="538" y="19"/>
                    </a:lnTo>
                    <a:lnTo>
                      <a:pt x="538" y="19"/>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77" name="Freeform 11">
                <a:extLst>
                  <a:ext uri="{FF2B5EF4-FFF2-40B4-BE49-F238E27FC236}"/>
                </a:extLst>
              </p:cNvPr>
              <p:cNvSpPr>
                <a:spLocks/>
              </p:cNvSpPr>
              <p:nvPr/>
            </p:nvSpPr>
            <p:spPr bwMode="auto">
              <a:xfrm>
                <a:off x="2876049" y="2856711"/>
                <a:ext cx="1537192" cy="1062923"/>
              </a:xfrm>
              <a:custGeom>
                <a:avLst/>
                <a:gdLst>
                  <a:gd name="T0" fmla="*/ 948 w 970"/>
                  <a:gd name="T1" fmla="*/ 274 h 671"/>
                  <a:gd name="T2" fmla="*/ 938 w 970"/>
                  <a:gd name="T3" fmla="*/ 301 h 671"/>
                  <a:gd name="T4" fmla="*/ 922 w 970"/>
                  <a:gd name="T5" fmla="*/ 338 h 671"/>
                  <a:gd name="T6" fmla="*/ 898 w 970"/>
                  <a:gd name="T7" fmla="*/ 340 h 671"/>
                  <a:gd name="T8" fmla="*/ 836 w 970"/>
                  <a:gd name="T9" fmla="*/ 303 h 671"/>
                  <a:gd name="T10" fmla="*/ 815 w 970"/>
                  <a:gd name="T11" fmla="*/ 294 h 671"/>
                  <a:gd name="T12" fmla="*/ 719 w 970"/>
                  <a:gd name="T13" fmla="*/ 347 h 671"/>
                  <a:gd name="T14" fmla="*/ 694 w 970"/>
                  <a:gd name="T15" fmla="*/ 382 h 671"/>
                  <a:gd name="T16" fmla="*/ 567 w 970"/>
                  <a:gd name="T17" fmla="*/ 479 h 671"/>
                  <a:gd name="T18" fmla="*/ 550 w 970"/>
                  <a:gd name="T19" fmla="*/ 496 h 671"/>
                  <a:gd name="T20" fmla="*/ 532 w 970"/>
                  <a:gd name="T21" fmla="*/ 501 h 671"/>
                  <a:gd name="T22" fmla="*/ 525 w 970"/>
                  <a:gd name="T23" fmla="*/ 527 h 671"/>
                  <a:gd name="T24" fmla="*/ 523 w 970"/>
                  <a:gd name="T25" fmla="*/ 555 h 671"/>
                  <a:gd name="T26" fmla="*/ 495 w 970"/>
                  <a:gd name="T27" fmla="*/ 549 h 671"/>
                  <a:gd name="T28" fmla="*/ 484 w 970"/>
                  <a:gd name="T29" fmla="*/ 567 h 671"/>
                  <a:gd name="T30" fmla="*/ 494 w 970"/>
                  <a:gd name="T31" fmla="*/ 595 h 671"/>
                  <a:gd name="T32" fmla="*/ 459 w 970"/>
                  <a:gd name="T33" fmla="*/ 603 h 671"/>
                  <a:gd name="T34" fmla="*/ 404 w 970"/>
                  <a:gd name="T35" fmla="*/ 629 h 671"/>
                  <a:gd name="T36" fmla="*/ 303 w 970"/>
                  <a:gd name="T37" fmla="*/ 622 h 671"/>
                  <a:gd name="T38" fmla="*/ 276 w 970"/>
                  <a:gd name="T39" fmla="*/ 649 h 671"/>
                  <a:gd name="T40" fmla="*/ 256 w 970"/>
                  <a:gd name="T41" fmla="*/ 655 h 671"/>
                  <a:gd name="T42" fmla="*/ 178 w 970"/>
                  <a:gd name="T43" fmla="*/ 671 h 671"/>
                  <a:gd name="T44" fmla="*/ 163 w 970"/>
                  <a:gd name="T45" fmla="*/ 663 h 671"/>
                  <a:gd name="T46" fmla="*/ 157 w 970"/>
                  <a:gd name="T47" fmla="*/ 582 h 671"/>
                  <a:gd name="T48" fmla="*/ 160 w 970"/>
                  <a:gd name="T49" fmla="*/ 485 h 671"/>
                  <a:gd name="T50" fmla="*/ 139 w 970"/>
                  <a:gd name="T51" fmla="*/ 480 h 671"/>
                  <a:gd name="T52" fmla="*/ 133 w 970"/>
                  <a:gd name="T53" fmla="*/ 461 h 671"/>
                  <a:gd name="T54" fmla="*/ 140 w 970"/>
                  <a:gd name="T55" fmla="*/ 432 h 671"/>
                  <a:gd name="T56" fmla="*/ 145 w 970"/>
                  <a:gd name="T57" fmla="*/ 408 h 671"/>
                  <a:gd name="T58" fmla="*/ 192 w 970"/>
                  <a:gd name="T59" fmla="*/ 336 h 671"/>
                  <a:gd name="T60" fmla="*/ 192 w 970"/>
                  <a:gd name="T61" fmla="*/ 316 h 671"/>
                  <a:gd name="T62" fmla="*/ 155 w 970"/>
                  <a:gd name="T63" fmla="*/ 291 h 671"/>
                  <a:gd name="T64" fmla="*/ 122 w 970"/>
                  <a:gd name="T65" fmla="*/ 195 h 671"/>
                  <a:gd name="T66" fmla="*/ 83 w 970"/>
                  <a:gd name="T67" fmla="*/ 166 h 671"/>
                  <a:gd name="T68" fmla="*/ 6 w 970"/>
                  <a:gd name="T69" fmla="*/ 140 h 671"/>
                  <a:gd name="T70" fmla="*/ 27 w 970"/>
                  <a:gd name="T71" fmla="*/ 109 h 671"/>
                  <a:gd name="T72" fmla="*/ 248 w 970"/>
                  <a:gd name="T73" fmla="*/ 8 h 671"/>
                  <a:gd name="T74" fmla="*/ 380 w 970"/>
                  <a:gd name="T75" fmla="*/ 0 h 671"/>
                  <a:gd name="T76" fmla="*/ 451 w 970"/>
                  <a:gd name="T77" fmla="*/ 15 h 671"/>
                  <a:gd name="T78" fmla="*/ 502 w 970"/>
                  <a:gd name="T79" fmla="*/ 8 h 671"/>
                  <a:gd name="T80" fmla="*/ 595 w 970"/>
                  <a:gd name="T81" fmla="*/ 54 h 671"/>
                  <a:gd name="T82" fmla="*/ 625 w 970"/>
                  <a:gd name="T83" fmla="*/ 66 h 671"/>
                  <a:gd name="T84" fmla="*/ 658 w 970"/>
                  <a:gd name="T85" fmla="*/ 53 h 671"/>
                  <a:gd name="T86" fmla="*/ 670 w 970"/>
                  <a:gd name="T87" fmla="*/ 72 h 671"/>
                  <a:gd name="T88" fmla="*/ 684 w 970"/>
                  <a:gd name="T89" fmla="*/ 92 h 671"/>
                  <a:gd name="T90" fmla="*/ 720 w 970"/>
                  <a:gd name="T91" fmla="*/ 94 h 671"/>
                  <a:gd name="T92" fmla="*/ 759 w 970"/>
                  <a:gd name="T93" fmla="*/ 103 h 671"/>
                  <a:gd name="T94" fmla="*/ 797 w 970"/>
                  <a:gd name="T95" fmla="*/ 92 h 671"/>
                  <a:gd name="T96" fmla="*/ 852 w 970"/>
                  <a:gd name="T97" fmla="*/ 197 h 671"/>
                  <a:gd name="T98" fmla="*/ 924 w 970"/>
                  <a:gd name="T99" fmla="*/ 214 h 671"/>
                  <a:gd name="T100" fmla="*/ 970 w 970"/>
                  <a:gd name="T101" fmla="*/ 25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671">
                    <a:moveTo>
                      <a:pt x="970" y="258"/>
                    </a:moveTo>
                    <a:lnTo>
                      <a:pt x="961" y="261"/>
                    </a:lnTo>
                    <a:lnTo>
                      <a:pt x="958" y="263"/>
                    </a:lnTo>
                    <a:lnTo>
                      <a:pt x="953" y="268"/>
                    </a:lnTo>
                    <a:lnTo>
                      <a:pt x="948" y="274"/>
                    </a:lnTo>
                    <a:lnTo>
                      <a:pt x="944" y="282"/>
                    </a:lnTo>
                    <a:lnTo>
                      <a:pt x="941" y="287"/>
                    </a:lnTo>
                    <a:lnTo>
                      <a:pt x="939" y="293"/>
                    </a:lnTo>
                    <a:lnTo>
                      <a:pt x="938" y="297"/>
                    </a:lnTo>
                    <a:lnTo>
                      <a:pt x="938" y="301"/>
                    </a:lnTo>
                    <a:lnTo>
                      <a:pt x="938" y="305"/>
                    </a:lnTo>
                    <a:lnTo>
                      <a:pt x="940" y="312"/>
                    </a:lnTo>
                    <a:lnTo>
                      <a:pt x="942" y="313"/>
                    </a:lnTo>
                    <a:lnTo>
                      <a:pt x="935" y="320"/>
                    </a:lnTo>
                    <a:lnTo>
                      <a:pt x="922" y="338"/>
                    </a:lnTo>
                    <a:lnTo>
                      <a:pt x="919" y="340"/>
                    </a:lnTo>
                    <a:lnTo>
                      <a:pt x="916" y="342"/>
                    </a:lnTo>
                    <a:lnTo>
                      <a:pt x="913" y="343"/>
                    </a:lnTo>
                    <a:lnTo>
                      <a:pt x="909" y="343"/>
                    </a:lnTo>
                    <a:lnTo>
                      <a:pt x="898" y="340"/>
                    </a:lnTo>
                    <a:lnTo>
                      <a:pt x="881" y="339"/>
                    </a:lnTo>
                    <a:lnTo>
                      <a:pt x="877" y="338"/>
                    </a:lnTo>
                    <a:lnTo>
                      <a:pt x="870" y="333"/>
                    </a:lnTo>
                    <a:lnTo>
                      <a:pt x="848" y="316"/>
                    </a:lnTo>
                    <a:lnTo>
                      <a:pt x="836" y="303"/>
                    </a:lnTo>
                    <a:lnTo>
                      <a:pt x="830" y="298"/>
                    </a:lnTo>
                    <a:lnTo>
                      <a:pt x="826" y="296"/>
                    </a:lnTo>
                    <a:lnTo>
                      <a:pt x="822" y="294"/>
                    </a:lnTo>
                    <a:lnTo>
                      <a:pt x="818" y="294"/>
                    </a:lnTo>
                    <a:lnTo>
                      <a:pt x="815" y="294"/>
                    </a:lnTo>
                    <a:lnTo>
                      <a:pt x="810" y="295"/>
                    </a:lnTo>
                    <a:lnTo>
                      <a:pt x="803" y="298"/>
                    </a:lnTo>
                    <a:lnTo>
                      <a:pt x="739" y="331"/>
                    </a:lnTo>
                    <a:lnTo>
                      <a:pt x="727" y="339"/>
                    </a:lnTo>
                    <a:lnTo>
                      <a:pt x="719" y="347"/>
                    </a:lnTo>
                    <a:lnTo>
                      <a:pt x="712" y="354"/>
                    </a:lnTo>
                    <a:lnTo>
                      <a:pt x="705" y="370"/>
                    </a:lnTo>
                    <a:lnTo>
                      <a:pt x="704" y="374"/>
                    </a:lnTo>
                    <a:lnTo>
                      <a:pt x="700" y="378"/>
                    </a:lnTo>
                    <a:lnTo>
                      <a:pt x="694" y="382"/>
                    </a:lnTo>
                    <a:lnTo>
                      <a:pt x="656" y="398"/>
                    </a:lnTo>
                    <a:lnTo>
                      <a:pt x="636" y="412"/>
                    </a:lnTo>
                    <a:lnTo>
                      <a:pt x="592" y="448"/>
                    </a:lnTo>
                    <a:lnTo>
                      <a:pt x="572" y="470"/>
                    </a:lnTo>
                    <a:lnTo>
                      <a:pt x="567" y="479"/>
                    </a:lnTo>
                    <a:lnTo>
                      <a:pt x="564" y="485"/>
                    </a:lnTo>
                    <a:lnTo>
                      <a:pt x="563" y="489"/>
                    </a:lnTo>
                    <a:lnTo>
                      <a:pt x="561" y="492"/>
                    </a:lnTo>
                    <a:lnTo>
                      <a:pt x="557" y="494"/>
                    </a:lnTo>
                    <a:lnTo>
                      <a:pt x="550" y="496"/>
                    </a:lnTo>
                    <a:lnTo>
                      <a:pt x="546" y="496"/>
                    </a:lnTo>
                    <a:lnTo>
                      <a:pt x="541" y="496"/>
                    </a:lnTo>
                    <a:lnTo>
                      <a:pt x="538" y="496"/>
                    </a:lnTo>
                    <a:lnTo>
                      <a:pt x="534" y="497"/>
                    </a:lnTo>
                    <a:lnTo>
                      <a:pt x="532" y="501"/>
                    </a:lnTo>
                    <a:lnTo>
                      <a:pt x="529" y="509"/>
                    </a:lnTo>
                    <a:lnTo>
                      <a:pt x="525" y="517"/>
                    </a:lnTo>
                    <a:lnTo>
                      <a:pt x="525" y="520"/>
                    </a:lnTo>
                    <a:lnTo>
                      <a:pt x="524" y="524"/>
                    </a:lnTo>
                    <a:lnTo>
                      <a:pt x="525" y="527"/>
                    </a:lnTo>
                    <a:lnTo>
                      <a:pt x="528" y="543"/>
                    </a:lnTo>
                    <a:lnTo>
                      <a:pt x="528" y="548"/>
                    </a:lnTo>
                    <a:lnTo>
                      <a:pt x="528" y="550"/>
                    </a:lnTo>
                    <a:lnTo>
                      <a:pt x="525" y="554"/>
                    </a:lnTo>
                    <a:lnTo>
                      <a:pt x="523" y="555"/>
                    </a:lnTo>
                    <a:lnTo>
                      <a:pt x="518" y="555"/>
                    </a:lnTo>
                    <a:lnTo>
                      <a:pt x="515" y="554"/>
                    </a:lnTo>
                    <a:lnTo>
                      <a:pt x="502" y="549"/>
                    </a:lnTo>
                    <a:lnTo>
                      <a:pt x="499" y="548"/>
                    </a:lnTo>
                    <a:lnTo>
                      <a:pt x="495" y="549"/>
                    </a:lnTo>
                    <a:lnTo>
                      <a:pt x="491" y="550"/>
                    </a:lnTo>
                    <a:lnTo>
                      <a:pt x="487" y="555"/>
                    </a:lnTo>
                    <a:lnTo>
                      <a:pt x="485" y="559"/>
                    </a:lnTo>
                    <a:lnTo>
                      <a:pt x="484" y="563"/>
                    </a:lnTo>
                    <a:lnTo>
                      <a:pt x="484" y="567"/>
                    </a:lnTo>
                    <a:lnTo>
                      <a:pt x="485" y="572"/>
                    </a:lnTo>
                    <a:lnTo>
                      <a:pt x="494" y="586"/>
                    </a:lnTo>
                    <a:lnTo>
                      <a:pt x="494" y="588"/>
                    </a:lnTo>
                    <a:lnTo>
                      <a:pt x="494" y="591"/>
                    </a:lnTo>
                    <a:lnTo>
                      <a:pt x="494" y="595"/>
                    </a:lnTo>
                    <a:lnTo>
                      <a:pt x="491" y="596"/>
                    </a:lnTo>
                    <a:lnTo>
                      <a:pt x="487" y="598"/>
                    </a:lnTo>
                    <a:lnTo>
                      <a:pt x="471" y="600"/>
                    </a:lnTo>
                    <a:lnTo>
                      <a:pt x="465" y="601"/>
                    </a:lnTo>
                    <a:lnTo>
                      <a:pt x="459" y="603"/>
                    </a:lnTo>
                    <a:lnTo>
                      <a:pt x="432" y="618"/>
                    </a:lnTo>
                    <a:lnTo>
                      <a:pt x="426" y="620"/>
                    </a:lnTo>
                    <a:lnTo>
                      <a:pt x="417" y="621"/>
                    </a:lnTo>
                    <a:lnTo>
                      <a:pt x="410" y="623"/>
                    </a:lnTo>
                    <a:lnTo>
                      <a:pt x="404" y="629"/>
                    </a:lnTo>
                    <a:lnTo>
                      <a:pt x="389" y="625"/>
                    </a:lnTo>
                    <a:lnTo>
                      <a:pt x="342" y="617"/>
                    </a:lnTo>
                    <a:lnTo>
                      <a:pt x="314" y="619"/>
                    </a:lnTo>
                    <a:lnTo>
                      <a:pt x="308" y="620"/>
                    </a:lnTo>
                    <a:lnTo>
                      <a:pt x="303" y="622"/>
                    </a:lnTo>
                    <a:lnTo>
                      <a:pt x="298" y="625"/>
                    </a:lnTo>
                    <a:lnTo>
                      <a:pt x="294" y="628"/>
                    </a:lnTo>
                    <a:lnTo>
                      <a:pt x="282" y="644"/>
                    </a:lnTo>
                    <a:lnTo>
                      <a:pt x="279" y="648"/>
                    </a:lnTo>
                    <a:lnTo>
                      <a:pt x="276" y="649"/>
                    </a:lnTo>
                    <a:lnTo>
                      <a:pt x="273" y="651"/>
                    </a:lnTo>
                    <a:lnTo>
                      <a:pt x="270" y="652"/>
                    </a:lnTo>
                    <a:lnTo>
                      <a:pt x="267" y="653"/>
                    </a:lnTo>
                    <a:lnTo>
                      <a:pt x="263" y="654"/>
                    </a:lnTo>
                    <a:lnTo>
                      <a:pt x="256" y="655"/>
                    </a:lnTo>
                    <a:lnTo>
                      <a:pt x="237" y="654"/>
                    </a:lnTo>
                    <a:lnTo>
                      <a:pt x="228" y="655"/>
                    </a:lnTo>
                    <a:lnTo>
                      <a:pt x="186" y="671"/>
                    </a:lnTo>
                    <a:lnTo>
                      <a:pt x="183" y="671"/>
                    </a:lnTo>
                    <a:lnTo>
                      <a:pt x="178" y="671"/>
                    </a:lnTo>
                    <a:lnTo>
                      <a:pt x="175" y="671"/>
                    </a:lnTo>
                    <a:lnTo>
                      <a:pt x="171" y="669"/>
                    </a:lnTo>
                    <a:lnTo>
                      <a:pt x="169" y="668"/>
                    </a:lnTo>
                    <a:lnTo>
                      <a:pt x="166" y="666"/>
                    </a:lnTo>
                    <a:lnTo>
                      <a:pt x="163" y="663"/>
                    </a:lnTo>
                    <a:lnTo>
                      <a:pt x="162" y="660"/>
                    </a:lnTo>
                    <a:lnTo>
                      <a:pt x="160" y="655"/>
                    </a:lnTo>
                    <a:lnTo>
                      <a:pt x="158" y="650"/>
                    </a:lnTo>
                    <a:lnTo>
                      <a:pt x="160" y="602"/>
                    </a:lnTo>
                    <a:lnTo>
                      <a:pt x="157" y="582"/>
                    </a:lnTo>
                    <a:lnTo>
                      <a:pt x="152" y="562"/>
                    </a:lnTo>
                    <a:lnTo>
                      <a:pt x="151" y="557"/>
                    </a:lnTo>
                    <a:lnTo>
                      <a:pt x="151" y="552"/>
                    </a:lnTo>
                    <a:lnTo>
                      <a:pt x="161" y="489"/>
                    </a:lnTo>
                    <a:lnTo>
                      <a:pt x="160" y="485"/>
                    </a:lnTo>
                    <a:lnTo>
                      <a:pt x="158" y="481"/>
                    </a:lnTo>
                    <a:lnTo>
                      <a:pt x="155" y="478"/>
                    </a:lnTo>
                    <a:lnTo>
                      <a:pt x="151" y="478"/>
                    </a:lnTo>
                    <a:lnTo>
                      <a:pt x="143" y="480"/>
                    </a:lnTo>
                    <a:lnTo>
                      <a:pt x="139" y="480"/>
                    </a:lnTo>
                    <a:lnTo>
                      <a:pt x="135" y="478"/>
                    </a:lnTo>
                    <a:lnTo>
                      <a:pt x="133" y="475"/>
                    </a:lnTo>
                    <a:lnTo>
                      <a:pt x="131" y="471"/>
                    </a:lnTo>
                    <a:lnTo>
                      <a:pt x="130" y="466"/>
                    </a:lnTo>
                    <a:lnTo>
                      <a:pt x="133" y="461"/>
                    </a:lnTo>
                    <a:lnTo>
                      <a:pt x="139" y="450"/>
                    </a:lnTo>
                    <a:lnTo>
                      <a:pt x="139" y="448"/>
                    </a:lnTo>
                    <a:lnTo>
                      <a:pt x="140" y="441"/>
                    </a:lnTo>
                    <a:lnTo>
                      <a:pt x="140" y="436"/>
                    </a:lnTo>
                    <a:lnTo>
                      <a:pt x="140" y="432"/>
                    </a:lnTo>
                    <a:lnTo>
                      <a:pt x="140" y="428"/>
                    </a:lnTo>
                    <a:lnTo>
                      <a:pt x="137" y="420"/>
                    </a:lnTo>
                    <a:lnTo>
                      <a:pt x="139" y="418"/>
                    </a:lnTo>
                    <a:lnTo>
                      <a:pt x="142" y="414"/>
                    </a:lnTo>
                    <a:lnTo>
                      <a:pt x="145" y="408"/>
                    </a:lnTo>
                    <a:lnTo>
                      <a:pt x="155" y="378"/>
                    </a:lnTo>
                    <a:lnTo>
                      <a:pt x="160" y="367"/>
                    </a:lnTo>
                    <a:lnTo>
                      <a:pt x="167" y="358"/>
                    </a:lnTo>
                    <a:lnTo>
                      <a:pt x="188" y="339"/>
                    </a:lnTo>
                    <a:lnTo>
                      <a:pt x="192" y="336"/>
                    </a:lnTo>
                    <a:lnTo>
                      <a:pt x="193" y="332"/>
                    </a:lnTo>
                    <a:lnTo>
                      <a:pt x="195" y="328"/>
                    </a:lnTo>
                    <a:lnTo>
                      <a:pt x="196" y="324"/>
                    </a:lnTo>
                    <a:lnTo>
                      <a:pt x="195" y="320"/>
                    </a:lnTo>
                    <a:lnTo>
                      <a:pt x="192" y="316"/>
                    </a:lnTo>
                    <a:lnTo>
                      <a:pt x="188" y="313"/>
                    </a:lnTo>
                    <a:lnTo>
                      <a:pt x="167" y="302"/>
                    </a:lnTo>
                    <a:lnTo>
                      <a:pt x="161" y="298"/>
                    </a:lnTo>
                    <a:lnTo>
                      <a:pt x="158" y="295"/>
                    </a:lnTo>
                    <a:lnTo>
                      <a:pt x="155" y="291"/>
                    </a:lnTo>
                    <a:lnTo>
                      <a:pt x="154" y="288"/>
                    </a:lnTo>
                    <a:lnTo>
                      <a:pt x="136" y="214"/>
                    </a:lnTo>
                    <a:lnTo>
                      <a:pt x="134" y="209"/>
                    </a:lnTo>
                    <a:lnTo>
                      <a:pt x="132" y="206"/>
                    </a:lnTo>
                    <a:lnTo>
                      <a:pt x="122" y="195"/>
                    </a:lnTo>
                    <a:lnTo>
                      <a:pt x="103" y="179"/>
                    </a:lnTo>
                    <a:lnTo>
                      <a:pt x="92" y="174"/>
                    </a:lnTo>
                    <a:lnTo>
                      <a:pt x="88" y="170"/>
                    </a:lnTo>
                    <a:lnTo>
                      <a:pt x="83" y="167"/>
                    </a:lnTo>
                    <a:lnTo>
                      <a:pt x="83" y="166"/>
                    </a:lnTo>
                    <a:lnTo>
                      <a:pt x="79" y="161"/>
                    </a:lnTo>
                    <a:lnTo>
                      <a:pt x="73" y="158"/>
                    </a:lnTo>
                    <a:lnTo>
                      <a:pt x="64" y="154"/>
                    </a:lnTo>
                    <a:lnTo>
                      <a:pt x="10" y="142"/>
                    </a:lnTo>
                    <a:lnTo>
                      <a:pt x="6" y="140"/>
                    </a:lnTo>
                    <a:lnTo>
                      <a:pt x="3" y="138"/>
                    </a:lnTo>
                    <a:lnTo>
                      <a:pt x="0" y="135"/>
                    </a:lnTo>
                    <a:lnTo>
                      <a:pt x="19" y="115"/>
                    </a:lnTo>
                    <a:lnTo>
                      <a:pt x="22" y="112"/>
                    </a:lnTo>
                    <a:lnTo>
                      <a:pt x="27" y="109"/>
                    </a:lnTo>
                    <a:lnTo>
                      <a:pt x="89" y="78"/>
                    </a:lnTo>
                    <a:lnTo>
                      <a:pt x="119" y="70"/>
                    </a:lnTo>
                    <a:lnTo>
                      <a:pt x="181" y="35"/>
                    </a:lnTo>
                    <a:lnTo>
                      <a:pt x="245" y="8"/>
                    </a:lnTo>
                    <a:lnTo>
                      <a:pt x="248" y="8"/>
                    </a:lnTo>
                    <a:lnTo>
                      <a:pt x="259" y="11"/>
                    </a:lnTo>
                    <a:lnTo>
                      <a:pt x="277" y="19"/>
                    </a:lnTo>
                    <a:lnTo>
                      <a:pt x="287" y="22"/>
                    </a:lnTo>
                    <a:lnTo>
                      <a:pt x="291" y="22"/>
                    </a:lnTo>
                    <a:lnTo>
                      <a:pt x="380" y="0"/>
                    </a:lnTo>
                    <a:lnTo>
                      <a:pt x="392" y="0"/>
                    </a:lnTo>
                    <a:lnTo>
                      <a:pt x="399" y="0"/>
                    </a:lnTo>
                    <a:lnTo>
                      <a:pt x="404" y="0"/>
                    </a:lnTo>
                    <a:lnTo>
                      <a:pt x="445" y="14"/>
                    </a:lnTo>
                    <a:lnTo>
                      <a:pt x="451" y="15"/>
                    </a:lnTo>
                    <a:lnTo>
                      <a:pt x="456" y="15"/>
                    </a:lnTo>
                    <a:lnTo>
                      <a:pt x="460" y="15"/>
                    </a:lnTo>
                    <a:lnTo>
                      <a:pt x="479" y="9"/>
                    </a:lnTo>
                    <a:lnTo>
                      <a:pt x="498" y="8"/>
                    </a:lnTo>
                    <a:lnTo>
                      <a:pt x="502" y="8"/>
                    </a:lnTo>
                    <a:lnTo>
                      <a:pt x="559" y="22"/>
                    </a:lnTo>
                    <a:lnTo>
                      <a:pt x="567" y="24"/>
                    </a:lnTo>
                    <a:lnTo>
                      <a:pt x="571" y="27"/>
                    </a:lnTo>
                    <a:lnTo>
                      <a:pt x="575" y="31"/>
                    </a:lnTo>
                    <a:lnTo>
                      <a:pt x="595" y="54"/>
                    </a:lnTo>
                    <a:lnTo>
                      <a:pt x="600" y="59"/>
                    </a:lnTo>
                    <a:lnTo>
                      <a:pt x="606" y="62"/>
                    </a:lnTo>
                    <a:lnTo>
                      <a:pt x="614" y="66"/>
                    </a:lnTo>
                    <a:lnTo>
                      <a:pt x="620" y="67"/>
                    </a:lnTo>
                    <a:lnTo>
                      <a:pt x="625" y="66"/>
                    </a:lnTo>
                    <a:lnTo>
                      <a:pt x="630" y="65"/>
                    </a:lnTo>
                    <a:lnTo>
                      <a:pt x="635" y="63"/>
                    </a:lnTo>
                    <a:lnTo>
                      <a:pt x="649" y="55"/>
                    </a:lnTo>
                    <a:lnTo>
                      <a:pt x="653" y="54"/>
                    </a:lnTo>
                    <a:lnTo>
                      <a:pt x="658" y="53"/>
                    </a:lnTo>
                    <a:lnTo>
                      <a:pt x="664" y="53"/>
                    </a:lnTo>
                    <a:lnTo>
                      <a:pt x="667" y="54"/>
                    </a:lnTo>
                    <a:lnTo>
                      <a:pt x="669" y="56"/>
                    </a:lnTo>
                    <a:lnTo>
                      <a:pt x="669" y="58"/>
                    </a:lnTo>
                    <a:lnTo>
                      <a:pt x="670" y="72"/>
                    </a:lnTo>
                    <a:lnTo>
                      <a:pt x="670" y="75"/>
                    </a:lnTo>
                    <a:lnTo>
                      <a:pt x="672" y="78"/>
                    </a:lnTo>
                    <a:lnTo>
                      <a:pt x="675" y="84"/>
                    </a:lnTo>
                    <a:lnTo>
                      <a:pt x="678" y="89"/>
                    </a:lnTo>
                    <a:lnTo>
                      <a:pt x="684" y="92"/>
                    </a:lnTo>
                    <a:lnTo>
                      <a:pt x="689" y="94"/>
                    </a:lnTo>
                    <a:lnTo>
                      <a:pt x="693" y="94"/>
                    </a:lnTo>
                    <a:lnTo>
                      <a:pt x="710" y="92"/>
                    </a:lnTo>
                    <a:lnTo>
                      <a:pt x="715" y="93"/>
                    </a:lnTo>
                    <a:lnTo>
                      <a:pt x="720" y="94"/>
                    </a:lnTo>
                    <a:lnTo>
                      <a:pt x="737" y="104"/>
                    </a:lnTo>
                    <a:lnTo>
                      <a:pt x="744" y="106"/>
                    </a:lnTo>
                    <a:lnTo>
                      <a:pt x="749" y="107"/>
                    </a:lnTo>
                    <a:lnTo>
                      <a:pt x="752" y="106"/>
                    </a:lnTo>
                    <a:lnTo>
                      <a:pt x="759" y="103"/>
                    </a:lnTo>
                    <a:lnTo>
                      <a:pt x="779" y="90"/>
                    </a:lnTo>
                    <a:lnTo>
                      <a:pt x="783" y="88"/>
                    </a:lnTo>
                    <a:lnTo>
                      <a:pt x="789" y="87"/>
                    </a:lnTo>
                    <a:lnTo>
                      <a:pt x="794" y="89"/>
                    </a:lnTo>
                    <a:lnTo>
                      <a:pt x="797" y="92"/>
                    </a:lnTo>
                    <a:lnTo>
                      <a:pt x="800" y="96"/>
                    </a:lnTo>
                    <a:lnTo>
                      <a:pt x="828" y="147"/>
                    </a:lnTo>
                    <a:lnTo>
                      <a:pt x="842" y="184"/>
                    </a:lnTo>
                    <a:lnTo>
                      <a:pt x="848" y="193"/>
                    </a:lnTo>
                    <a:lnTo>
                      <a:pt x="852" y="197"/>
                    </a:lnTo>
                    <a:lnTo>
                      <a:pt x="857" y="200"/>
                    </a:lnTo>
                    <a:lnTo>
                      <a:pt x="863" y="203"/>
                    </a:lnTo>
                    <a:lnTo>
                      <a:pt x="867" y="205"/>
                    </a:lnTo>
                    <a:lnTo>
                      <a:pt x="919" y="213"/>
                    </a:lnTo>
                    <a:lnTo>
                      <a:pt x="924" y="214"/>
                    </a:lnTo>
                    <a:lnTo>
                      <a:pt x="932" y="219"/>
                    </a:lnTo>
                    <a:lnTo>
                      <a:pt x="936" y="221"/>
                    </a:lnTo>
                    <a:lnTo>
                      <a:pt x="963" y="246"/>
                    </a:lnTo>
                    <a:lnTo>
                      <a:pt x="968" y="252"/>
                    </a:lnTo>
                    <a:lnTo>
                      <a:pt x="970" y="258"/>
                    </a:lnTo>
                    <a:lnTo>
                      <a:pt x="970" y="258"/>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78" name="Freeform 12">
                <a:extLst>
                  <a:ext uri="{FF2B5EF4-FFF2-40B4-BE49-F238E27FC236}"/>
                </a:extLst>
              </p:cNvPr>
              <p:cNvSpPr>
                <a:spLocks noEditPoints="1"/>
              </p:cNvSpPr>
              <p:nvPr/>
            </p:nvSpPr>
            <p:spPr bwMode="auto">
              <a:xfrm>
                <a:off x="1698625" y="2815832"/>
                <a:ext cx="1488133" cy="1332740"/>
              </a:xfrm>
              <a:custGeom>
                <a:avLst/>
                <a:gdLst>
                  <a:gd name="T0" fmla="*/ 402 w 936"/>
                  <a:gd name="T1" fmla="*/ 671 h 836"/>
                  <a:gd name="T2" fmla="*/ 385 w 936"/>
                  <a:gd name="T3" fmla="*/ 670 h 836"/>
                  <a:gd name="T4" fmla="*/ 396 w 936"/>
                  <a:gd name="T5" fmla="*/ 676 h 836"/>
                  <a:gd name="T6" fmla="*/ 369 w 936"/>
                  <a:gd name="T7" fmla="*/ 660 h 836"/>
                  <a:gd name="T8" fmla="*/ 382 w 936"/>
                  <a:gd name="T9" fmla="*/ 646 h 836"/>
                  <a:gd name="T10" fmla="*/ 386 w 936"/>
                  <a:gd name="T11" fmla="*/ 667 h 836"/>
                  <a:gd name="T12" fmla="*/ 367 w 936"/>
                  <a:gd name="T13" fmla="*/ 655 h 836"/>
                  <a:gd name="T14" fmla="*/ 360 w 936"/>
                  <a:gd name="T15" fmla="*/ 646 h 836"/>
                  <a:gd name="T16" fmla="*/ 389 w 936"/>
                  <a:gd name="T17" fmla="*/ 640 h 836"/>
                  <a:gd name="T18" fmla="*/ 346 w 936"/>
                  <a:gd name="T19" fmla="*/ 645 h 836"/>
                  <a:gd name="T20" fmla="*/ 327 w 936"/>
                  <a:gd name="T21" fmla="*/ 640 h 836"/>
                  <a:gd name="T22" fmla="*/ 328 w 936"/>
                  <a:gd name="T23" fmla="*/ 632 h 836"/>
                  <a:gd name="T24" fmla="*/ 331 w 936"/>
                  <a:gd name="T25" fmla="*/ 617 h 836"/>
                  <a:gd name="T26" fmla="*/ 337 w 936"/>
                  <a:gd name="T27" fmla="*/ 614 h 836"/>
                  <a:gd name="T28" fmla="*/ 832 w 936"/>
                  <a:gd name="T29" fmla="*/ 196 h 836"/>
                  <a:gd name="T30" fmla="*/ 935 w 936"/>
                  <a:gd name="T31" fmla="*/ 342 h 836"/>
                  <a:gd name="T32" fmla="*/ 871 w 936"/>
                  <a:gd name="T33" fmla="*/ 434 h 836"/>
                  <a:gd name="T34" fmla="*/ 704 w 936"/>
                  <a:gd name="T35" fmla="*/ 395 h 836"/>
                  <a:gd name="T36" fmla="*/ 661 w 936"/>
                  <a:gd name="T37" fmla="*/ 399 h 836"/>
                  <a:gd name="T38" fmla="*/ 611 w 936"/>
                  <a:gd name="T39" fmla="*/ 388 h 836"/>
                  <a:gd name="T40" fmla="*/ 563 w 936"/>
                  <a:gd name="T41" fmla="*/ 359 h 836"/>
                  <a:gd name="T42" fmla="*/ 485 w 936"/>
                  <a:gd name="T43" fmla="*/ 322 h 836"/>
                  <a:gd name="T44" fmla="*/ 369 w 936"/>
                  <a:gd name="T45" fmla="*/ 343 h 836"/>
                  <a:gd name="T46" fmla="*/ 406 w 936"/>
                  <a:gd name="T47" fmla="*/ 381 h 836"/>
                  <a:gd name="T48" fmla="*/ 448 w 936"/>
                  <a:gd name="T49" fmla="*/ 454 h 836"/>
                  <a:gd name="T50" fmla="*/ 449 w 936"/>
                  <a:gd name="T51" fmla="*/ 545 h 836"/>
                  <a:gd name="T52" fmla="*/ 510 w 936"/>
                  <a:gd name="T53" fmla="*/ 586 h 836"/>
                  <a:gd name="T54" fmla="*/ 575 w 936"/>
                  <a:gd name="T55" fmla="*/ 664 h 836"/>
                  <a:gd name="T56" fmla="*/ 536 w 936"/>
                  <a:gd name="T57" fmla="*/ 789 h 836"/>
                  <a:gd name="T58" fmla="*/ 475 w 936"/>
                  <a:gd name="T59" fmla="*/ 817 h 836"/>
                  <a:gd name="T60" fmla="*/ 443 w 936"/>
                  <a:gd name="T61" fmla="*/ 787 h 836"/>
                  <a:gd name="T62" fmla="*/ 451 w 936"/>
                  <a:gd name="T63" fmla="*/ 754 h 836"/>
                  <a:gd name="T64" fmla="*/ 433 w 936"/>
                  <a:gd name="T65" fmla="*/ 701 h 836"/>
                  <a:gd name="T66" fmla="*/ 409 w 936"/>
                  <a:gd name="T67" fmla="*/ 659 h 836"/>
                  <a:gd name="T68" fmla="*/ 386 w 936"/>
                  <a:gd name="T69" fmla="*/ 626 h 836"/>
                  <a:gd name="T70" fmla="*/ 354 w 936"/>
                  <a:gd name="T71" fmla="*/ 604 h 836"/>
                  <a:gd name="T72" fmla="*/ 354 w 936"/>
                  <a:gd name="T73" fmla="*/ 561 h 836"/>
                  <a:gd name="T74" fmla="*/ 259 w 936"/>
                  <a:gd name="T75" fmla="*/ 429 h 836"/>
                  <a:gd name="T76" fmla="*/ 205 w 936"/>
                  <a:gd name="T77" fmla="*/ 346 h 836"/>
                  <a:gd name="T78" fmla="*/ 156 w 936"/>
                  <a:gd name="T79" fmla="*/ 271 h 836"/>
                  <a:gd name="T80" fmla="*/ 128 w 936"/>
                  <a:gd name="T81" fmla="*/ 221 h 836"/>
                  <a:gd name="T82" fmla="*/ 107 w 936"/>
                  <a:gd name="T83" fmla="*/ 182 h 836"/>
                  <a:gd name="T84" fmla="*/ 91 w 936"/>
                  <a:gd name="T85" fmla="*/ 174 h 836"/>
                  <a:gd name="T86" fmla="*/ 60 w 936"/>
                  <a:gd name="T87" fmla="*/ 171 h 836"/>
                  <a:gd name="T88" fmla="*/ 45 w 936"/>
                  <a:gd name="T89" fmla="*/ 173 h 836"/>
                  <a:gd name="T90" fmla="*/ 40 w 936"/>
                  <a:gd name="T91" fmla="*/ 172 h 836"/>
                  <a:gd name="T92" fmla="*/ 33 w 936"/>
                  <a:gd name="T93" fmla="*/ 171 h 836"/>
                  <a:gd name="T94" fmla="*/ 20 w 936"/>
                  <a:gd name="T95" fmla="*/ 164 h 836"/>
                  <a:gd name="T96" fmla="*/ 11 w 936"/>
                  <a:gd name="T97" fmla="*/ 178 h 836"/>
                  <a:gd name="T98" fmla="*/ 0 w 936"/>
                  <a:gd name="T99" fmla="*/ 167 h 836"/>
                  <a:gd name="T100" fmla="*/ 15 w 936"/>
                  <a:gd name="T101" fmla="*/ 154 h 836"/>
                  <a:gd name="T102" fmla="*/ 17 w 936"/>
                  <a:gd name="T103" fmla="*/ 137 h 836"/>
                  <a:gd name="T104" fmla="*/ 37 w 936"/>
                  <a:gd name="T105" fmla="*/ 50 h 836"/>
                  <a:gd name="T106" fmla="*/ 70 w 936"/>
                  <a:gd name="T107" fmla="*/ 19 h 836"/>
                  <a:gd name="T108" fmla="*/ 251 w 936"/>
                  <a:gd name="T109" fmla="*/ 11 h 836"/>
                  <a:gd name="T110" fmla="*/ 429 w 936"/>
                  <a:gd name="T111" fmla="*/ 76 h 836"/>
                  <a:gd name="T112" fmla="*/ 526 w 936"/>
                  <a:gd name="T113" fmla="*/ 23 h 836"/>
                  <a:gd name="T114" fmla="*/ 557 w 936"/>
                  <a:gd name="T115" fmla="*/ 129 h 836"/>
                  <a:gd name="T116" fmla="*/ 672 w 936"/>
                  <a:gd name="T117" fmla="*/ 145 h 836"/>
                  <a:gd name="T118" fmla="*/ 740 w 936"/>
                  <a:gd name="T119" fmla="*/ 157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6" h="836">
                    <a:moveTo>
                      <a:pt x="406" y="664"/>
                    </a:moveTo>
                    <a:lnTo>
                      <a:pt x="407" y="668"/>
                    </a:lnTo>
                    <a:lnTo>
                      <a:pt x="409" y="667"/>
                    </a:lnTo>
                    <a:lnTo>
                      <a:pt x="410" y="673"/>
                    </a:lnTo>
                    <a:lnTo>
                      <a:pt x="412" y="675"/>
                    </a:lnTo>
                    <a:lnTo>
                      <a:pt x="412" y="675"/>
                    </a:lnTo>
                    <a:lnTo>
                      <a:pt x="410" y="675"/>
                    </a:lnTo>
                    <a:lnTo>
                      <a:pt x="409" y="677"/>
                    </a:lnTo>
                    <a:lnTo>
                      <a:pt x="406" y="675"/>
                    </a:lnTo>
                    <a:lnTo>
                      <a:pt x="406" y="672"/>
                    </a:lnTo>
                    <a:lnTo>
                      <a:pt x="406" y="671"/>
                    </a:lnTo>
                    <a:lnTo>
                      <a:pt x="404" y="671"/>
                    </a:lnTo>
                    <a:lnTo>
                      <a:pt x="402" y="671"/>
                    </a:lnTo>
                    <a:lnTo>
                      <a:pt x="400" y="670"/>
                    </a:lnTo>
                    <a:lnTo>
                      <a:pt x="400" y="668"/>
                    </a:lnTo>
                    <a:lnTo>
                      <a:pt x="399" y="668"/>
                    </a:lnTo>
                    <a:lnTo>
                      <a:pt x="397" y="669"/>
                    </a:lnTo>
                    <a:lnTo>
                      <a:pt x="397" y="668"/>
                    </a:lnTo>
                    <a:lnTo>
                      <a:pt x="398" y="664"/>
                    </a:lnTo>
                    <a:lnTo>
                      <a:pt x="399" y="662"/>
                    </a:lnTo>
                    <a:lnTo>
                      <a:pt x="401" y="662"/>
                    </a:lnTo>
                    <a:lnTo>
                      <a:pt x="404" y="662"/>
                    </a:lnTo>
                    <a:lnTo>
                      <a:pt x="406" y="664"/>
                    </a:lnTo>
                    <a:close/>
                    <a:moveTo>
                      <a:pt x="376" y="666"/>
                    </a:moveTo>
                    <a:lnTo>
                      <a:pt x="379" y="667"/>
                    </a:lnTo>
                    <a:lnTo>
                      <a:pt x="385" y="670"/>
                    </a:lnTo>
                    <a:lnTo>
                      <a:pt x="388" y="670"/>
                    </a:lnTo>
                    <a:lnTo>
                      <a:pt x="390" y="670"/>
                    </a:lnTo>
                    <a:lnTo>
                      <a:pt x="391" y="671"/>
                    </a:lnTo>
                    <a:lnTo>
                      <a:pt x="392" y="673"/>
                    </a:lnTo>
                    <a:lnTo>
                      <a:pt x="389" y="673"/>
                    </a:lnTo>
                    <a:lnTo>
                      <a:pt x="388" y="676"/>
                    </a:lnTo>
                    <a:lnTo>
                      <a:pt x="390" y="677"/>
                    </a:lnTo>
                    <a:lnTo>
                      <a:pt x="391" y="677"/>
                    </a:lnTo>
                    <a:lnTo>
                      <a:pt x="393" y="675"/>
                    </a:lnTo>
                    <a:lnTo>
                      <a:pt x="396" y="673"/>
                    </a:lnTo>
                    <a:lnTo>
                      <a:pt x="399" y="673"/>
                    </a:lnTo>
                    <a:lnTo>
                      <a:pt x="399" y="674"/>
                    </a:lnTo>
                    <a:lnTo>
                      <a:pt x="396" y="676"/>
                    </a:lnTo>
                    <a:lnTo>
                      <a:pt x="395" y="677"/>
                    </a:lnTo>
                    <a:lnTo>
                      <a:pt x="393" y="678"/>
                    </a:lnTo>
                    <a:lnTo>
                      <a:pt x="391" y="682"/>
                    </a:lnTo>
                    <a:lnTo>
                      <a:pt x="389" y="684"/>
                    </a:lnTo>
                    <a:lnTo>
                      <a:pt x="385" y="682"/>
                    </a:lnTo>
                    <a:lnTo>
                      <a:pt x="383" y="678"/>
                    </a:lnTo>
                    <a:lnTo>
                      <a:pt x="379" y="676"/>
                    </a:lnTo>
                    <a:lnTo>
                      <a:pt x="372" y="668"/>
                    </a:lnTo>
                    <a:lnTo>
                      <a:pt x="371" y="667"/>
                    </a:lnTo>
                    <a:lnTo>
                      <a:pt x="372" y="666"/>
                    </a:lnTo>
                    <a:lnTo>
                      <a:pt x="372" y="664"/>
                    </a:lnTo>
                    <a:lnTo>
                      <a:pt x="370" y="662"/>
                    </a:lnTo>
                    <a:lnTo>
                      <a:pt x="369" y="660"/>
                    </a:lnTo>
                    <a:lnTo>
                      <a:pt x="369" y="659"/>
                    </a:lnTo>
                    <a:lnTo>
                      <a:pt x="370" y="659"/>
                    </a:lnTo>
                    <a:lnTo>
                      <a:pt x="372" y="661"/>
                    </a:lnTo>
                    <a:lnTo>
                      <a:pt x="375" y="664"/>
                    </a:lnTo>
                    <a:lnTo>
                      <a:pt x="376" y="666"/>
                    </a:lnTo>
                    <a:lnTo>
                      <a:pt x="376" y="666"/>
                    </a:lnTo>
                    <a:close/>
                    <a:moveTo>
                      <a:pt x="381" y="651"/>
                    </a:moveTo>
                    <a:lnTo>
                      <a:pt x="381" y="652"/>
                    </a:lnTo>
                    <a:lnTo>
                      <a:pt x="379" y="652"/>
                    </a:lnTo>
                    <a:lnTo>
                      <a:pt x="376" y="649"/>
                    </a:lnTo>
                    <a:lnTo>
                      <a:pt x="377" y="647"/>
                    </a:lnTo>
                    <a:lnTo>
                      <a:pt x="379" y="645"/>
                    </a:lnTo>
                    <a:lnTo>
                      <a:pt x="382" y="646"/>
                    </a:lnTo>
                    <a:lnTo>
                      <a:pt x="384" y="647"/>
                    </a:lnTo>
                    <a:lnTo>
                      <a:pt x="384" y="649"/>
                    </a:lnTo>
                    <a:lnTo>
                      <a:pt x="381" y="651"/>
                    </a:lnTo>
                    <a:lnTo>
                      <a:pt x="381" y="651"/>
                    </a:lnTo>
                    <a:close/>
                    <a:moveTo>
                      <a:pt x="360" y="646"/>
                    </a:moveTo>
                    <a:lnTo>
                      <a:pt x="368" y="652"/>
                    </a:lnTo>
                    <a:lnTo>
                      <a:pt x="369" y="653"/>
                    </a:lnTo>
                    <a:lnTo>
                      <a:pt x="369" y="655"/>
                    </a:lnTo>
                    <a:lnTo>
                      <a:pt x="372" y="656"/>
                    </a:lnTo>
                    <a:lnTo>
                      <a:pt x="375" y="657"/>
                    </a:lnTo>
                    <a:lnTo>
                      <a:pt x="379" y="660"/>
                    </a:lnTo>
                    <a:lnTo>
                      <a:pt x="384" y="665"/>
                    </a:lnTo>
                    <a:lnTo>
                      <a:pt x="386" y="667"/>
                    </a:lnTo>
                    <a:lnTo>
                      <a:pt x="386" y="667"/>
                    </a:lnTo>
                    <a:lnTo>
                      <a:pt x="384" y="668"/>
                    </a:lnTo>
                    <a:lnTo>
                      <a:pt x="382" y="666"/>
                    </a:lnTo>
                    <a:lnTo>
                      <a:pt x="380" y="664"/>
                    </a:lnTo>
                    <a:lnTo>
                      <a:pt x="378" y="664"/>
                    </a:lnTo>
                    <a:lnTo>
                      <a:pt x="376" y="661"/>
                    </a:lnTo>
                    <a:lnTo>
                      <a:pt x="375" y="661"/>
                    </a:lnTo>
                    <a:lnTo>
                      <a:pt x="374" y="661"/>
                    </a:lnTo>
                    <a:lnTo>
                      <a:pt x="372" y="661"/>
                    </a:lnTo>
                    <a:lnTo>
                      <a:pt x="370" y="659"/>
                    </a:lnTo>
                    <a:lnTo>
                      <a:pt x="369" y="657"/>
                    </a:lnTo>
                    <a:lnTo>
                      <a:pt x="368" y="657"/>
                    </a:lnTo>
                    <a:lnTo>
                      <a:pt x="367" y="655"/>
                    </a:lnTo>
                    <a:lnTo>
                      <a:pt x="367" y="654"/>
                    </a:lnTo>
                    <a:lnTo>
                      <a:pt x="365" y="653"/>
                    </a:lnTo>
                    <a:lnTo>
                      <a:pt x="362" y="653"/>
                    </a:lnTo>
                    <a:lnTo>
                      <a:pt x="362" y="652"/>
                    </a:lnTo>
                    <a:lnTo>
                      <a:pt x="361" y="649"/>
                    </a:lnTo>
                    <a:lnTo>
                      <a:pt x="359" y="647"/>
                    </a:lnTo>
                    <a:lnTo>
                      <a:pt x="355" y="648"/>
                    </a:lnTo>
                    <a:lnTo>
                      <a:pt x="354" y="649"/>
                    </a:lnTo>
                    <a:lnTo>
                      <a:pt x="353" y="650"/>
                    </a:lnTo>
                    <a:lnTo>
                      <a:pt x="353" y="648"/>
                    </a:lnTo>
                    <a:lnTo>
                      <a:pt x="354" y="646"/>
                    </a:lnTo>
                    <a:lnTo>
                      <a:pt x="356" y="645"/>
                    </a:lnTo>
                    <a:lnTo>
                      <a:pt x="360" y="646"/>
                    </a:lnTo>
                    <a:lnTo>
                      <a:pt x="360" y="646"/>
                    </a:lnTo>
                    <a:close/>
                    <a:moveTo>
                      <a:pt x="393" y="642"/>
                    </a:moveTo>
                    <a:lnTo>
                      <a:pt x="393" y="644"/>
                    </a:lnTo>
                    <a:lnTo>
                      <a:pt x="391" y="643"/>
                    </a:lnTo>
                    <a:lnTo>
                      <a:pt x="391" y="645"/>
                    </a:lnTo>
                    <a:lnTo>
                      <a:pt x="391" y="645"/>
                    </a:lnTo>
                    <a:lnTo>
                      <a:pt x="392" y="648"/>
                    </a:lnTo>
                    <a:lnTo>
                      <a:pt x="393" y="653"/>
                    </a:lnTo>
                    <a:lnTo>
                      <a:pt x="393" y="655"/>
                    </a:lnTo>
                    <a:lnTo>
                      <a:pt x="391" y="652"/>
                    </a:lnTo>
                    <a:lnTo>
                      <a:pt x="390" y="651"/>
                    </a:lnTo>
                    <a:lnTo>
                      <a:pt x="389" y="649"/>
                    </a:lnTo>
                    <a:lnTo>
                      <a:pt x="389" y="640"/>
                    </a:lnTo>
                    <a:lnTo>
                      <a:pt x="390" y="639"/>
                    </a:lnTo>
                    <a:lnTo>
                      <a:pt x="391" y="638"/>
                    </a:lnTo>
                    <a:lnTo>
                      <a:pt x="392" y="639"/>
                    </a:lnTo>
                    <a:lnTo>
                      <a:pt x="393" y="641"/>
                    </a:lnTo>
                    <a:lnTo>
                      <a:pt x="393" y="642"/>
                    </a:lnTo>
                    <a:lnTo>
                      <a:pt x="393" y="642"/>
                    </a:lnTo>
                    <a:close/>
                    <a:moveTo>
                      <a:pt x="333" y="635"/>
                    </a:moveTo>
                    <a:lnTo>
                      <a:pt x="338" y="639"/>
                    </a:lnTo>
                    <a:lnTo>
                      <a:pt x="340" y="641"/>
                    </a:lnTo>
                    <a:lnTo>
                      <a:pt x="342" y="641"/>
                    </a:lnTo>
                    <a:lnTo>
                      <a:pt x="344" y="641"/>
                    </a:lnTo>
                    <a:lnTo>
                      <a:pt x="345" y="644"/>
                    </a:lnTo>
                    <a:lnTo>
                      <a:pt x="346" y="645"/>
                    </a:lnTo>
                    <a:lnTo>
                      <a:pt x="347" y="645"/>
                    </a:lnTo>
                    <a:lnTo>
                      <a:pt x="349" y="643"/>
                    </a:lnTo>
                    <a:lnTo>
                      <a:pt x="350" y="643"/>
                    </a:lnTo>
                    <a:lnTo>
                      <a:pt x="353" y="645"/>
                    </a:lnTo>
                    <a:lnTo>
                      <a:pt x="353" y="646"/>
                    </a:lnTo>
                    <a:lnTo>
                      <a:pt x="351" y="648"/>
                    </a:lnTo>
                    <a:lnTo>
                      <a:pt x="350" y="648"/>
                    </a:lnTo>
                    <a:lnTo>
                      <a:pt x="349" y="648"/>
                    </a:lnTo>
                    <a:lnTo>
                      <a:pt x="346" y="647"/>
                    </a:lnTo>
                    <a:lnTo>
                      <a:pt x="333" y="639"/>
                    </a:lnTo>
                    <a:lnTo>
                      <a:pt x="330" y="639"/>
                    </a:lnTo>
                    <a:lnTo>
                      <a:pt x="329" y="641"/>
                    </a:lnTo>
                    <a:lnTo>
                      <a:pt x="327" y="640"/>
                    </a:lnTo>
                    <a:lnTo>
                      <a:pt x="323" y="638"/>
                    </a:lnTo>
                    <a:lnTo>
                      <a:pt x="322" y="635"/>
                    </a:lnTo>
                    <a:lnTo>
                      <a:pt x="321" y="631"/>
                    </a:lnTo>
                    <a:lnTo>
                      <a:pt x="322" y="628"/>
                    </a:lnTo>
                    <a:lnTo>
                      <a:pt x="326" y="624"/>
                    </a:lnTo>
                    <a:lnTo>
                      <a:pt x="328" y="621"/>
                    </a:lnTo>
                    <a:lnTo>
                      <a:pt x="330" y="620"/>
                    </a:lnTo>
                    <a:lnTo>
                      <a:pt x="330" y="622"/>
                    </a:lnTo>
                    <a:lnTo>
                      <a:pt x="329" y="624"/>
                    </a:lnTo>
                    <a:lnTo>
                      <a:pt x="326" y="628"/>
                    </a:lnTo>
                    <a:lnTo>
                      <a:pt x="326" y="630"/>
                    </a:lnTo>
                    <a:lnTo>
                      <a:pt x="327" y="631"/>
                    </a:lnTo>
                    <a:lnTo>
                      <a:pt x="328" y="632"/>
                    </a:lnTo>
                    <a:lnTo>
                      <a:pt x="330" y="632"/>
                    </a:lnTo>
                    <a:lnTo>
                      <a:pt x="331" y="633"/>
                    </a:lnTo>
                    <a:lnTo>
                      <a:pt x="333" y="635"/>
                    </a:lnTo>
                    <a:lnTo>
                      <a:pt x="333" y="635"/>
                    </a:lnTo>
                    <a:close/>
                    <a:moveTo>
                      <a:pt x="337" y="618"/>
                    </a:moveTo>
                    <a:lnTo>
                      <a:pt x="338" y="619"/>
                    </a:lnTo>
                    <a:lnTo>
                      <a:pt x="340" y="618"/>
                    </a:lnTo>
                    <a:lnTo>
                      <a:pt x="340" y="619"/>
                    </a:lnTo>
                    <a:lnTo>
                      <a:pt x="339" y="621"/>
                    </a:lnTo>
                    <a:lnTo>
                      <a:pt x="338" y="622"/>
                    </a:lnTo>
                    <a:lnTo>
                      <a:pt x="336" y="621"/>
                    </a:lnTo>
                    <a:lnTo>
                      <a:pt x="332" y="618"/>
                    </a:lnTo>
                    <a:lnTo>
                      <a:pt x="331" y="617"/>
                    </a:lnTo>
                    <a:lnTo>
                      <a:pt x="330" y="615"/>
                    </a:lnTo>
                    <a:lnTo>
                      <a:pt x="329" y="609"/>
                    </a:lnTo>
                    <a:lnTo>
                      <a:pt x="329" y="602"/>
                    </a:lnTo>
                    <a:lnTo>
                      <a:pt x="331" y="595"/>
                    </a:lnTo>
                    <a:lnTo>
                      <a:pt x="336" y="592"/>
                    </a:lnTo>
                    <a:lnTo>
                      <a:pt x="333" y="596"/>
                    </a:lnTo>
                    <a:lnTo>
                      <a:pt x="331" y="599"/>
                    </a:lnTo>
                    <a:lnTo>
                      <a:pt x="331" y="603"/>
                    </a:lnTo>
                    <a:lnTo>
                      <a:pt x="332" y="606"/>
                    </a:lnTo>
                    <a:lnTo>
                      <a:pt x="336" y="609"/>
                    </a:lnTo>
                    <a:lnTo>
                      <a:pt x="338" y="610"/>
                    </a:lnTo>
                    <a:lnTo>
                      <a:pt x="338" y="611"/>
                    </a:lnTo>
                    <a:lnTo>
                      <a:pt x="337" y="614"/>
                    </a:lnTo>
                    <a:lnTo>
                      <a:pt x="337" y="617"/>
                    </a:lnTo>
                    <a:lnTo>
                      <a:pt x="337" y="618"/>
                    </a:lnTo>
                    <a:close/>
                    <a:moveTo>
                      <a:pt x="740" y="157"/>
                    </a:moveTo>
                    <a:lnTo>
                      <a:pt x="743" y="160"/>
                    </a:lnTo>
                    <a:lnTo>
                      <a:pt x="746" y="162"/>
                    </a:lnTo>
                    <a:lnTo>
                      <a:pt x="750" y="164"/>
                    </a:lnTo>
                    <a:lnTo>
                      <a:pt x="804" y="176"/>
                    </a:lnTo>
                    <a:lnTo>
                      <a:pt x="813" y="180"/>
                    </a:lnTo>
                    <a:lnTo>
                      <a:pt x="819" y="183"/>
                    </a:lnTo>
                    <a:lnTo>
                      <a:pt x="823" y="188"/>
                    </a:lnTo>
                    <a:lnTo>
                      <a:pt x="823" y="189"/>
                    </a:lnTo>
                    <a:lnTo>
                      <a:pt x="828" y="192"/>
                    </a:lnTo>
                    <a:lnTo>
                      <a:pt x="832" y="196"/>
                    </a:lnTo>
                    <a:lnTo>
                      <a:pt x="843" y="201"/>
                    </a:lnTo>
                    <a:lnTo>
                      <a:pt x="862" y="217"/>
                    </a:lnTo>
                    <a:lnTo>
                      <a:pt x="872" y="228"/>
                    </a:lnTo>
                    <a:lnTo>
                      <a:pt x="874" y="231"/>
                    </a:lnTo>
                    <a:lnTo>
                      <a:pt x="876" y="236"/>
                    </a:lnTo>
                    <a:lnTo>
                      <a:pt x="894" y="310"/>
                    </a:lnTo>
                    <a:lnTo>
                      <a:pt x="895" y="313"/>
                    </a:lnTo>
                    <a:lnTo>
                      <a:pt x="898" y="317"/>
                    </a:lnTo>
                    <a:lnTo>
                      <a:pt x="901" y="320"/>
                    </a:lnTo>
                    <a:lnTo>
                      <a:pt x="907" y="324"/>
                    </a:lnTo>
                    <a:lnTo>
                      <a:pt x="928" y="335"/>
                    </a:lnTo>
                    <a:lnTo>
                      <a:pt x="932" y="338"/>
                    </a:lnTo>
                    <a:lnTo>
                      <a:pt x="935" y="342"/>
                    </a:lnTo>
                    <a:lnTo>
                      <a:pt x="936" y="346"/>
                    </a:lnTo>
                    <a:lnTo>
                      <a:pt x="935" y="350"/>
                    </a:lnTo>
                    <a:lnTo>
                      <a:pt x="933" y="354"/>
                    </a:lnTo>
                    <a:lnTo>
                      <a:pt x="932" y="358"/>
                    </a:lnTo>
                    <a:lnTo>
                      <a:pt x="928" y="361"/>
                    </a:lnTo>
                    <a:lnTo>
                      <a:pt x="907" y="380"/>
                    </a:lnTo>
                    <a:lnTo>
                      <a:pt x="900" y="389"/>
                    </a:lnTo>
                    <a:lnTo>
                      <a:pt x="895" y="400"/>
                    </a:lnTo>
                    <a:lnTo>
                      <a:pt x="885" y="430"/>
                    </a:lnTo>
                    <a:lnTo>
                      <a:pt x="882" y="436"/>
                    </a:lnTo>
                    <a:lnTo>
                      <a:pt x="879" y="440"/>
                    </a:lnTo>
                    <a:lnTo>
                      <a:pt x="877" y="442"/>
                    </a:lnTo>
                    <a:lnTo>
                      <a:pt x="871" y="434"/>
                    </a:lnTo>
                    <a:lnTo>
                      <a:pt x="868" y="431"/>
                    </a:lnTo>
                    <a:lnTo>
                      <a:pt x="865" y="429"/>
                    </a:lnTo>
                    <a:lnTo>
                      <a:pt x="860" y="428"/>
                    </a:lnTo>
                    <a:lnTo>
                      <a:pt x="791" y="440"/>
                    </a:lnTo>
                    <a:lnTo>
                      <a:pt x="775" y="440"/>
                    </a:lnTo>
                    <a:lnTo>
                      <a:pt x="766" y="438"/>
                    </a:lnTo>
                    <a:lnTo>
                      <a:pt x="760" y="436"/>
                    </a:lnTo>
                    <a:lnTo>
                      <a:pt x="739" y="420"/>
                    </a:lnTo>
                    <a:lnTo>
                      <a:pt x="718" y="413"/>
                    </a:lnTo>
                    <a:lnTo>
                      <a:pt x="713" y="410"/>
                    </a:lnTo>
                    <a:lnTo>
                      <a:pt x="708" y="406"/>
                    </a:lnTo>
                    <a:lnTo>
                      <a:pt x="706" y="399"/>
                    </a:lnTo>
                    <a:lnTo>
                      <a:pt x="704" y="395"/>
                    </a:lnTo>
                    <a:lnTo>
                      <a:pt x="700" y="392"/>
                    </a:lnTo>
                    <a:lnTo>
                      <a:pt x="697" y="391"/>
                    </a:lnTo>
                    <a:lnTo>
                      <a:pt x="695" y="394"/>
                    </a:lnTo>
                    <a:lnTo>
                      <a:pt x="694" y="396"/>
                    </a:lnTo>
                    <a:lnTo>
                      <a:pt x="695" y="401"/>
                    </a:lnTo>
                    <a:lnTo>
                      <a:pt x="696" y="404"/>
                    </a:lnTo>
                    <a:lnTo>
                      <a:pt x="695" y="407"/>
                    </a:lnTo>
                    <a:lnTo>
                      <a:pt x="691" y="409"/>
                    </a:lnTo>
                    <a:lnTo>
                      <a:pt x="687" y="409"/>
                    </a:lnTo>
                    <a:lnTo>
                      <a:pt x="683" y="407"/>
                    </a:lnTo>
                    <a:lnTo>
                      <a:pt x="670" y="401"/>
                    </a:lnTo>
                    <a:lnTo>
                      <a:pt x="665" y="400"/>
                    </a:lnTo>
                    <a:lnTo>
                      <a:pt x="661" y="399"/>
                    </a:lnTo>
                    <a:lnTo>
                      <a:pt x="657" y="400"/>
                    </a:lnTo>
                    <a:lnTo>
                      <a:pt x="655" y="401"/>
                    </a:lnTo>
                    <a:lnTo>
                      <a:pt x="640" y="413"/>
                    </a:lnTo>
                    <a:lnTo>
                      <a:pt x="635" y="416"/>
                    </a:lnTo>
                    <a:lnTo>
                      <a:pt x="630" y="418"/>
                    </a:lnTo>
                    <a:lnTo>
                      <a:pt x="627" y="417"/>
                    </a:lnTo>
                    <a:lnTo>
                      <a:pt x="625" y="413"/>
                    </a:lnTo>
                    <a:lnTo>
                      <a:pt x="625" y="410"/>
                    </a:lnTo>
                    <a:lnTo>
                      <a:pt x="626" y="406"/>
                    </a:lnTo>
                    <a:lnTo>
                      <a:pt x="626" y="403"/>
                    </a:lnTo>
                    <a:lnTo>
                      <a:pt x="625" y="399"/>
                    </a:lnTo>
                    <a:lnTo>
                      <a:pt x="622" y="396"/>
                    </a:lnTo>
                    <a:lnTo>
                      <a:pt x="611" y="388"/>
                    </a:lnTo>
                    <a:lnTo>
                      <a:pt x="609" y="386"/>
                    </a:lnTo>
                    <a:lnTo>
                      <a:pt x="608" y="382"/>
                    </a:lnTo>
                    <a:lnTo>
                      <a:pt x="607" y="380"/>
                    </a:lnTo>
                    <a:lnTo>
                      <a:pt x="608" y="376"/>
                    </a:lnTo>
                    <a:lnTo>
                      <a:pt x="607" y="374"/>
                    </a:lnTo>
                    <a:lnTo>
                      <a:pt x="605" y="372"/>
                    </a:lnTo>
                    <a:lnTo>
                      <a:pt x="602" y="369"/>
                    </a:lnTo>
                    <a:lnTo>
                      <a:pt x="600" y="368"/>
                    </a:lnTo>
                    <a:lnTo>
                      <a:pt x="595" y="367"/>
                    </a:lnTo>
                    <a:lnTo>
                      <a:pt x="579" y="367"/>
                    </a:lnTo>
                    <a:lnTo>
                      <a:pt x="572" y="365"/>
                    </a:lnTo>
                    <a:lnTo>
                      <a:pt x="566" y="363"/>
                    </a:lnTo>
                    <a:lnTo>
                      <a:pt x="563" y="359"/>
                    </a:lnTo>
                    <a:lnTo>
                      <a:pt x="554" y="345"/>
                    </a:lnTo>
                    <a:lnTo>
                      <a:pt x="550" y="339"/>
                    </a:lnTo>
                    <a:lnTo>
                      <a:pt x="547" y="331"/>
                    </a:lnTo>
                    <a:lnTo>
                      <a:pt x="542" y="314"/>
                    </a:lnTo>
                    <a:lnTo>
                      <a:pt x="541" y="311"/>
                    </a:lnTo>
                    <a:lnTo>
                      <a:pt x="538" y="307"/>
                    </a:lnTo>
                    <a:lnTo>
                      <a:pt x="534" y="304"/>
                    </a:lnTo>
                    <a:lnTo>
                      <a:pt x="531" y="304"/>
                    </a:lnTo>
                    <a:lnTo>
                      <a:pt x="528" y="304"/>
                    </a:lnTo>
                    <a:lnTo>
                      <a:pt x="497" y="320"/>
                    </a:lnTo>
                    <a:lnTo>
                      <a:pt x="493" y="321"/>
                    </a:lnTo>
                    <a:lnTo>
                      <a:pt x="489" y="322"/>
                    </a:lnTo>
                    <a:lnTo>
                      <a:pt x="485" y="322"/>
                    </a:lnTo>
                    <a:lnTo>
                      <a:pt x="478" y="321"/>
                    </a:lnTo>
                    <a:lnTo>
                      <a:pt x="474" y="319"/>
                    </a:lnTo>
                    <a:lnTo>
                      <a:pt x="459" y="310"/>
                    </a:lnTo>
                    <a:lnTo>
                      <a:pt x="451" y="307"/>
                    </a:lnTo>
                    <a:lnTo>
                      <a:pt x="446" y="305"/>
                    </a:lnTo>
                    <a:lnTo>
                      <a:pt x="442" y="305"/>
                    </a:lnTo>
                    <a:lnTo>
                      <a:pt x="438" y="307"/>
                    </a:lnTo>
                    <a:lnTo>
                      <a:pt x="395" y="327"/>
                    </a:lnTo>
                    <a:lnTo>
                      <a:pt x="376" y="332"/>
                    </a:lnTo>
                    <a:lnTo>
                      <a:pt x="373" y="334"/>
                    </a:lnTo>
                    <a:lnTo>
                      <a:pt x="369" y="337"/>
                    </a:lnTo>
                    <a:lnTo>
                      <a:pt x="369" y="340"/>
                    </a:lnTo>
                    <a:lnTo>
                      <a:pt x="369" y="343"/>
                    </a:lnTo>
                    <a:lnTo>
                      <a:pt x="372" y="345"/>
                    </a:lnTo>
                    <a:lnTo>
                      <a:pt x="376" y="345"/>
                    </a:lnTo>
                    <a:lnTo>
                      <a:pt x="386" y="343"/>
                    </a:lnTo>
                    <a:lnTo>
                      <a:pt x="390" y="343"/>
                    </a:lnTo>
                    <a:lnTo>
                      <a:pt x="391" y="343"/>
                    </a:lnTo>
                    <a:lnTo>
                      <a:pt x="395" y="344"/>
                    </a:lnTo>
                    <a:lnTo>
                      <a:pt x="398" y="347"/>
                    </a:lnTo>
                    <a:lnTo>
                      <a:pt x="400" y="350"/>
                    </a:lnTo>
                    <a:lnTo>
                      <a:pt x="402" y="351"/>
                    </a:lnTo>
                    <a:lnTo>
                      <a:pt x="403" y="355"/>
                    </a:lnTo>
                    <a:lnTo>
                      <a:pt x="406" y="366"/>
                    </a:lnTo>
                    <a:lnTo>
                      <a:pt x="406" y="371"/>
                    </a:lnTo>
                    <a:lnTo>
                      <a:pt x="406" y="381"/>
                    </a:lnTo>
                    <a:lnTo>
                      <a:pt x="402" y="407"/>
                    </a:lnTo>
                    <a:lnTo>
                      <a:pt x="402" y="415"/>
                    </a:lnTo>
                    <a:lnTo>
                      <a:pt x="403" y="419"/>
                    </a:lnTo>
                    <a:lnTo>
                      <a:pt x="404" y="424"/>
                    </a:lnTo>
                    <a:lnTo>
                      <a:pt x="406" y="427"/>
                    </a:lnTo>
                    <a:lnTo>
                      <a:pt x="408" y="432"/>
                    </a:lnTo>
                    <a:lnTo>
                      <a:pt x="411" y="435"/>
                    </a:lnTo>
                    <a:lnTo>
                      <a:pt x="414" y="439"/>
                    </a:lnTo>
                    <a:lnTo>
                      <a:pt x="418" y="441"/>
                    </a:lnTo>
                    <a:lnTo>
                      <a:pt x="422" y="443"/>
                    </a:lnTo>
                    <a:lnTo>
                      <a:pt x="442" y="449"/>
                    </a:lnTo>
                    <a:lnTo>
                      <a:pt x="445" y="450"/>
                    </a:lnTo>
                    <a:lnTo>
                      <a:pt x="448" y="454"/>
                    </a:lnTo>
                    <a:lnTo>
                      <a:pt x="450" y="458"/>
                    </a:lnTo>
                    <a:lnTo>
                      <a:pt x="450" y="463"/>
                    </a:lnTo>
                    <a:lnTo>
                      <a:pt x="449" y="467"/>
                    </a:lnTo>
                    <a:lnTo>
                      <a:pt x="448" y="470"/>
                    </a:lnTo>
                    <a:lnTo>
                      <a:pt x="437" y="487"/>
                    </a:lnTo>
                    <a:lnTo>
                      <a:pt x="435" y="495"/>
                    </a:lnTo>
                    <a:lnTo>
                      <a:pt x="434" y="498"/>
                    </a:lnTo>
                    <a:lnTo>
                      <a:pt x="434" y="502"/>
                    </a:lnTo>
                    <a:lnTo>
                      <a:pt x="434" y="506"/>
                    </a:lnTo>
                    <a:lnTo>
                      <a:pt x="435" y="510"/>
                    </a:lnTo>
                    <a:lnTo>
                      <a:pt x="444" y="530"/>
                    </a:lnTo>
                    <a:lnTo>
                      <a:pt x="447" y="537"/>
                    </a:lnTo>
                    <a:lnTo>
                      <a:pt x="449" y="545"/>
                    </a:lnTo>
                    <a:lnTo>
                      <a:pt x="450" y="548"/>
                    </a:lnTo>
                    <a:lnTo>
                      <a:pt x="451" y="550"/>
                    </a:lnTo>
                    <a:lnTo>
                      <a:pt x="453" y="549"/>
                    </a:lnTo>
                    <a:lnTo>
                      <a:pt x="460" y="545"/>
                    </a:lnTo>
                    <a:lnTo>
                      <a:pt x="464" y="543"/>
                    </a:lnTo>
                    <a:lnTo>
                      <a:pt x="467" y="544"/>
                    </a:lnTo>
                    <a:lnTo>
                      <a:pt x="497" y="562"/>
                    </a:lnTo>
                    <a:lnTo>
                      <a:pt x="499" y="563"/>
                    </a:lnTo>
                    <a:lnTo>
                      <a:pt x="501" y="565"/>
                    </a:lnTo>
                    <a:lnTo>
                      <a:pt x="504" y="575"/>
                    </a:lnTo>
                    <a:lnTo>
                      <a:pt x="505" y="579"/>
                    </a:lnTo>
                    <a:lnTo>
                      <a:pt x="507" y="583"/>
                    </a:lnTo>
                    <a:lnTo>
                      <a:pt x="510" y="586"/>
                    </a:lnTo>
                    <a:lnTo>
                      <a:pt x="532" y="605"/>
                    </a:lnTo>
                    <a:lnTo>
                      <a:pt x="534" y="609"/>
                    </a:lnTo>
                    <a:lnTo>
                      <a:pt x="537" y="612"/>
                    </a:lnTo>
                    <a:lnTo>
                      <a:pt x="540" y="617"/>
                    </a:lnTo>
                    <a:lnTo>
                      <a:pt x="545" y="632"/>
                    </a:lnTo>
                    <a:lnTo>
                      <a:pt x="551" y="654"/>
                    </a:lnTo>
                    <a:lnTo>
                      <a:pt x="552" y="658"/>
                    </a:lnTo>
                    <a:lnTo>
                      <a:pt x="554" y="659"/>
                    </a:lnTo>
                    <a:lnTo>
                      <a:pt x="557" y="660"/>
                    </a:lnTo>
                    <a:lnTo>
                      <a:pt x="567" y="660"/>
                    </a:lnTo>
                    <a:lnTo>
                      <a:pt x="571" y="661"/>
                    </a:lnTo>
                    <a:lnTo>
                      <a:pt x="573" y="662"/>
                    </a:lnTo>
                    <a:lnTo>
                      <a:pt x="575" y="664"/>
                    </a:lnTo>
                    <a:lnTo>
                      <a:pt x="577" y="668"/>
                    </a:lnTo>
                    <a:lnTo>
                      <a:pt x="577" y="671"/>
                    </a:lnTo>
                    <a:lnTo>
                      <a:pt x="571" y="714"/>
                    </a:lnTo>
                    <a:lnTo>
                      <a:pt x="573" y="774"/>
                    </a:lnTo>
                    <a:lnTo>
                      <a:pt x="572" y="777"/>
                    </a:lnTo>
                    <a:lnTo>
                      <a:pt x="571" y="781"/>
                    </a:lnTo>
                    <a:lnTo>
                      <a:pt x="567" y="785"/>
                    </a:lnTo>
                    <a:lnTo>
                      <a:pt x="564" y="788"/>
                    </a:lnTo>
                    <a:lnTo>
                      <a:pt x="559" y="790"/>
                    </a:lnTo>
                    <a:lnTo>
                      <a:pt x="556" y="791"/>
                    </a:lnTo>
                    <a:lnTo>
                      <a:pt x="547" y="791"/>
                    </a:lnTo>
                    <a:lnTo>
                      <a:pt x="540" y="790"/>
                    </a:lnTo>
                    <a:lnTo>
                      <a:pt x="536" y="789"/>
                    </a:lnTo>
                    <a:lnTo>
                      <a:pt x="533" y="790"/>
                    </a:lnTo>
                    <a:lnTo>
                      <a:pt x="528" y="792"/>
                    </a:lnTo>
                    <a:lnTo>
                      <a:pt x="525" y="796"/>
                    </a:lnTo>
                    <a:lnTo>
                      <a:pt x="520" y="801"/>
                    </a:lnTo>
                    <a:lnTo>
                      <a:pt x="517" y="806"/>
                    </a:lnTo>
                    <a:lnTo>
                      <a:pt x="512" y="808"/>
                    </a:lnTo>
                    <a:lnTo>
                      <a:pt x="508" y="809"/>
                    </a:lnTo>
                    <a:lnTo>
                      <a:pt x="504" y="811"/>
                    </a:lnTo>
                    <a:lnTo>
                      <a:pt x="498" y="812"/>
                    </a:lnTo>
                    <a:lnTo>
                      <a:pt x="484" y="812"/>
                    </a:lnTo>
                    <a:lnTo>
                      <a:pt x="481" y="813"/>
                    </a:lnTo>
                    <a:lnTo>
                      <a:pt x="478" y="815"/>
                    </a:lnTo>
                    <a:lnTo>
                      <a:pt x="475" y="817"/>
                    </a:lnTo>
                    <a:lnTo>
                      <a:pt x="473" y="821"/>
                    </a:lnTo>
                    <a:lnTo>
                      <a:pt x="472" y="823"/>
                    </a:lnTo>
                    <a:lnTo>
                      <a:pt x="470" y="835"/>
                    </a:lnTo>
                    <a:lnTo>
                      <a:pt x="469" y="836"/>
                    </a:lnTo>
                    <a:lnTo>
                      <a:pt x="459" y="820"/>
                    </a:lnTo>
                    <a:lnTo>
                      <a:pt x="449" y="806"/>
                    </a:lnTo>
                    <a:lnTo>
                      <a:pt x="444" y="799"/>
                    </a:lnTo>
                    <a:lnTo>
                      <a:pt x="444" y="794"/>
                    </a:lnTo>
                    <a:lnTo>
                      <a:pt x="444" y="793"/>
                    </a:lnTo>
                    <a:lnTo>
                      <a:pt x="444" y="791"/>
                    </a:lnTo>
                    <a:lnTo>
                      <a:pt x="444" y="789"/>
                    </a:lnTo>
                    <a:lnTo>
                      <a:pt x="444" y="788"/>
                    </a:lnTo>
                    <a:lnTo>
                      <a:pt x="443" y="787"/>
                    </a:lnTo>
                    <a:lnTo>
                      <a:pt x="440" y="790"/>
                    </a:lnTo>
                    <a:lnTo>
                      <a:pt x="438" y="790"/>
                    </a:lnTo>
                    <a:lnTo>
                      <a:pt x="436" y="788"/>
                    </a:lnTo>
                    <a:lnTo>
                      <a:pt x="434" y="784"/>
                    </a:lnTo>
                    <a:lnTo>
                      <a:pt x="430" y="778"/>
                    </a:lnTo>
                    <a:lnTo>
                      <a:pt x="435" y="778"/>
                    </a:lnTo>
                    <a:lnTo>
                      <a:pt x="438" y="779"/>
                    </a:lnTo>
                    <a:lnTo>
                      <a:pt x="443" y="779"/>
                    </a:lnTo>
                    <a:lnTo>
                      <a:pt x="446" y="777"/>
                    </a:lnTo>
                    <a:lnTo>
                      <a:pt x="449" y="775"/>
                    </a:lnTo>
                    <a:lnTo>
                      <a:pt x="449" y="765"/>
                    </a:lnTo>
                    <a:lnTo>
                      <a:pt x="452" y="758"/>
                    </a:lnTo>
                    <a:lnTo>
                      <a:pt x="451" y="754"/>
                    </a:lnTo>
                    <a:lnTo>
                      <a:pt x="449" y="746"/>
                    </a:lnTo>
                    <a:lnTo>
                      <a:pt x="448" y="741"/>
                    </a:lnTo>
                    <a:lnTo>
                      <a:pt x="449" y="730"/>
                    </a:lnTo>
                    <a:lnTo>
                      <a:pt x="448" y="726"/>
                    </a:lnTo>
                    <a:lnTo>
                      <a:pt x="448" y="722"/>
                    </a:lnTo>
                    <a:lnTo>
                      <a:pt x="446" y="718"/>
                    </a:lnTo>
                    <a:lnTo>
                      <a:pt x="444" y="715"/>
                    </a:lnTo>
                    <a:lnTo>
                      <a:pt x="441" y="711"/>
                    </a:lnTo>
                    <a:lnTo>
                      <a:pt x="439" y="709"/>
                    </a:lnTo>
                    <a:lnTo>
                      <a:pt x="437" y="708"/>
                    </a:lnTo>
                    <a:lnTo>
                      <a:pt x="436" y="707"/>
                    </a:lnTo>
                    <a:lnTo>
                      <a:pt x="434" y="703"/>
                    </a:lnTo>
                    <a:lnTo>
                      <a:pt x="433" y="701"/>
                    </a:lnTo>
                    <a:lnTo>
                      <a:pt x="429" y="699"/>
                    </a:lnTo>
                    <a:lnTo>
                      <a:pt x="426" y="695"/>
                    </a:lnTo>
                    <a:lnTo>
                      <a:pt x="423" y="691"/>
                    </a:lnTo>
                    <a:lnTo>
                      <a:pt x="421" y="687"/>
                    </a:lnTo>
                    <a:lnTo>
                      <a:pt x="421" y="685"/>
                    </a:lnTo>
                    <a:lnTo>
                      <a:pt x="421" y="681"/>
                    </a:lnTo>
                    <a:lnTo>
                      <a:pt x="420" y="679"/>
                    </a:lnTo>
                    <a:lnTo>
                      <a:pt x="419" y="677"/>
                    </a:lnTo>
                    <a:lnTo>
                      <a:pt x="416" y="675"/>
                    </a:lnTo>
                    <a:lnTo>
                      <a:pt x="415" y="673"/>
                    </a:lnTo>
                    <a:lnTo>
                      <a:pt x="419" y="671"/>
                    </a:lnTo>
                    <a:lnTo>
                      <a:pt x="416" y="667"/>
                    </a:lnTo>
                    <a:lnTo>
                      <a:pt x="409" y="659"/>
                    </a:lnTo>
                    <a:lnTo>
                      <a:pt x="407" y="657"/>
                    </a:lnTo>
                    <a:lnTo>
                      <a:pt x="405" y="648"/>
                    </a:lnTo>
                    <a:lnTo>
                      <a:pt x="404" y="647"/>
                    </a:lnTo>
                    <a:lnTo>
                      <a:pt x="401" y="646"/>
                    </a:lnTo>
                    <a:lnTo>
                      <a:pt x="400" y="645"/>
                    </a:lnTo>
                    <a:lnTo>
                      <a:pt x="400" y="644"/>
                    </a:lnTo>
                    <a:lnTo>
                      <a:pt x="400" y="641"/>
                    </a:lnTo>
                    <a:lnTo>
                      <a:pt x="399" y="639"/>
                    </a:lnTo>
                    <a:lnTo>
                      <a:pt x="396" y="632"/>
                    </a:lnTo>
                    <a:lnTo>
                      <a:pt x="395" y="631"/>
                    </a:lnTo>
                    <a:lnTo>
                      <a:pt x="393" y="629"/>
                    </a:lnTo>
                    <a:lnTo>
                      <a:pt x="388" y="627"/>
                    </a:lnTo>
                    <a:lnTo>
                      <a:pt x="386" y="626"/>
                    </a:lnTo>
                    <a:lnTo>
                      <a:pt x="379" y="616"/>
                    </a:lnTo>
                    <a:lnTo>
                      <a:pt x="375" y="610"/>
                    </a:lnTo>
                    <a:lnTo>
                      <a:pt x="371" y="609"/>
                    </a:lnTo>
                    <a:lnTo>
                      <a:pt x="371" y="612"/>
                    </a:lnTo>
                    <a:lnTo>
                      <a:pt x="372" y="614"/>
                    </a:lnTo>
                    <a:lnTo>
                      <a:pt x="373" y="616"/>
                    </a:lnTo>
                    <a:lnTo>
                      <a:pt x="371" y="617"/>
                    </a:lnTo>
                    <a:lnTo>
                      <a:pt x="369" y="617"/>
                    </a:lnTo>
                    <a:lnTo>
                      <a:pt x="363" y="613"/>
                    </a:lnTo>
                    <a:lnTo>
                      <a:pt x="361" y="612"/>
                    </a:lnTo>
                    <a:lnTo>
                      <a:pt x="360" y="611"/>
                    </a:lnTo>
                    <a:lnTo>
                      <a:pt x="356" y="606"/>
                    </a:lnTo>
                    <a:lnTo>
                      <a:pt x="354" y="604"/>
                    </a:lnTo>
                    <a:lnTo>
                      <a:pt x="354" y="603"/>
                    </a:lnTo>
                    <a:lnTo>
                      <a:pt x="354" y="599"/>
                    </a:lnTo>
                    <a:lnTo>
                      <a:pt x="354" y="598"/>
                    </a:lnTo>
                    <a:lnTo>
                      <a:pt x="353" y="597"/>
                    </a:lnTo>
                    <a:lnTo>
                      <a:pt x="351" y="597"/>
                    </a:lnTo>
                    <a:lnTo>
                      <a:pt x="349" y="592"/>
                    </a:lnTo>
                    <a:lnTo>
                      <a:pt x="349" y="587"/>
                    </a:lnTo>
                    <a:lnTo>
                      <a:pt x="351" y="583"/>
                    </a:lnTo>
                    <a:lnTo>
                      <a:pt x="354" y="579"/>
                    </a:lnTo>
                    <a:lnTo>
                      <a:pt x="356" y="576"/>
                    </a:lnTo>
                    <a:lnTo>
                      <a:pt x="357" y="571"/>
                    </a:lnTo>
                    <a:lnTo>
                      <a:pt x="356" y="565"/>
                    </a:lnTo>
                    <a:lnTo>
                      <a:pt x="354" y="561"/>
                    </a:lnTo>
                    <a:lnTo>
                      <a:pt x="351" y="556"/>
                    </a:lnTo>
                    <a:lnTo>
                      <a:pt x="346" y="554"/>
                    </a:lnTo>
                    <a:lnTo>
                      <a:pt x="339" y="552"/>
                    </a:lnTo>
                    <a:lnTo>
                      <a:pt x="334" y="552"/>
                    </a:lnTo>
                    <a:lnTo>
                      <a:pt x="328" y="549"/>
                    </a:lnTo>
                    <a:lnTo>
                      <a:pt x="324" y="544"/>
                    </a:lnTo>
                    <a:lnTo>
                      <a:pt x="314" y="519"/>
                    </a:lnTo>
                    <a:lnTo>
                      <a:pt x="309" y="512"/>
                    </a:lnTo>
                    <a:lnTo>
                      <a:pt x="302" y="502"/>
                    </a:lnTo>
                    <a:lnTo>
                      <a:pt x="290" y="472"/>
                    </a:lnTo>
                    <a:lnTo>
                      <a:pt x="277" y="448"/>
                    </a:lnTo>
                    <a:lnTo>
                      <a:pt x="269" y="438"/>
                    </a:lnTo>
                    <a:lnTo>
                      <a:pt x="259" y="429"/>
                    </a:lnTo>
                    <a:lnTo>
                      <a:pt x="255" y="424"/>
                    </a:lnTo>
                    <a:lnTo>
                      <a:pt x="252" y="416"/>
                    </a:lnTo>
                    <a:lnTo>
                      <a:pt x="247" y="407"/>
                    </a:lnTo>
                    <a:lnTo>
                      <a:pt x="243" y="396"/>
                    </a:lnTo>
                    <a:lnTo>
                      <a:pt x="241" y="396"/>
                    </a:lnTo>
                    <a:lnTo>
                      <a:pt x="238" y="394"/>
                    </a:lnTo>
                    <a:lnTo>
                      <a:pt x="234" y="388"/>
                    </a:lnTo>
                    <a:lnTo>
                      <a:pt x="224" y="378"/>
                    </a:lnTo>
                    <a:lnTo>
                      <a:pt x="210" y="360"/>
                    </a:lnTo>
                    <a:lnTo>
                      <a:pt x="205" y="351"/>
                    </a:lnTo>
                    <a:lnTo>
                      <a:pt x="204" y="350"/>
                    </a:lnTo>
                    <a:lnTo>
                      <a:pt x="204" y="348"/>
                    </a:lnTo>
                    <a:lnTo>
                      <a:pt x="205" y="346"/>
                    </a:lnTo>
                    <a:lnTo>
                      <a:pt x="206" y="343"/>
                    </a:lnTo>
                    <a:lnTo>
                      <a:pt x="207" y="342"/>
                    </a:lnTo>
                    <a:lnTo>
                      <a:pt x="206" y="339"/>
                    </a:lnTo>
                    <a:lnTo>
                      <a:pt x="203" y="334"/>
                    </a:lnTo>
                    <a:lnTo>
                      <a:pt x="188" y="316"/>
                    </a:lnTo>
                    <a:lnTo>
                      <a:pt x="180" y="311"/>
                    </a:lnTo>
                    <a:lnTo>
                      <a:pt x="178" y="309"/>
                    </a:lnTo>
                    <a:lnTo>
                      <a:pt x="174" y="304"/>
                    </a:lnTo>
                    <a:lnTo>
                      <a:pt x="170" y="297"/>
                    </a:lnTo>
                    <a:lnTo>
                      <a:pt x="165" y="291"/>
                    </a:lnTo>
                    <a:lnTo>
                      <a:pt x="158" y="280"/>
                    </a:lnTo>
                    <a:lnTo>
                      <a:pt x="157" y="275"/>
                    </a:lnTo>
                    <a:lnTo>
                      <a:pt x="156" y="271"/>
                    </a:lnTo>
                    <a:lnTo>
                      <a:pt x="156" y="265"/>
                    </a:lnTo>
                    <a:lnTo>
                      <a:pt x="155" y="261"/>
                    </a:lnTo>
                    <a:lnTo>
                      <a:pt x="153" y="259"/>
                    </a:lnTo>
                    <a:lnTo>
                      <a:pt x="148" y="252"/>
                    </a:lnTo>
                    <a:lnTo>
                      <a:pt x="144" y="247"/>
                    </a:lnTo>
                    <a:lnTo>
                      <a:pt x="141" y="236"/>
                    </a:lnTo>
                    <a:lnTo>
                      <a:pt x="137" y="231"/>
                    </a:lnTo>
                    <a:lnTo>
                      <a:pt x="135" y="229"/>
                    </a:lnTo>
                    <a:lnTo>
                      <a:pt x="132" y="228"/>
                    </a:lnTo>
                    <a:lnTo>
                      <a:pt x="131" y="228"/>
                    </a:lnTo>
                    <a:lnTo>
                      <a:pt x="130" y="226"/>
                    </a:lnTo>
                    <a:lnTo>
                      <a:pt x="129" y="224"/>
                    </a:lnTo>
                    <a:lnTo>
                      <a:pt x="128" y="221"/>
                    </a:lnTo>
                    <a:lnTo>
                      <a:pt x="127" y="214"/>
                    </a:lnTo>
                    <a:lnTo>
                      <a:pt x="125" y="212"/>
                    </a:lnTo>
                    <a:lnTo>
                      <a:pt x="116" y="202"/>
                    </a:lnTo>
                    <a:lnTo>
                      <a:pt x="113" y="198"/>
                    </a:lnTo>
                    <a:lnTo>
                      <a:pt x="113" y="196"/>
                    </a:lnTo>
                    <a:lnTo>
                      <a:pt x="109" y="194"/>
                    </a:lnTo>
                    <a:lnTo>
                      <a:pt x="101" y="188"/>
                    </a:lnTo>
                    <a:lnTo>
                      <a:pt x="101" y="190"/>
                    </a:lnTo>
                    <a:lnTo>
                      <a:pt x="100" y="190"/>
                    </a:lnTo>
                    <a:lnTo>
                      <a:pt x="98" y="187"/>
                    </a:lnTo>
                    <a:lnTo>
                      <a:pt x="100" y="185"/>
                    </a:lnTo>
                    <a:lnTo>
                      <a:pt x="105" y="183"/>
                    </a:lnTo>
                    <a:lnTo>
                      <a:pt x="107" y="182"/>
                    </a:lnTo>
                    <a:lnTo>
                      <a:pt x="109" y="182"/>
                    </a:lnTo>
                    <a:lnTo>
                      <a:pt x="109" y="182"/>
                    </a:lnTo>
                    <a:lnTo>
                      <a:pt x="107" y="178"/>
                    </a:lnTo>
                    <a:lnTo>
                      <a:pt x="106" y="178"/>
                    </a:lnTo>
                    <a:lnTo>
                      <a:pt x="102" y="176"/>
                    </a:lnTo>
                    <a:lnTo>
                      <a:pt x="100" y="176"/>
                    </a:lnTo>
                    <a:lnTo>
                      <a:pt x="99" y="176"/>
                    </a:lnTo>
                    <a:lnTo>
                      <a:pt x="99" y="177"/>
                    </a:lnTo>
                    <a:lnTo>
                      <a:pt x="98" y="177"/>
                    </a:lnTo>
                    <a:lnTo>
                      <a:pt x="97" y="175"/>
                    </a:lnTo>
                    <a:lnTo>
                      <a:pt x="95" y="174"/>
                    </a:lnTo>
                    <a:lnTo>
                      <a:pt x="94" y="174"/>
                    </a:lnTo>
                    <a:lnTo>
                      <a:pt x="91" y="174"/>
                    </a:lnTo>
                    <a:lnTo>
                      <a:pt x="90" y="174"/>
                    </a:lnTo>
                    <a:lnTo>
                      <a:pt x="88" y="171"/>
                    </a:lnTo>
                    <a:lnTo>
                      <a:pt x="80" y="166"/>
                    </a:lnTo>
                    <a:lnTo>
                      <a:pt x="78" y="167"/>
                    </a:lnTo>
                    <a:lnTo>
                      <a:pt x="75" y="167"/>
                    </a:lnTo>
                    <a:lnTo>
                      <a:pt x="75" y="167"/>
                    </a:lnTo>
                    <a:lnTo>
                      <a:pt x="75" y="169"/>
                    </a:lnTo>
                    <a:lnTo>
                      <a:pt x="73" y="167"/>
                    </a:lnTo>
                    <a:lnTo>
                      <a:pt x="70" y="167"/>
                    </a:lnTo>
                    <a:lnTo>
                      <a:pt x="68" y="167"/>
                    </a:lnTo>
                    <a:lnTo>
                      <a:pt x="67" y="169"/>
                    </a:lnTo>
                    <a:lnTo>
                      <a:pt x="62" y="170"/>
                    </a:lnTo>
                    <a:lnTo>
                      <a:pt x="60" y="171"/>
                    </a:lnTo>
                    <a:lnTo>
                      <a:pt x="60" y="172"/>
                    </a:lnTo>
                    <a:lnTo>
                      <a:pt x="59" y="174"/>
                    </a:lnTo>
                    <a:lnTo>
                      <a:pt x="58" y="174"/>
                    </a:lnTo>
                    <a:lnTo>
                      <a:pt x="58" y="173"/>
                    </a:lnTo>
                    <a:lnTo>
                      <a:pt x="57" y="173"/>
                    </a:lnTo>
                    <a:lnTo>
                      <a:pt x="54" y="173"/>
                    </a:lnTo>
                    <a:lnTo>
                      <a:pt x="51" y="172"/>
                    </a:lnTo>
                    <a:lnTo>
                      <a:pt x="47" y="173"/>
                    </a:lnTo>
                    <a:lnTo>
                      <a:pt x="45" y="175"/>
                    </a:lnTo>
                    <a:lnTo>
                      <a:pt x="45" y="174"/>
                    </a:lnTo>
                    <a:lnTo>
                      <a:pt x="44" y="174"/>
                    </a:lnTo>
                    <a:lnTo>
                      <a:pt x="44" y="173"/>
                    </a:lnTo>
                    <a:lnTo>
                      <a:pt x="45" y="173"/>
                    </a:lnTo>
                    <a:lnTo>
                      <a:pt x="45" y="171"/>
                    </a:lnTo>
                    <a:lnTo>
                      <a:pt x="45" y="169"/>
                    </a:lnTo>
                    <a:lnTo>
                      <a:pt x="45" y="168"/>
                    </a:lnTo>
                    <a:lnTo>
                      <a:pt x="49" y="167"/>
                    </a:lnTo>
                    <a:lnTo>
                      <a:pt x="47" y="167"/>
                    </a:lnTo>
                    <a:lnTo>
                      <a:pt x="45" y="166"/>
                    </a:lnTo>
                    <a:lnTo>
                      <a:pt x="44" y="167"/>
                    </a:lnTo>
                    <a:lnTo>
                      <a:pt x="42" y="167"/>
                    </a:lnTo>
                    <a:lnTo>
                      <a:pt x="42" y="168"/>
                    </a:lnTo>
                    <a:lnTo>
                      <a:pt x="43" y="168"/>
                    </a:lnTo>
                    <a:lnTo>
                      <a:pt x="43" y="169"/>
                    </a:lnTo>
                    <a:lnTo>
                      <a:pt x="41" y="170"/>
                    </a:lnTo>
                    <a:lnTo>
                      <a:pt x="40" y="172"/>
                    </a:lnTo>
                    <a:lnTo>
                      <a:pt x="38" y="175"/>
                    </a:lnTo>
                    <a:lnTo>
                      <a:pt x="37" y="175"/>
                    </a:lnTo>
                    <a:lnTo>
                      <a:pt x="37" y="174"/>
                    </a:lnTo>
                    <a:lnTo>
                      <a:pt x="37" y="171"/>
                    </a:lnTo>
                    <a:lnTo>
                      <a:pt x="39" y="170"/>
                    </a:lnTo>
                    <a:lnTo>
                      <a:pt x="41" y="169"/>
                    </a:lnTo>
                    <a:lnTo>
                      <a:pt x="41" y="167"/>
                    </a:lnTo>
                    <a:lnTo>
                      <a:pt x="38" y="167"/>
                    </a:lnTo>
                    <a:lnTo>
                      <a:pt x="37" y="167"/>
                    </a:lnTo>
                    <a:lnTo>
                      <a:pt x="35" y="168"/>
                    </a:lnTo>
                    <a:lnTo>
                      <a:pt x="35" y="171"/>
                    </a:lnTo>
                    <a:lnTo>
                      <a:pt x="34" y="170"/>
                    </a:lnTo>
                    <a:lnTo>
                      <a:pt x="33" y="171"/>
                    </a:lnTo>
                    <a:lnTo>
                      <a:pt x="33" y="168"/>
                    </a:lnTo>
                    <a:lnTo>
                      <a:pt x="31" y="168"/>
                    </a:lnTo>
                    <a:lnTo>
                      <a:pt x="31" y="169"/>
                    </a:lnTo>
                    <a:lnTo>
                      <a:pt x="30" y="169"/>
                    </a:lnTo>
                    <a:lnTo>
                      <a:pt x="30" y="168"/>
                    </a:lnTo>
                    <a:lnTo>
                      <a:pt x="29" y="167"/>
                    </a:lnTo>
                    <a:lnTo>
                      <a:pt x="28" y="167"/>
                    </a:lnTo>
                    <a:lnTo>
                      <a:pt x="27" y="168"/>
                    </a:lnTo>
                    <a:lnTo>
                      <a:pt x="25" y="167"/>
                    </a:lnTo>
                    <a:lnTo>
                      <a:pt x="23" y="164"/>
                    </a:lnTo>
                    <a:lnTo>
                      <a:pt x="22" y="162"/>
                    </a:lnTo>
                    <a:lnTo>
                      <a:pt x="21" y="164"/>
                    </a:lnTo>
                    <a:lnTo>
                      <a:pt x="20" y="164"/>
                    </a:lnTo>
                    <a:lnTo>
                      <a:pt x="18" y="163"/>
                    </a:lnTo>
                    <a:lnTo>
                      <a:pt x="17" y="164"/>
                    </a:lnTo>
                    <a:lnTo>
                      <a:pt x="17" y="166"/>
                    </a:lnTo>
                    <a:lnTo>
                      <a:pt x="16" y="167"/>
                    </a:lnTo>
                    <a:lnTo>
                      <a:pt x="13" y="169"/>
                    </a:lnTo>
                    <a:lnTo>
                      <a:pt x="12" y="169"/>
                    </a:lnTo>
                    <a:lnTo>
                      <a:pt x="12" y="171"/>
                    </a:lnTo>
                    <a:lnTo>
                      <a:pt x="15" y="174"/>
                    </a:lnTo>
                    <a:lnTo>
                      <a:pt x="15" y="175"/>
                    </a:lnTo>
                    <a:lnTo>
                      <a:pt x="15" y="175"/>
                    </a:lnTo>
                    <a:lnTo>
                      <a:pt x="14" y="176"/>
                    </a:lnTo>
                    <a:lnTo>
                      <a:pt x="12" y="175"/>
                    </a:lnTo>
                    <a:lnTo>
                      <a:pt x="11" y="178"/>
                    </a:lnTo>
                    <a:lnTo>
                      <a:pt x="11" y="181"/>
                    </a:lnTo>
                    <a:lnTo>
                      <a:pt x="10" y="182"/>
                    </a:lnTo>
                    <a:lnTo>
                      <a:pt x="7" y="182"/>
                    </a:lnTo>
                    <a:lnTo>
                      <a:pt x="7" y="182"/>
                    </a:lnTo>
                    <a:lnTo>
                      <a:pt x="7" y="182"/>
                    </a:lnTo>
                    <a:lnTo>
                      <a:pt x="7" y="180"/>
                    </a:lnTo>
                    <a:lnTo>
                      <a:pt x="6" y="177"/>
                    </a:lnTo>
                    <a:lnTo>
                      <a:pt x="5" y="175"/>
                    </a:lnTo>
                    <a:lnTo>
                      <a:pt x="5" y="170"/>
                    </a:lnTo>
                    <a:lnTo>
                      <a:pt x="4" y="169"/>
                    </a:lnTo>
                    <a:lnTo>
                      <a:pt x="0" y="171"/>
                    </a:lnTo>
                    <a:lnTo>
                      <a:pt x="0" y="168"/>
                    </a:lnTo>
                    <a:lnTo>
                      <a:pt x="0" y="167"/>
                    </a:lnTo>
                    <a:lnTo>
                      <a:pt x="2" y="164"/>
                    </a:lnTo>
                    <a:lnTo>
                      <a:pt x="3" y="162"/>
                    </a:lnTo>
                    <a:lnTo>
                      <a:pt x="5" y="161"/>
                    </a:lnTo>
                    <a:lnTo>
                      <a:pt x="5" y="160"/>
                    </a:lnTo>
                    <a:lnTo>
                      <a:pt x="7" y="160"/>
                    </a:lnTo>
                    <a:lnTo>
                      <a:pt x="8" y="158"/>
                    </a:lnTo>
                    <a:lnTo>
                      <a:pt x="7" y="157"/>
                    </a:lnTo>
                    <a:lnTo>
                      <a:pt x="8" y="155"/>
                    </a:lnTo>
                    <a:lnTo>
                      <a:pt x="11" y="154"/>
                    </a:lnTo>
                    <a:lnTo>
                      <a:pt x="11" y="156"/>
                    </a:lnTo>
                    <a:lnTo>
                      <a:pt x="13" y="157"/>
                    </a:lnTo>
                    <a:lnTo>
                      <a:pt x="14" y="156"/>
                    </a:lnTo>
                    <a:lnTo>
                      <a:pt x="15" y="154"/>
                    </a:lnTo>
                    <a:lnTo>
                      <a:pt x="14" y="154"/>
                    </a:lnTo>
                    <a:lnTo>
                      <a:pt x="14" y="152"/>
                    </a:lnTo>
                    <a:lnTo>
                      <a:pt x="12" y="152"/>
                    </a:lnTo>
                    <a:lnTo>
                      <a:pt x="12" y="150"/>
                    </a:lnTo>
                    <a:lnTo>
                      <a:pt x="14" y="150"/>
                    </a:lnTo>
                    <a:lnTo>
                      <a:pt x="15" y="149"/>
                    </a:lnTo>
                    <a:lnTo>
                      <a:pt x="15" y="147"/>
                    </a:lnTo>
                    <a:lnTo>
                      <a:pt x="15" y="146"/>
                    </a:lnTo>
                    <a:lnTo>
                      <a:pt x="16" y="137"/>
                    </a:lnTo>
                    <a:lnTo>
                      <a:pt x="18" y="137"/>
                    </a:lnTo>
                    <a:lnTo>
                      <a:pt x="19" y="137"/>
                    </a:lnTo>
                    <a:lnTo>
                      <a:pt x="19" y="136"/>
                    </a:lnTo>
                    <a:lnTo>
                      <a:pt x="17" y="137"/>
                    </a:lnTo>
                    <a:lnTo>
                      <a:pt x="16" y="136"/>
                    </a:lnTo>
                    <a:lnTo>
                      <a:pt x="20" y="132"/>
                    </a:lnTo>
                    <a:lnTo>
                      <a:pt x="23" y="126"/>
                    </a:lnTo>
                    <a:lnTo>
                      <a:pt x="26" y="120"/>
                    </a:lnTo>
                    <a:lnTo>
                      <a:pt x="28" y="110"/>
                    </a:lnTo>
                    <a:lnTo>
                      <a:pt x="31" y="106"/>
                    </a:lnTo>
                    <a:lnTo>
                      <a:pt x="32" y="99"/>
                    </a:lnTo>
                    <a:lnTo>
                      <a:pt x="33" y="97"/>
                    </a:lnTo>
                    <a:lnTo>
                      <a:pt x="38" y="88"/>
                    </a:lnTo>
                    <a:lnTo>
                      <a:pt x="37" y="79"/>
                    </a:lnTo>
                    <a:lnTo>
                      <a:pt x="37" y="70"/>
                    </a:lnTo>
                    <a:lnTo>
                      <a:pt x="34" y="61"/>
                    </a:lnTo>
                    <a:lnTo>
                      <a:pt x="37" y="50"/>
                    </a:lnTo>
                    <a:lnTo>
                      <a:pt x="39" y="44"/>
                    </a:lnTo>
                    <a:lnTo>
                      <a:pt x="42" y="39"/>
                    </a:lnTo>
                    <a:lnTo>
                      <a:pt x="42" y="38"/>
                    </a:lnTo>
                    <a:lnTo>
                      <a:pt x="41" y="38"/>
                    </a:lnTo>
                    <a:lnTo>
                      <a:pt x="44" y="33"/>
                    </a:lnTo>
                    <a:lnTo>
                      <a:pt x="44" y="30"/>
                    </a:lnTo>
                    <a:lnTo>
                      <a:pt x="43" y="29"/>
                    </a:lnTo>
                    <a:lnTo>
                      <a:pt x="43" y="27"/>
                    </a:lnTo>
                    <a:lnTo>
                      <a:pt x="45" y="22"/>
                    </a:lnTo>
                    <a:lnTo>
                      <a:pt x="45" y="20"/>
                    </a:lnTo>
                    <a:lnTo>
                      <a:pt x="59" y="19"/>
                    </a:lnTo>
                    <a:lnTo>
                      <a:pt x="65" y="18"/>
                    </a:lnTo>
                    <a:lnTo>
                      <a:pt x="70" y="19"/>
                    </a:lnTo>
                    <a:lnTo>
                      <a:pt x="84" y="22"/>
                    </a:lnTo>
                    <a:lnTo>
                      <a:pt x="108" y="24"/>
                    </a:lnTo>
                    <a:lnTo>
                      <a:pt x="112" y="23"/>
                    </a:lnTo>
                    <a:lnTo>
                      <a:pt x="115" y="22"/>
                    </a:lnTo>
                    <a:lnTo>
                      <a:pt x="120" y="16"/>
                    </a:lnTo>
                    <a:lnTo>
                      <a:pt x="127" y="14"/>
                    </a:lnTo>
                    <a:lnTo>
                      <a:pt x="134" y="11"/>
                    </a:lnTo>
                    <a:lnTo>
                      <a:pt x="168" y="5"/>
                    </a:lnTo>
                    <a:lnTo>
                      <a:pt x="190" y="3"/>
                    </a:lnTo>
                    <a:lnTo>
                      <a:pt x="203" y="0"/>
                    </a:lnTo>
                    <a:lnTo>
                      <a:pt x="214" y="0"/>
                    </a:lnTo>
                    <a:lnTo>
                      <a:pt x="247" y="8"/>
                    </a:lnTo>
                    <a:lnTo>
                      <a:pt x="251" y="11"/>
                    </a:lnTo>
                    <a:lnTo>
                      <a:pt x="258" y="15"/>
                    </a:lnTo>
                    <a:lnTo>
                      <a:pt x="263" y="21"/>
                    </a:lnTo>
                    <a:lnTo>
                      <a:pt x="307" y="77"/>
                    </a:lnTo>
                    <a:lnTo>
                      <a:pt x="308" y="78"/>
                    </a:lnTo>
                    <a:lnTo>
                      <a:pt x="309" y="79"/>
                    </a:lnTo>
                    <a:lnTo>
                      <a:pt x="316" y="82"/>
                    </a:lnTo>
                    <a:lnTo>
                      <a:pt x="320" y="82"/>
                    </a:lnTo>
                    <a:lnTo>
                      <a:pt x="323" y="82"/>
                    </a:lnTo>
                    <a:lnTo>
                      <a:pt x="341" y="75"/>
                    </a:lnTo>
                    <a:lnTo>
                      <a:pt x="381" y="66"/>
                    </a:lnTo>
                    <a:lnTo>
                      <a:pt x="395" y="66"/>
                    </a:lnTo>
                    <a:lnTo>
                      <a:pt x="404" y="67"/>
                    </a:lnTo>
                    <a:lnTo>
                      <a:pt x="429" y="76"/>
                    </a:lnTo>
                    <a:lnTo>
                      <a:pt x="444" y="78"/>
                    </a:lnTo>
                    <a:lnTo>
                      <a:pt x="473" y="80"/>
                    </a:lnTo>
                    <a:lnTo>
                      <a:pt x="477" y="79"/>
                    </a:lnTo>
                    <a:lnTo>
                      <a:pt x="481" y="77"/>
                    </a:lnTo>
                    <a:lnTo>
                      <a:pt x="483" y="74"/>
                    </a:lnTo>
                    <a:lnTo>
                      <a:pt x="486" y="70"/>
                    </a:lnTo>
                    <a:lnTo>
                      <a:pt x="492" y="53"/>
                    </a:lnTo>
                    <a:lnTo>
                      <a:pt x="494" y="48"/>
                    </a:lnTo>
                    <a:lnTo>
                      <a:pt x="497" y="45"/>
                    </a:lnTo>
                    <a:lnTo>
                      <a:pt x="500" y="42"/>
                    </a:lnTo>
                    <a:lnTo>
                      <a:pt x="512" y="35"/>
                    </a:lnTo>
                    <a:lnTo>
                      <a:pt x="522" y="24"/>
                    </a:lnTo>
                    <a:lnTo>
                      <a:pt x="526" y="23"/>
                    </a:lnTo>
                    <a:lnTo>
                      <a:pt x="529" y="24"/>
                    </a:lnTo>
                    <a:lnTo>
                      <a:pt x="532" y="26"/>
                    </a:lnTo>
                    <a:lnTo>
                      <a:pt x="534" y="30"/>
                    </a:lnTo>
                    <a:lnTo>
                      <a:pt x="534" y="35"/>
                    </a:lnTo>
                    <a:lnTo>
                      <a:pt x="533" y="65"/>
                    </a:lnTo>
                    <a:lnTo>
                      <a:pt x="534" y="83"/>
                    </a:lnTo>
                    <a:lnTo>
                      <a:pt x="534" y="93"/>
                    </a:lnTo>
                    <a:lnTo>
                      <a:pt x="536" y="101"/>
                    </a:lnTo>
                    <a:lnTo>
                      <a:pt x="539" y="107"/>
                    </a:lnTo>
                    <a:lnTo>
                      <a:pt x="542" y="112"/>
                    </a:lnTo>
                    <a:lnTo>
                      <a:pt x="543" y="116"/>
                    </a:lnTo>
                    <a:lnTo>
                      <a:pt x="547" y="120"/>
                    </a:lnTo>
                    <a:lnTo>
                      <a:pt x="557" y="129"/>
                    </a:lnTo>
                    <a:lnTo>
                      <a:pt x="565" y="133"/>
                    </a:lnTo>
                    <a:lnTo>
                      <a:pt x="584" y="139"/>
                    </a:lnTo>
                    <a:lnTo>
                      <a:pt x="594" y="142"/>
                    </a:lnTo>
                    <a:lnTo>
                      <a:pt x="628" y="145"/>
                    </a:lnTo>
                    <a:lnTo>
                      <a:pt x="633" y="144"/>
                    </a:lnTo>
                    <a:lnTo>
                      <a:pt x="640" y="143"/>
                    </a:lnTo>
                    <a:lnTo>
                      <a:pt x="644" y="141"/>
                    </a:lnTo>
                    <a:lnTo>
                      <a:pt x="649" y="139"/>
                    </a:lnTo>
                    <a:lnTo>
                      <a:pt x="653" y="140"/>
                    </a:lnTo>
                    <a:lnTo>
                      <a:pt x="659" y="144"/>
                    </a:lnTo>
                    <a:lnTo>
                      <a:pt x="662" y="145"/>
                    </a:lnTo>
                    <a:lnTo>
                      <a:pt x="665" y="145"/>
                    </a:lnTo>
                    <a:lnTo>
                      <a:pt x="672" y="145"/>
                    </a:lnTo>
                    <a:lnTo>
                      <a:pt x="677" y="157"/>
                    </a:lnTo>
                    <a:lnTo>
                      <a:pt x="680" y="160"/>
                    </a:lnTo>
                    <a:lnTo>
                      <a:pt x="684" y="162"/>
                    </a:lnTo>
                    <a:lnTo>
                      <a:pt x="688" y="162"/>
                    </a:lnTo>
                    <a:lnTo>
                      <a:pt x="692" y="162"/>
                    </a:lnTo>
                    <a:lnTo>
                      <a:pt x="696" y="160"/>
                    </a:lnTo>
                    <a:lnTo>
                      <a:pt x="714" y="152"/>
                    </a:lnTo>
                    <a:lnTo>
                      <a:pt x="718" y="150"/>
                    </a:lnTo>
                    <a:lnTo>
                      <a:pt x="724" y="149"/>
                    </a:lnTo>
                    <a:lnTo>
                      <a:pt x="729" y="149"/>
                    </a:lnTo>
                    <a:lnTo>
                      <a:pt x="731" y="150"/>
                    </a:lnTo>
                    <a:lnTo>
                      <a:pt x="734" y="152"/>
                    </a:lnTo>
                    <a:lnTo>
                      <a:pt x="740" y="157"/>
                    </a:lnTo>
                    <a:lnTo>
                      <a:pt x="740" y="157"/>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79" name="Freeform 13">
                <a:extLst>
                  <a:ext uri="{FF2B5EF4-FFF2-40B4-BE49-F238E27FC236}"/>
                </a:extLst>
              </p:cNvPr>
              <p:cNvSpPr>
                <a:spLocks/>
              </p:cNvSpPr>
              <p:nvPr/>
            </p:nvSpPr>
            <p:spPr bwMode="auto">
              <a:xfrm>
                <a:off x="2573514" y="1851025"/>
                <a:ext cx="2273082" cy="1430856"/>
              </a:xfrm>
              <a:custGeom>
                <a:avLst/>
                <a:gdLst>
                  <a:gd name="T0" fmla="*/ 1329 w 1433"/>
                  <a:gd name="T1" fmla="*/ 639 h 901"/>
                  <a:gd name="T2" fmla="*/ 1230 w 1433"/>
                  <a:gd name="T3" fmla="*/ 795 h 901"/>
                  <a:gd name="T4" fmla="*/ 1186 w 1433"/>
                  <a:gd name="T5" fmla="*/ 859 h 901"/>
                  <a:gd name="T6" fmla="*/ 1185 w 1433"/>
                  <a:gd name="T7" fmla="*/ 875 h 901"/>
                  <a:gd name="T8" fmla="*/ 1186 w 1433"/>
                  <a:gd name="T9" fmla="*/ 897 h 901"/>
                  <a:gd name="T10" fmla="*/ 1171 w 1433"/>
                  <a:gd name="T11" fmla="*/ 899 h 901"/>
                  <a:gd name="T12" fmla="*/ 1159 w 1433"/>
                  <a:gd name="T13" fmla="*/ 884 h 901"/>
                  <a:gd name="T14" fmla="*/ 1115 w 1433"/>
                  <a:gd name="T15" fmla="*/ 846 h 901"/>
                  <a:gd name="T16" fmla="*/ 1048 w 1433"/>
                  <a:gd name="T17" fmla="*/ 832 h 901"/>
                  <a:gd name="T18" fmla="*/ 1019 w 1433"/>
                  <a:gd name="T19" fmla="*/ 779 h 901"/>
                  <a:gd name="T20" fmla="*/ 980 w 1433"/>
                  <a:gd name="T21" fmla="*/ 719 h 901"/>
                  <a:gd name="T22" fmla="*/ 943 w 1433"/>
                  <a:gd name="T23" fmla="*/ 738 h 901"/>
                  <a:gd name="T24" fmla="*/ 911 w 1433"/>
                  <a:gd name="T25" fmla="*/ 726 h 901"/>
                  <a:gd name="T26" fmla="*/ 880 w 1433"/>
                  <a:gd name="T27" fmla="*/ 726 h 901"/>
                  <a:gd name="T28" fmla="*/ 863 w 1433"/>
                  <a:gd name="T29" fmla="*/ 710 h 901"/>
                  <a:gd name="T30" fmla="*/ 860 w 1433"/>
                  <a:gd name="T31" fmla="*/ 688 h 901"/>
                  <a:gd name="T32" fmla="*/ 844 w 1433"/>
                  <a:gd name="T33" fmla="*/ 686 h 901"/>
                  <a:gd name="T34" fmla="*/ 816 w 1433"/>
                  <a:gd name="T35" fmla="*/ 698 h 901"/>
                  <a:gd name="T36" fmla="*/ 791 w 1433"/>
                  <a:gd name="T37" fmla="*/ 691 h 901"/>
                  <a:gd name="T38" fmla="*/ 758 w 1433"/>
                  <a:gd name="T39" fmla="*/ 656 h 901"/>
                  <a:gd name="T40" fmla="*/ 670 w 1433"/>
                  <a:gd name="T41" fmla="*/ 641 h 901"/>
                  <a:gd name="T42" fmla="*/ 636 w 1433"/>
                  <a:gd name="T43" fmla="*/ 646 h 901"/>
                  <a:gd name="T44" fmla="*/ 571 w 1433"/>
                  <a:gd name="T45" fmla="*/ 632 h 901"/>
                  <a:gd name="T46" fmla="*/ 450 w 1433"/>
                  <a:gd name="T47" fmla="*/ 643 h 901"/>
                  <a:gd name="T48" fmla="*/ 478 w 1433"/>
                  <a:gd name="T49" fmla="*/ 608 h 901"/>
                  <a:gd name="T50" fmla="*/ 487 w 1433"/>
                  <a:gd name="T51" fmla="*/ 532 h 901"/>
                  <a:gd name="T52" fmla="*/ 652 w 1433"/>
                  <a:gd name="T53" fmla="*/ 422 h 901"/>
                  <a:gd name="T54" fmla="*/ 678 w 1433"/>
                  <a:gd name="T55" fmla="*/ 396 h 901"/>
                  <a:gd name="T56" fmla="*/ 640 w 1433"/>
                  <a:gd name="T57" fmla="*/ 360 h 901"/>
                  <a:gd name="T58" fmla="*/ 622 w 1433"/>
                  <a:gd name="T59" fmla="*/ 327 h 901"/>
                  <a:gd name="T60" fmla="*/ 603 w 1433"/>
                  <a:gd name="T61" fmla="*/ 313 h 901"/>
                  <a:gd name="T62" fmla="*/ 556 w 1433"/>
                  <a:gd name="T63" fmla="*/ 306 h 901"/>
                  <a:gd name="T64" fmla="*/ 505 w 1433"/>
                  <a:gd name="T65" fmla="*/ 273 h 901"/>
                  <a:gd name="T66" fmla="*/ 372 w 1433"/>
                  <a:gd name="T67" fmla="*/ 268 h 901"/>
                  <a:gd name="T68" fmla="*/ 346 w 1433"/>
                  <a:gd name="T69" fmla="*/ 250 h 901"/>
                  <a:gd name="T70" fmla="*/ 201 w 1433"/>
                  <a:gd name="T71" fmla="*/ 228 h 901"/>
                  <a:gd name="T72" fmla="*/ 60 w 1433"/>
                  <a:gd name="T73" fmla="*/ 241 h 901"/>
                  <a:gd name="T74" fmla="*/ 45 w 1433"/>
                  <a:gd name="T75" fmla="*/ 230 h 901"/>
                  <a:gd name="T76" fmla="*/ 26 w 1433"/>
                  <a:gd name="T77" fmla="*/ 198 h 901"/>
                  <a:gd name="T78" fmla="*/ 3 w 1433"/>
                  <a:gd name="T79" fmla="*/ 175 h 901"/>
                  <a:gd name="T80" fmla="*/ 1 w 1433"/>
                  <a:gd name="T81" fmla="*/ 147 h 901"/>
                  <a:gd name="T82" fmla="*/ 191 w 1433"/>
                  <a:gd name="T83" fmla="*/ 23 h 901"/>
                  <a:gd name="T84" fmla="*/ 250 w 1433"/>
                  <a:gd name="T85" fmla="*/ 5 h 901"/>
                  <a:gd name="T86" fmla="*/ 429 w 1433"/>
                  <a:gd name="T87" fmla="*/ 39 h 901"/>
                  <a:gd name="T88" fmla="*/ 515 w 1433"/>
                  <a:gd name="T89" fmla="*/ 91 h 901"/>
                  <a:gd name="T90" fmla="*/ 706 w 1433"/>
                  <a:gd name="T91" fmla="*/ 205 h 901"/>
                  <a:gd name="T92" fmla="*/ 821 w 1433"/>
                  <a:gd name="T93" fmla="*/ 305 h 901"/>
                  <a:gd name="T94" fmla="*/ 933 w 1433"/>
                  <a:gd name="T95" fmla="*/ 397 h 901"/>
                  <a:gd name="T96" fmla="*/ 1099 w 1433"/>
                  <a:gd name="T97" fmla="*/ 533 h 901"/>
                  <a:gd name="T98" fmla="*/ 1147 w 1433"/>
                  <a:gd name="T99" fmla="*/ 571 h 901"/>
                  <a:gd name="T100" fmla="*/ 1433 w 1433"/>
                  <a:gd name="T101" fmla="*/ 59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3" h="901">
                    <a:moveTo>
                      <a:pt x="1433" y="593"/>
                    </a:moveTo>
                    <a:lnTo>
                      <a:pt x="1431" y="595"/>
                    </a:lnTo>
                    <a:lnTo>
                      <a:pt x="1352" y="625"/>
                    </a:lnTo>
                    <a:lnTo>
                      <a:pt x="1329" y="639"/>
                    </a:lnTo>
                    <a:lnTo>
                      <a:pt x="1312" y="654"/>
                    </a:lnTo>
                    <a:lnTo>
                      <a:pt x="1299" y="669"/>
                    </a:lnTo>
                    <a:lnTo>
                      <a:pt x="1289" y="684"/>
                    </a:lnTo>
                    <a:lnTo>
                      <a:pt x="1230" y="795"/>
                    </a:lnTo>
                    <a:lnTo>
                      <a:pt x="1222" y="808"/>
                    </a:lnTo>
                    <a:lnTo>
                      <a:pt x="1194" y="841"/>
                    </a:lnTo>
                    <a:lnTo>
                      <a:pt x="1190" y="848"/>
                    </a:lnTo>
                    <a:lnTo>
                      <a:pt x="1186" y="859"/>
                    </a:lnTo>
                    <a:lnTo>
                      <a:pt x="1185" y="864"/>
                    </a:lnTo>
                    <a:lnTo>
                      <a:pt x="1184" y="868"/>
                    </a:lnTo>
                    <a:lnTo>
                      <a:pt x="1184" y="870"/>
                    </a:lnTo>
                    <a:lnTo>
                      <a:pt x="1185" y="875"/>
                    </a:lnTo>
                    <a:lnTo>
                      <a:pt x="1187" y="878"/>
                    </a:lnTo>
                    <a:lnTo>
                      <a:pt x="1191" y="884"/>
                    </a:lnTo>
                    <a:lnTo>
                      <a:pt x="1193" y="887"/>
                    </a:lnTo>
                    <a:lnTo>
                      <a:pt x="1186" y="897"/>
                    </a:lnTo>
                    <a:lnTo>
                      <a:pt x="1182" y="899"/>
                    </a:lnTo>
                    <a:lnTo>
                      <a:pt x="1179" y="901"/>
                    </a:lnTo>
                    <a:lnTo>
                      <a:pt x="1174" y="901"/>
                    </a:lnTo>
                    <a:lnTo>
                      <a:pt x="1171" y="899"/>
                    </a:lnTo>
                    <a:lnTo>
                      <a:pt x="1168" y="897"/>
                    </a:lnTo>
                    <a:lnTo>
                      <a:pt x="1165" y="892"/>
                    </a:lnTo>
                    <a:lnTo>
                      <a:pt x="1161" y="890"/>
                    </a:lnTo>
                    <a:lnTo>
                      <a:pt x="1159" y="884"/>
                    </a:lnTo>
                    <a:lnTo>
                      <a:pt x="1154" y="878"/>
                    </a:lnTo>
                    <a:lnTo>
                      <a:pt x="1127" y="853"/>
                    </a:lnTo>
                    <a:lnTo>
                      <a:pt x="1123" y="851"/>
                    </a:lnTo>
                    <a:lnTo>
                      <a:pt x="1115" y="846"/>
                    </a:lnTo>
                    <a:lnTo>
                      <a:pt x="1110" y="845"/>
                    </a:lnTo>
                    <a:lnTo>
                      <a:pt x="1058" y="837"/>
                    </a:lnTo>
                    <a:lnTo>
                      <a:pt x="1054" y="835"/>
                    </a:lnTo>
                    <a:lnTo>
                      <a:pt x="1048" y="832"/>
                    </a:lnTo>
                    <a:lnTo>
                      <a:pt x="1043" y="829"/>
                    </a:lnTo>
                    <a:lnTo>
                      <a:pt x="1039" y="825"/>
                    </a:lnTo>
                    <a:lnTo>
                      <a:pt x="1033" y="816"/>
                    </a:lnTo>
                    <a:lnTo>
                      <a:pt x="1019" y="779"/>
                    </a:lnTo>
                    <a:lnTo>
                      <a:pt x="991" y="728"/>
                    </a:lnTo>
                    <a:lnTo>
                      <a:pt x="988" y="724"/>
                    </a:lnTo>
                    <a:lnTo>
                      <a:pt x="985" y="721"/>
                    </a:lnTo>
                    <a:lnTo>
                      <a:pt x="980" y="719"/>
                    </a:lnTo>
                    <a:lnTo>
                      <a:pt x="974" y="720"/>
                    </a:lnTo>
                    <a:lnTo>
                      <a:pt x="970" y="722"/>
                    </a:lnTo>
                    <a:lnTo>
                      <a:pt x="950" y="735"/>
                    </a:lnTo>
                    <a:lnTo>
                      <a:pt x="943" y="738"/>
                    </a:lnTo>
                    <a:lnTo>
                      <a:pt x="940" y="739"/>
                    </a:lnTo>
                    <a:lnTo>
                      <a:pt x="935" y="738"/>
                    </a:lnTo>
                    <a:lnTo>
                      <a:pt x="928" y="736"/>
                    </a:lnTo>
                    <a:lnTo>
                      <a:pt x="911" y="726"/>
                    </a:lnTo>
                    <a:lnTo>
                      <a:pt x="906" y="725"/>
                    </a:lnTo>
                    <a:lnTo>
                      <a:pt x="901" y="724"/>
                    </a:lnTo>
                    <a:lnTo>
                      <a:pt x="884" y="726"/>
                    </a:lnTo>
                    <a:lnTo>
                      <a:pt x="880" y="726"/>
                    </a:lnTo>
                    <a:lnTo>
                      <a:pt x="875" y="724"/>
                    </a:lnTo>
                    <a:lnTo>
                      <a:pt x="869" y="721"/>
                    </a:lnTo>
                    <a:lnTo>
                      <a:pt x="866" y="716"/>
                    </a:lnTo>
                    <a:lnTo>
                      <a:pt x="863" y="710"/>
                    </a:lnTo>
                    <a:lnTo>
                      <a:pt x="861" y="707"/>
                    </a:lnTo>
                    <a:lnTo>
                      <a:pt x="861" y="704"/>
                    </a:lnTo>
                    <a:lnTo>
                      <a:pt x="860" y="690"/>
                    </a:lnTo>
                    <a:lnTo>
                      <a:pt x="860" y="688"/>
                    </a:lnTo>
                    <a:lnTo>
                      <a:pt x="858" y="686"/>
                    </a:lnTo>
                    <a:lnTo>
                      <a:pt x="855" y="685"/>
                    </a:lnTo>
                    <a:lnTo>
                      <a:pt x="849" y="685"/>
                    </a:lnTo>
                    <a:lnTo>
                      <a:pt x="844" y="686"/>
                    </a:lnTo>
                    <a:lnTo>
                      <a:pt x="840" y="687"/>
                    </a:lnTo>
                    <a:lnTo>
                      <a:pt x="826" y="695"/>
                    </a:lnTo>
                    <a:lnTo>
                      <a:pt x="821" y="697"/>
                    </a:lnTo>
                    <a:lnTo>
                      <a:pt x="816" y="698"/>
                    </a:lnTo>
                    <a:lnTo>
                      <a:pt x="811" y="699"/>
                    </a:lnTo>
                    <a:lnTo>
                      <a:pt x="805" y="698"/>
                    </a:lnTo>
                    <a:lnTo>
                      <a:pt x="797" y="694"/>
                    </a:lnTo>
                    <a:lnTo>
                      <a:pt x="791" y="691"/>
                    </a:lnTo>
                    <a:lnTo>
                      <a:pt x="786" y="686"/>
                    </a:lnTo>
                    <a:lnTo>
                      <a:pt x="766" y="663"/>
                    </a:lnTo>
                    <a:lnTo>
                      <a:pt x="762" y="659"/>
                    </a:lnTo>
                    <a:lnTo>
                      <a:pt x="758" y="656"/>
                    </a:lnTo>
                    <a:lnTo>
                      <a:pt x="750" y="654"/>
                    </a:lnTo>
                    <a:lnTo>
                      <a:pt x="693" y="640"/>
                    </a:lnTo>
                    <a:lnTo>
                      <a:pt x="689" y="640"/>
                    </a:lnTo>
                    <a:lnTo>
                      <a:pt x="670" y="641"/>
                    </a:lnTo>
                    <a:lnTo>
                      <a:pt x="651" y="647"/>
                    </a:lnTo>
                    <a:lnTo>
                      <a:pt x="647" y="647"/>
                    </a:lnTo>
                    <a:lnTo>
                      <a:pt x="642" y="647"/>
                    </a:lnTo>
                    <a:lnTo>
                      <a:pt x="636" y="646"/>
                    </a:lnTo>
                    <a:lnTo>
                      <a:pt x="595" y="632"/>
                    </a:lnTo>
                    <a:lnTo>
                      <a:pt x="590" y="632"/>
                    </a:lnTo>
                    <a:lnTo>
                      <a:pt x="583" y="632"/>
                    </a:lnTo>
                    <a:lnTo>
                      <a:pt x="571" y="632"/>
                    </a:lnTo>
                    <a:lnTo>
                      <a:pt x="482" y="654"/>
                    </a:lnTo>
                    <a:lnTo>
                      <a:pt x="478" y="654"/>
                    </a:lnTo>
                    <a:lnTo>
                      <a:pt x="468" y="651"/>
                    </a:lnTo>
                    <a:lnTo>
                      <a:pt x="450" y="643"/>
                    </a:lnTo>
                    <a:lnTo>
                      <a:pt x="473" y="619"/>
                    </a:lnTo>
                    <a:lnTo>
                      <a:pt x="476" y="615"/>
                    </a:lnTo>
                    <a:lnTo>
                      <a:pt x="477" y="611"/>
                    </a:lnTo>
                    <a:lnTo>
                      <a:pt x="478" y="608"/>
                    </a:lnTo>
                    <a:lnTo>
                      <a:pt x="482" y="544"/>
                    </a:lnTo>
                    <a:lnTo>
                      <a:pt x="483" y="540"/>
                    </a:lnTo>
                    <a:lnTo>
                      <a:pt x="484" y="535"/>
                    </a:lnTo>
                    <a:lnTo>
                      <a:pt x="487" y="532"/>
                    </a:lnTo>
                    <a:lnTo>
                      <a:pt x="490" y="527"/>
                    </a:lnTo>
                    <a:lnTo>
                      <a:pt x="494" y="524"/>
                    </a:lnTo>
                    <a:lnTo>
                      <a:pt x="512" y="510"/>
                    </a:lnTo>
                    <a:lnTo>
                      <a:pt x="652" y="422"/>
                    </a:lnTo>
                    <a:lnTo>
                      <a:pt x="666" y="411"/>
                    </a:lnTo>
                    <a:lnTo>
                      <a:pt x="673" y="403"/>
                    </a:lnTo>
                    <a:lnTo>
                      <a:pt x="676" y="399"/>
                    </a:lnTo>
                    <a:lnTo>
                      <a:pt x="678" y="396"/>
                    </a:lnTo>
                    <a:lnTo>
                      <a:pt x="676" y="391"/>
                    </a:lnTo>
                    <a:lnTo>
                      <a:pt x="673" y="388"/>
                    </a:lnTo>
                    <a:lnTo>
                      <a:pt x="648" y="368"/>
                    </a:lnTo>
                    <a:lnTo>
                      <a:pt x="640" y="360"/>
                    </a:lnTo>
                    <a:lnTo>
                      <a:pt x="637" y="356"/>
                    </a:lnTo>
                    <a:lnTo>
                      <a:pt x="632" y="348"/>
                    </a:lnTo>
                    <a:lnTo>
                      <a:pt x="625" y="330"/>
                    </a:lnTo>
                    <a:lnTo>
                      <a:pt x="622" y="327"/>
                    </a:lnTo>
                    <a:lnTo>
                      <a:pt x="617" y="321"/>
                    </a:lnTo>
                    <a:lnTo>
                      <a:pt x="615" y="318"/>
                    </a:lnTo>
                    <a:lnTo>
                      <a:pt x="609" y="314"/>
                    </a:lnTo>
                    <a:lnTo>
                      <a:pt x="603" y="313"/>
                    </a:lnTo>
                    <a:lnTo>
                      <a:pt x="584" y="309"/>
                    </a:lnTo>
                    <a:lnTo>
                      <a:pt x="570" y="309"/>
                    </a:lnTo>
                    <a:lnTo>
                      <a:pt x="561" y="308"/>
                    </a:lnTo>
                    <a:lnTo>
                      <a:pt x="556" y="306"/>
                    </a:lnTo>
                    <a:lnTo>
                      <a:pt x="550" y="304"/>
                    </a:lnTo>
                    <a:lnTo>
                      <a:pt x="518" y="277"/>
                    </a:lnTo>
                    <a:lnTo>
                      <a:pt x="512" y="275"/>
                    </a:lnTo>
                    <a:lnTo>
                      <a:pt x="505" y="273"/>
                    </a:lnTo>
                    <a:lnTo>
                      <a:pt x="489" y="273"/>
                    </a:lnTo>
                    <a:lnTo>
                      <a:pt x="479" y="274"/>
                    </a:lnTo>
                    <a:lnTo>
                      <a:pt x="388" y="272"/>
                    </a:lnTo>
                    <a:lnTo>
                      <a:pt x="372" y="268"/>
                    </a:lnTo>
                    <a:lnTo>
                      <a:pt x="367" y="267"/>
                    </a:lnTo>
                    <a:lnTo>
                      <a:pt x="362" y="264"/>
                    </a:lnTo>
                    <a:lnTo>
                      <a:pt x="350" y="252"/>
                    </a:lnTo>
                    <a:lnTo>
                      <a:pt x="346" y="250"/>
                    </a:lnTo>
                    <a:lnTo>
                      <a:pt x="342" y="247"/>
                    </a:lnTo>
                    <a:lnTo>
                      <a:pt x="337" y="246"/>
                    </a:lnTo>
                    <a:lnTo>
                      <a:pt x="223" y="229"/>
                    </a:lnTo>
                    <a:lnTo>
                      <a:pt x="201" y="228"/>
                    </a:lnTo>
                    <a:lnTo>
                      <a:pt x="150" y="236"/>
                    </a:lnTo>
                    <a:lnTo>
                      <a:pt x="76" y="244"/>
                    </a:lnTo>
                    <a:lnTo>
                      <a:pt x="67" y="243"/>
                    </a:lnTo>
                    <a:lnTo>
                      <a:pt x="60" y="241"/>
                    </a:lnTo>
                    <a:lnTo>
                      <a:pt x="56" y="239"/>
                    </a:lnTo>
                    <a:lnTo>
                      <a:pt x="53" y="237"/>
                    </a:lnTo>
                    <a:lnTo>
                      <a:pt x="49" y="234"/>
                    </a:lnTo>
                    <a:lnTo>
                      <a:pt x="45" y="230"/>
                    </a:lnTo>
                    <a:lnTo>
                      <a:pt x="40" y="221"/>
                    </a:lnTo>
                    <a:lnTo>
                      <a:pt x="37" y="214"/>
                    </a:lnTo>
                    <a:lnTo>
                      <a:pt x="32" y="205"/>
                    </a:lnTo>
                    <a:lnTo>
                      <a:pt x="26" y="198"/>
                    </a:lnTo>
                    <a:lnTo>
                      <a:pt x="22" y="192"/>
                    </a:lnTo>
                    <a:lnTo>
                      <a:pt x="7" y="182"/>
                    </a:lnTo>
                    <a:lnTo>
                      <a:pt x="5" y="178"/>
                    </a:lnTo>
                    <a:lnTo>
                      <a:pt x="3" y="175"/>
                    </a:lnTo>
                    <a:lnTo>
                      <a:pt x="3" y="173"/>
                    </a:lnTo>
                    <a:lnTo>
                      <a:pt x="1" y="166"/>
                    </a:lnTo>
                    <a:lnTo>
                      <a:pt x="0" y="154"/>
                    </a:lnTo>
                    <a:lnTo>
                      <a:pt x="1" y="147"/>
                    </a:lnTo>
                    <a:lnTo>
                      <a:pt x="22" y="72"/>
                    </a:lnTo>
                    <a:lnTo>
                      <a:pt x="91" y="53"/>
                    </a:lnTo>
                    <a:lnTo>
                      <a:pt x="185" y="24"/>
                    </a:lnTo>
                    <a:lnTo>
                      <a:pt x="191" y="23"/>
                    </a:lnTo>
                    <a:lnTo>
                      <a:pt x="211" y="3"/>
                    </a:lnTo>
                    <a:lnTo>
                      <a:pt x="214" y="0"/>
                    </a:lnTo>
                    <a:lnTo>
                      <a:pt x="218" y="0"/>
                    </a:lnTo>
                    <a:lnTo>
                      <a:pt x="250" y="5"/>
                    </a:lnTo>
                    <a:lnTo>
                      <a:pt x="316" y="16"/>
                    </a:lnTo>
                    <a:lnTo>
                      <a:pt x="363" y="24"/>
                    </a:lnTo>
                    <a:lnTo>
                      <a:pt x="421" y="36"/>
                    </a:lnTo>
                    <a:lnTo>
                      <a:pt x="429" y="39"/>
                    </a:lnTo>
                    <a:lnTo>
                      <a:pt x="439" y="45"/>
                    </a:lnTo>
                    <a:lnTo>
                      <a:pt x="471" y="64"/>
                    </a:lnTo>
                    <a:lnTo>
                      <a:pt x="485" y="73"/>
                    </a:lnTo>
                    <a:lnTo>
                      <a:pt x="515" y="91"/>
                    </a:lnTo>
                    <a:lnTo>
                      <a:pt x="558" y="116"/>
                    </a:lnTo>
                    <a:lnTo>
                      <a:pt x="602" y="143"/>
                    </a:lnTo>
                    <a:lnTo>
                      <a:pt x="662" y="178"/>
                    </a:lnTo>
                    <a:lnTo>
                      <a:pt x="706" y="205"/>
                    </a:lnTo>
                    <a:lnTo>
                      <a:pt x="716" y="214"/>
                    </a:lnTo>
                    <a:lnTo>
                      <a:pt x="759" y="252"/>
                    </a:lnTo>
                    <a:lnTo>
                      <a:pt x="773" y="264"/>
                    </a:lnTo>
                    <a:lnTo>
                      <a:pt x="821" y="305"/>
                    </a:lnTo>
                    <a:lnTo>
                      <a:pt x="836" y="319"/>
                    </a:lnTo>
                    <a:lnTo>
                      <a:pt x="869" y="345"/>
                    </a:lnTo>
                    <a:lnTo>
                      <a:pt x="898" y="370"/>
                    </a:lnTo>
                    <a:lnTo>
                      <a:pt x="933" y="397"/>
                    </a:lnTo>
                    <a:lnTo>
                      <a:pt x="990" y="444"/>
                    </a:lnTo>
                    <a:lnTo>
                      <a:pt x="1009" y="460"/>
                    </a:lnTo>
                    <a:lnTo>
                      <a:pt x="1067" y="507"/>
                    </a:lnTo>
                    <a:lnTo>
                      <a:pt x="1099" y="533"/>
                    </a:lnTo>
                    <a:lnTo>
                      <a:pt x="1114" y="546"/>
                    </a:lnTo>
                    <a:lnTo>
                      <a:pt x="1130" y="558"/>
                    </a:lnTo>
                    <a:lnTo>
                      <a:pt x="1144" y="569"/>
                    </a:lnTo>
                    <a:lnTo>
                      <a:pt x="1147" y="571"/>
                    </a:lnTo>
                    <a:lnTo>
                      <a:pt x="1250" y="579"/>
                    </a:lnTo>
                    <a:lnTo>
                      <a:pt x="1267" y="581"/>
                    </a:lnTo>
                    <a:lnTo>
                      <a:pt x="1422" y="595"/>
                    </a:lnTo>
                    <a:lnTo>
                      <a:pt x="1433" y="593"/>
                    </a:lnTo>
                    <a:lnTo>
                      <a:pt x="1433" y="593"/>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80" name="Freeform 14">
                <a:extLst>
                  <a:ext uri="{FF2B5EF4-FFF2-40B4-BE49-F238E27FC236}"/>
                </a:extLst>
              </p:cNvPr>
              <p:cNvSpPr>
                <a:spLocks/>
              </p:cNvSpPr>
              <p:nvPr/>
            </p:nvSpPr>
            <p:spPr bwMode="auto">
              <a:xfrm>
                <a:off x="1764037" y="1965494"/>
                <a:ext cx="1880607" cy="1111981"/>
              </a:xfrm>
              <a:custGeom>
                <a:avLst/>
                <a:gdLst>
                  <a:gd name="T0" fmla="*/ 879 w 1185"/>
                  <a:gd name="T1" fmla="*/ 595 h 700"/>
                  <a:gd name="T2" fmla="*/ 720 w 1185"/>
                  <a:gd name="T3" fmla="*/ 672 h 700"/>
                  <a:gd name="T4" fmla="*/ 689 w 1185"/>
                  <a:gd name="T5" fmla="*/ 688 h 700"/>
                  <a:gd name="T6" fmla="*/ 672 w 1185"/>
                  <a:gd name="T7" fmla="*/ 690 h 700"/>
                  <a:gd name="T8" fmla="*/ 642 w 1185"/>
                  <a:gd name="T9" fmla="*/ 700 h 700"/>
                  <a:gd name="T10" fmla="*/ 623 w 1185"/>
                  <a:gd name="T11" fmla="*/ 683 h 700"/>
                  <a:gd name="T12" fmla="*/ 607 w 1185"/>
                  <a:gd name="T13" fmla="*/ 677 h 700"/>
                  <a:gd name="T14" fmla="*/ 586 w 1185"/>
                  <a:gd name="T15" fmla="*/ 683 h 700"/>
                  <a:gd name="T16" fmla="*/ 515 w 1185"/>
                  <a:gd name="T17" fmla="*/ 667 h 700"/>
                  <a:gd name="T18" fmla="*/ 497 w 1185"/>
                  <a:gd name="T19" fmla="*/ 645 h 700"/>
                  <a:gd name="T20" fmla="*/ 491 w 1185"/>
                  <a:gd name="T21" fmla="*/ 603 h 700"/>
                  <a:gd name="T22" fmla="*/ 487 w 1185"/>
                  <a:gd name="T23" fmla="*/ 562 h 700"/>
                  <a:gd name="T24" fmla="*/ 458 w 1185"/>
                  <a:gd name="T25" fmla="*/ 580 h 700"/>
                  <a:gd name="T26" fmla="*/ 444 w 1185"/>
                  <a:gd name="T27" fmla="*/ 608 h 700"/>
                  <a:gd name="T28" fmla="*/ 431 w 1185"/>
                  <a:gd name="T29" fmla="*/ 618 h 700"/>
                  <a:gd name="T30" fmla="*/ 353 w 1185"/>
                  <a:gd name="T31" fmla="*/ 604 h 700"/>
                  <a:gd name="T32" fmla="*/ 278 w 1185"/>
                  <a:gd name="T33" fmla="*/ 620 h 700"/>
                  <a:gd name="T34" fmla="*/ 265 w 1185"/>
                  <a:gd name="T35" fmla="*/ 615 h 700"/>
                  <a:gd name="T36" fmla="*/ 205 w 1185"/>
                  <a:gd name="T37" fmla="*/ 546 h 700"/>
                  <a:gd name="T38" fmla="*/ 126 w 1185"/>
                  <a:gd name="T39" fmla="*/ 543 h 700"/>
                  <a:gd name="T40" fmla="*/ 73 w 1185"/>
                  <a:gd name="T41" fmla="*/ 560 h 700"/>
                  <a:gd name="T42" fmla="*/ 28 w 1185"/>
                  <a:gd name="T43" fmla="*/ 557 h 700"/>
                  <a:gd name="T44" fmla="*/ 3 w 1185"/>
                  <a:gd name="T45" fmla="*/ 557 h 700"/>
                  <a:gd name="T46" fmla="*/ 5 w 1185"/>
                  <a:gd name="T47" fmla="*/ 543 h 700"/>
                  <a:gd name="T48" fmla="*/ 6 w 1185"/>
                  <a:gd name="T49" fmla="*/ 523 h 700"/>
                  <a:gd name="T50" fmla="*/ 14 w 1185"/>
                  <a:gd name="T51" fmla="*/ 495 h 700"/>
                  <a:gd name="T52" fmla="*/ 19 w 1185"/>
                  <a:gd name="T53" fmla="*/ 488 h 700"/>
                  <a:gd name="T54" fmla="*/ 20 w 1185"/>
                  <a:gd name="T55" fmla="*/ 478 h 700"/>
                  <a:gd name="T56" fmla="*/ 20 w 1185"/>
                  <a:gd name="T57" fmla="*/ 471 h 700"/>
                  <a:gd name="T58" fmla="*/ 108 w 1185"/>
                  <a:gd name="T59" fmla="*/ 484 h 700"/>
                  <a:gd name="T60" fmla="*/ 204 w 1185"/>
                  <a:gd name="T61" fmla="*/ 499 h 700"/>
                  <a:gd name="T62" fmla="*/ 305 w 1185"/>
                  <a:gd name="T63" fmla="*/ 392 h 700"/>
                  <a:gd name="T64" fmla="*/ 352 w 1185"/>
                  <a:gd name="T65" fmla="*/ 362 h 700"/>
                  <a:gd name="T66" fmla="*/ 454 w 1185"/>
                  <a:gd name="T67" fmla="*/ 323 h 700"/>
                  <a:gd name="T68" fmla="*/ 476 w 1185"/>
                  <a:gd name="T69" fmla="*/ 276 h 700"/>
                  <a:gd name="T70" fmla="*/ 483 w 1185"/>
                  <a:gd name="T71" fmla="*/ 193 h 700"/>
                  <a:gd name="T72" fmla="*/ 357 w 1185"/>
                  <a:gd name="T73" fmla="*/ 52 h 700"/>
                  <a:gd name="T74" fmla="*/ 508 w 1185"/>
                  <a:gd name="T75" fmla="*/ 75 h 700"/>
                  <a:gd name="T76" fmla="*/ 510 w 1185"/>
                  <a:gd name="T77" fmla="*/ 103 h 700"/>
                  <a:gd name="T78" fmla="*/ 533 w 1185"/>
                  <a:gd name="T79" fmla="*/ 126 h 700"/>
                  <a:gd name="T80" fmla="*/ 552 w 1185"/>
                  <a:gd name="T81" fmla="*/ 158 h 700"/>
                  <a:gd name="T82" fmla="*/ 567 w 1185"/>
                  <a:gd name="T83" fmla="*/ 169 h 700"/>
                  <a:gd name="T84" fmla="*/ 708 w 1185"/>
                  <a:gd name="T85" fmla="*/ 156 h 700"/>
                  <a:gd name="T86" fmla="*/ 853 w 1185"/>
                  <a:gd name="T87" fmla="*/ 178 h 700"/>
                  <a:gd name="T88" fmla="*/ 879 w 1185"/>
                  <a:gd name="T89" fmla="*/ 196 h 700"/>
                  <a:gd name="T90" fmla="*/ 1012 w 1185"/>
                  <a:gd name="T91" fmla="*/ 201 h 700"/>
                  <a:gd name="T92" fmla="*/ 1063 w 1185"/>
                  <a:gd name="T93" fmla="*/ 234 h 700"/>
                  <a:gd name="T94" fmla="*/ 1110 w 1185"/>
                  <a:gd name="T95" fmla="*/ 241 h 700"/>
                  <a:gd name="T96" fmla="*/ 1129 w 1185"/>
                  <a:gd name="T97" fmla="*/ 255 h 700"/>
                  <a:gd name="T98" fmla="*/ 1147 w 1185"/>
                  <a:gd name="T99" fmla="*/ 288 h 700"/>
                  <a:gd name="T100" fmla="*/ 1185 w 1185"/>
                  <a:gd name="T101" fmla="*/ 324 h 700"/>
                  <a:gd name="T102" fmla="*/ 1159 w 1185"/>
                  <a:gd name="T103" fmla="*/ 350 h 700"/>
                  <a:gd name="T104" fmla="*/ 994 w 1185"/>
                  <a:gd name="T105" fmla="*/ 460 h 700"/>
                  <a:gd name="T106" fmla="*/ 985 w 1185"/>
                  <a:gd name="T107" fmla="*/ 536 h 700"/>
                  <a:gd name="T108" fmla="*/ 957 w 1185"/>
                  <a:gd name="T109" fmla="*/ 57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5" h="700">
                    <a:moveTo>
                      <a:pt x="957" y="571"/>
                    </a:moveTo>
                    <a:lnTo>
                      <a:pt x="946" y="568"/>
                    </a:lnTo>
                    <a:lnTo>
                      <a:pt x="943" y="568"/>
                    </a:lnTo>
                    <a:lnTo>
                      <a:pt x="879" y="595"/>
                    </a:lnTo>
                    <a:lnTo>
                      <a:pt x="817" y="630"/>
                    </a:lnTo>
                    <a:lnTo>
                      <a:pt x="787" y="638"/>
                    </a:lnTo>
                    <a:lnTo>
                      <a:pt x="725" y="669"/>
                    </a:lnTo>
                    <a:lnTo>
                      <a:pt x="720" y="672"/>
                    </a:lnTo>
                    <a:lnTo>
                      <a:pt x="717" y="675"/>
                    </a:lnTo>
                    <a:lnTo>
                      <a:pt x="698" y="695"/>
                    </a:lnTo>
                    <a:lnTo>
                      <a:pt x="692" y="690"/>
                    </a:lnTo>
                    <a:lnTo>
                      <a:pt x="689" y="688"/>
                    </a:lnTo>
                    <a:lnTo>
                      <a:pt x="687" y="687"/>
                    </a:lnTo>
                    <a:lnTo>
                      <a:pt x="682" y="687"/>
                    </a:lnTo>
                    <a:lnTo>
                      <a:pt x="676" y="688"/>
                    </a:lnTo>
                    <a:lnTo>
                      <a:pt x="672" y="690"/>
                    </a:lnTo>
                    <a:lnTo>
                      <a:pt x="654" y="698"/>
                    </a:lnTo>
                    <a:lnTo>
                      <a:pt x="650" y="700"/>
                    </a:lnTo>
                    <a:lnTo>
                      <a:pt x="646" y="700"/>
                    </a:lnTo>
                    <a:lnTo>
                      <a:pt x="642" y="700"/>
                    </a:lnTo>
                    <a:lnTo>
                      <a:pt x="638" y="698"/>
                    </a:lnTo>
                    <a:lnTo>
                      <a:pt x="635" y="695"/>
                    </a:lnTo>
                    <a:lnTo>
                      <a:pt x="630" y="683"/>
                    </a:lnTo>
                    <a:lnTo>
                      <a:pt x="623" y="683"/>
                    </a:lnTo>
                    <a:lnTo>
                      <a:pt x="620" y="683"/>
                    </a:lnTo>
                    <a:lnTo>
                      <a:pt x="617" y="682"/>
                    </a:lnTo>
                    <a:lnTo>
                      <a:pt x="611" y="678"/>
                    </a:lnTo>
                    <a:lnTo>
                      <a:pt x="607" y="677"/>
                    </a:lnTo>
                    <a:lnTo>
                      <a:pt x="602" y="679"/>
                    </a:lnTo>
                    <a:lnTo>
                      <a:pt x="598" y="681"/>
                    </a:lnTo>
                    <a:lnTo>
                      <a:pt x="591" y="682"/>
                    </a:lnTo>
                    <a:lnTo>
                      <a:pt x="586" y="683"/>
                    </a:lnTo>
                    <a:lnTo>
                      <a:pt x="552" y="680"/>
                    </a:lnTo>
                    <a:lnTo>
                      <a:pt x="542" y="677"/>
                    </a:lnTo>
                    <a:lnTo>
                      <a:pt x="523" y="671"/>
                    </a:lnTo>
                    <a:lnTo>
                      <a:pt x="515" y="667"/>
                    </a:lnTo>
                    <a:lnTo>
                      <a:pt x="505" y="658"/>
                    </a:lnTo>
                    <a:lnTo>
                      <a:pt x="501" y="654"/>
                    </a:lnTo>
                    <a:lnTo>
                      <a:pt x="500" y="650"/>
                    </a:lnTo>
                    <a:lnTo>
                      <a:pt x="497" y="645"/>
                    </a:lnTo>
                    <a:lnTo>
                      <a:pt x="494" y="639"/>
                    </a:lnTo>
                    <a:lnTo>
                      <a:pt x="492" y="631"/>
                    </a:lnTo>
                    <a:lnTo>
                      <a:pt x="492" y="621"/>
                    </a:lnTo>
                    <a:lnTo>
                      <a:pt x="491" y="603"/>
                    </a:lnTo>
                    <a:lnTo>
                      <a:pt x="492" y="573"/>
                    </a:lnTo>
                    <a:lnTo>
                      <a:pt x="492" y="568"/>
                    </a:lnTo>
                    <a:lnTo>
                      <a:pt x="490" y="564"/>
                    </a:lnTo>
                    <a:lnTo>
                      <a:pt x="487" y="562"/>
                    </a:lnTo>
                    <a:lnTo>
                      <a:pt x="484" y="561"/>
                    </a:lnTo>
                    <a:lnTo>
                      <a:pt x="480" y="562"/>
                    </a:lnTo>
                    <a:lnTo>
                      <a:pt x="470" y="573"/>
                    </a:lnTo>
                    <a:lnTo>
                      <a:pt x="458" y="580"/>
                    </a:lnTo>
                    <a:lnTo>
                      <a:pt x="455" y="583"/>
                    </a:lnTo>
                    <a:lnTo>
                      <a:pt x="452" y="586"/>
                    </a:lnTo>
                    <a:lnTo>
                      <a:pt x="450" y="591"/>
                    </a:lnTo>
                    <a:lnTo>
                      <a:pt x="444" y="608"/>
                    </a:lnTo>
                    <a:lnTo>
                      <a:pt x="441" y="612"/>
                    </a:lnTo>
                    <a:lnTo>
                      <a:pt x="439" y="615"/>
                    </a:lnTo>
                    <a:lnTo>
                      <a:pt x="435" y="617"/>
                    </a:lnTo>
                    <a:lnTo>
                      <a:pt x="431" y="618"/>
                    </a:lnTo>
                    <a:lnTo>
                      <a:pt x="402" y="616"/>
                    </a:lnTo>
                    <a:lnTo>
                      <a:pt x="387" y="614"/>
                    </a:lnTo>
                    <a:lnTo>
                      <a:pt x="362" y="605"/>
                    </a:lnTo>
                    <a:lnTo>
                      <a:pt x="353" y="604"/>
                    </a:lnTo>
                    <a:lnTo>
                      <a:pt x="339" y="604"/>
                    </a:lnTo>
                    <a:lnTo>
                      <a:pt x="299" y="613"/>
                    </a:lnTo>
                    <a:lnTo>
                      <a:pt x="281" y="620"/>
                    </a:lnTo>
                    <a:lnTo>
                      <a:pt x="278" y="620"/>
                    </a:lnTo>
                    <a:lnTo>
                      <a:pt x="274" y="620"/>
                    </a:lnTo>
                    <a:lnTo>
                      <a:pt x="267" y="617"/>
                    </a:lnTo>
                    <a:lnTo>
                      <a:pt x="266" y="616"/>
                    </a:lnTo>
                    <a:lnTo>
                      <a:pt x="265" y="615"/>
                    </a:lnTo>
                    <a:lnTo>
                      <a:pt x="221" y="559"/>
                    </a:lnTo>
                    <a:lnTo>
                      <a:pt x="216" y="553"/>
                    </a:lnTo>
                    <a:lnTo>
                      <a:pt x="209" y="549"/>
                    </a:lnTo>
                    <a:lnTo>
                      <a:pt x="205" y="546"/>
                    </a:lnTo>
                    <a:lnTo>
                      <a:pt x="172" y="538"/>
                    </a:lnTo>
                    <a:lnTo>
                      <a:pt x="161" y="538"/>
                    </a:lnTo>
                    <a:lnTo>
                      <a:pt x="148" y="541"/>
                    </a:lnTo>
                    <a:lnTo>
                      <a:pt x="126" y="543"/>
                    </a:lnTo>
                    <a:lnTo>
                      <a:pt x="92" y="549"/>
                    </a:lnTo>
                    <a:lnTo>
                      <a:pt x="85" y="552"/>
                    </a:lnTo>
                    <a:lnTo>
                      <a:pt x="78" y="554"/>
                    </a:lnTo>
                    <a:lnTo>
                      <a:pt x="73" y="560"/>
                    </a:lnTo>
                    <a:lnTo>
                      <a:pt x="70" y="561"/>
                    </a:lnTo>
                    <a:lnTo>
                      <a:pt x="66" y="562"/>
                    </a:lnTo>
                    <a:lnTo>
                      <a:pt x="42" y="560"/>
                    </a:lnTo>
                    <a:lnTo>
                      <a:pt x="28" y="557"/>
                    </a:lnTo>
                    <a:lnTo>
                      <a:pt x="23" y="556"/>
                    </a:lnTo>
                    <a:lnTo>
                      <a:pt x="17" y="557"/>
                    </a:lnTo>
                    <a:lnTo>
                      <a:pt x="3" y="558"/>
                    </a:lnTo>
                    <a:lnTo>
                      <a:pt x="3" y="557"/>
                    </a:lnTo>
                    <a:lnTo>
                      <a:pt x="0" y="556"/>
                    </a:lnTo>
                    <a:lnTo>
                      <a:pt x="0" y="555"/>
                    </a:lnTo>
                    <a:lnTo>
                      <a:pt x="3" y="551"/>
                    </a:lnTo>
                    <a:lnTo>
                      <a:pt x="5" y="543"/>
                    </a:lnTo>
                    <a:lnTo>
                      <a:pt x="6" y="534"/>
                    </a:lnTo>
                    <a:lnTo>
                      <a:pt x="4" y="530"/>
                    </a:lnTo>
                    <a:lnTo>
                      <a:pt x="4" y="527"/>
                    </a:lnTo>
                    <a:lnTo>
                      <a:pt x="6" y="523"/>
                    </a:lnTo>
                    <a:lnTo>
                      <a:pt x="8" y="519"/>
                    </a:lnTo>
                    <a:lnTo>
                      <a:pt x="11" y="502"/>
                    </a:lnTo>
                    <a:lnTo>
                      <a:pt x="12" y="500"/>
                    </a:lnTo>
                    <a:lnTo>
                      <a:pt x="14" y="495"/>
                    </a:lnTo>
                    <a:lnTo>
                      <a:pt x="14" y="494"/>
                    </a:lnTo>
                    <a:lnTo>
                      <a:pt x="14" y="492"/>
                    </a:lnTo>
                    <a:lnTo>
                      <a:pt x="16" y="490"/>
                    </a:lnTo>
                    <a:lnTo>
                      <a:pt x="19" y="488"/>
                    </a:lnTo>
                    <a:lnTo>
                      <a:pt x="18" y="484"/>
                    </a:lnTo>
                    <a:lnTo>
                      <a:pt x="18" y="480"/>
                    </a:lnTo>
                    <a:lnTo>
                      <a:pt x="18" y="477"/>
                    </a:lnTo>
                    <a:lnTo>
                      <a:pt x="20" y="478"/>
                    </a:lnTo>
                    <a:lnTo>
                      <a:pt x="21" y="477"/>
                    </a:lnTo>
                    <a:lnTo>
                      <a:pt x="21" y="477"/>
                    </a:lnTo>
                    <a:lnTo>
                      <a:pt x="20" y="474"/>
                    </a:lnTo>
                    <a:lnTo>
                      <a:pt x="20" y="471"/>
                    </a:lnTo>
                    <a:lnTo>
                      <a:pt x="20" y="469"/>
                    </a:lnTo>
                    <a:lnTo>
                      <a:pt x="39" y="471"/>
                    </a:lnTo>
                    <a:lnTo>
                      <a:pt x="59" y="475"/>
                    </a:lnTo>
                    <a:lnTo>
                      <a:pt x="108" y="484"/>
                    </a:lnTo>
                    <a:lnTo>
                      <a:pt x="133" y="488"/>
                    </a:lnTo>
                    <a:lnTo>
                      <a:pt x="162" y="493"/>
                    </a:lnTo>
                    <a:lnTo>
                      <a:pt x="199" y="500"/>
                    </a:lnTo>
                    <a:lnTo>
                      <a:pt x="204" y="499"/>
                    </a:lnTo>
                    <a:lnTo>
                      <a:pt x="208" y="497"/>
                    </a:lnTo>
                    <a:lnTo>
                      <a:pt x="226" y="483"/>
                    </a:lnTo>
                    <a:lnTo>
                      <a:pt x="276" y="440"/>
                    </a:lnTo>
                    <a:lnTo>
                      <a:pt x="305" y="392"/>
                    </a:lnTo>
                    <a:lnTo>
                      <a:pt x="314" y="376"/>
                    </a:lnTo>
                    <a:lnTo>
                      <a:pt x="318" y="371"/>
                    </a:lnTo>
                    <a:lnTo>
                      <a:pt x="323" y="369"/>
                    </a:lnTo>
                    <a:lnTo>
                      <a:pt x="352" y="362"/>
                    </a:lnTo>
                    <a:lnTo>
                      <a:pt x="401" y="353"/>
                    </a:lnTo>
                    <a:lnTo>
                      <a:pt x="442" y="344"/>
                    </a:lnTo>
                    <a:lnTo>
                      <a:pt x="446" y="341"/>
                    </a:lnTo>
                    <a:lnTo>
                      <a:pt x="454" y="323"/>
                    </a:lnTo>
                    <a:lnTo>
                      <a:pt x="465" y="294"/>
                    </a:lnTo>
                    <a:lnTo>
                      <a:pt x="470" y="282"/>
                    </a:lnTo>
                    <a:lnTo>
                      <a:pt x="472" y="279"/>
                    </a:lnTo>
                    <a:lnTo>
                      <a:pt x="476" y="276"/>
                    </a:lnTo>
                    <a:lnTo>
                      <a:pt x="514" y="254"/>
                    </a:lnTo>
                    <a:lnTo>
                      <a:pt x="526" y="247"/>
                    </a:lnTo>
                    <a:lnTo>
                      <a:pt x="528" y="246"/>
                    </a:lnTo>
                    <a:lnTo>
                      <a:pt x="483" y="193"/>
                    </a:lnTo>
                    <a:lnTo>
                      <a:pt x="464" y="172"/>
                    </a:lnTo>
                    <a:lnTo>
                      <a:pt x="444" y="147"/>
                    </a:lnTo>
                    <a:lnTo>
                      <a:pt x="401" y="99"/>
                    </a:lnTo>
                    <a:lnTo>
                      <a:pt x="357" y="52"/>
                    </a:lnTo>
                    <a:lnTo>
                      <a:pt x="439" y="27"/>
                    </a:lnTo>
                    <a:lnTo>
                      <a:pt x="522" y="2"/>
                    </a:lnTo>
                    <a:lnTo>
                      <a:pt x="529" y="0"/>
                    </a:lnTo>
                    <a:lnTo>
                      <a:pt x="508" y="75"/>
                    </a:lnTo>
                    <a:lnTo>
                      <a:pt x="507" y="82"/>
                    </a:lnTo>
                    <a:lnTo>
                      <a:pt x="508" y="94"/>
                    </a:lnTo>
                    <a:lnTo>
                      <a:pt x="510" y="101"/>
                    </a:lnTo>
                    <a:lnTo>
                      <a:pt x="510" y="103"/>
                    </a:lnTo>
                    <a:lnTo>
                      <a:pt x="512" y="106"/>
                    </a:lnTo>
                    <a:lnTo>
                      <a:pt x="514" y="110"/>
                    </a:lnTo>
                    <a:lnTo>
                      <a:pt x="529" y="120"/>
                    </a:lnTo>
                    <a:lnTo>
                      <a:pt x="533" y="126"/>
                    </a:lnTo>
                    <a:lnTo>
                      <a:pt x="539" y="133"/>
                    </a:lnTo>
                    <a:lnTo>
                      <a:pt x="544" y="142"/>
                    </a:lnTo>
                    <a:lnTo>
                      <a:pt x="547" y="149"/>
                    </a:lnTo>
                    <a:lnTo>
                      <a:pt x="552" y="158"/>
                    </a:lnTo>
                    <a:lnTo>
                      <a:pt x="556" y="162"/>
                    </a:lnTo>
                    <a:lnTo>
                      <a:pt x="560" y="165"/>
                    </a:lnTo>
                    <a:lnTo>
                      <a:pt x="563" y="167"/>
                    </a:lnTo>
                    <a:lnTo>
                      <a:pt x="567" y="169"/>
                    </a:lnTo>
                    <a:lnTo>
                      <a:pt x="574" y="171"/>
                    </a:lnTo>
                    <a:lnTo>
                      <a:pt x="583" y="172"/>
                    </a:lnTo>
                    <a:lnTo>
                      <a:pt x="657" y="164"/>
                    </a:lnTo>
                    <a:lnTo>
                      <a:pt x="708" y="156"/>
                    </a:lnTo>
                    <a:lnTo>
                      <a:pt x="730" y="157"/>
                    </a:lnTo>
                    <a:lnTo>
                      <a:pt x="844" y="174"/>
                    </a:lnTo>
                    <a:lnTo>
                      <a:pt x="849" y="175"/>
                    </a:lnTo>
                    <a:lnTo>
                      <a:pt x="853" y="178"/>
                    </a:lnTo>
                    <a:lnTo>
                      <a:pt x="857" y="180"/>
                    </a:lnTo>
                    <a:lnTo>
                      <a:pt x="869" y="192"/>
                    </a:lnTo>
                    <a:lnTo>
                      <a:pt x="874" y="195"/>
                    </a:lnTo>
                    <a:lnTo>
                      <a:pt x="879" y="196"/>
                    </a:lnTo>
                    <a:lnTo>
                      <a:pt x="895" y="200"/>
                    </a:lnTo>
                    <a:lnTo>
                      <a:pt x="986" y="202"/>
                    </a:lnTo>
                    <a:lnTo>
                      <a:pt x="996" y="201"/>
                    </a:lnTo>
                    <a:lnTo>
                      <a:pt x="1012" y="201"/>
                    </a:lnTo>
                    <a:lnTo>
                      <a:pt x="1019" y="203"/>
                    </a:lnTo>
                    <a:lnTo>
                      <a:pt x="1025" y="205"/>
                    </a:lnTo>
                    <a:lnTo>
                      <a:pt x="1057" y="232"/>
                    </a:lnTo>
                    <a:lnTo>
                      <a:pt x="1063" y="234"/>
                    </a:lnTo>
                    <a:lnTo>
                      <a:pt x="1068" y="236"/>
                    </a:lnTo>
                    <a:lnTo>
                      <a:pt x="1077" y="237"/>
                    </a:lnTo>
                    <a:lnTo>
                      <a:pt x="1091" y="237"/>
                    </a:lnTo>
                    <a:lnTo>
                      <a:pt x="1110" y="241"/>
                    </a:lnTo>
                    <a:lnTo>
                      <a:pt x="1116" y="242"/>
                    </a:lnTo>
                    <a:lnTo>
                      <a:pt x="1122" y="246"/>
                    </a:lnTo>
                    <a:lnTo>
                      <a:pt x="1124" y="249"/>
                    </a:lnTo>
                    <a:lnTo>
                      <a:pt x="1129" y="255"/>
                    </a:lnTo>
                    <a:lnTo>
                      <a:pt x="1132" y="258"/>
                    </a:lnTo>
                    <a:lnTo>
                      <a:pt x="1139" y="276"/>
                    </a:lnTo>
                    <a:lnTo>
                      <a:pt x="1144" y="284"/>
                    </a:lnTo>
                    <a:lnTo>
                      <a:pt x="1147" y="288"/>
                    </a:lnTo>
                    <a:lnTo>
                      <a:pt x="1155" y="296"/>
                    </a:lnTo>
                    <a:lnTo>
                      <a:pt x="1180" y="316"/>
                    </a:lnTo>
                    <a:lnTo>
                      <a:pt x="1183" y="319"/>
                    </a:lnTo>
                    <a:lnTo>
                      <a:pt x="1185" y="324"/>
                    </a:lnTo>
                    <a:lnTo>
                      <a:pt x="1183" y="327"/>
                    </a:lnTo>
                    <a:lnTo>
                      <a:pt x="1180" y="331"/>
                    </a:lnTo>
                    <a:lnTo>
                      <a:pt x="1173" y="339"/>
                    </a:lnTo>
                    <a:lnTo>
                      <a:pt x="1159" y="350"/>
                    </a:lnTo>
                    <a:lnTo>
                      <a:pt x="1019" y="438"/>
                    </a:lnTo>
                    <a:lnTo>
                      <a:pt x="1001" y="452"/>
                    </a:lnTo>
                    <a:lnTo>
                      <a:pt x="997" y="455"/>
                    </a:lnTo>
                    <a:lnTo>
                      <a:pt x="994" y="460"/>
                    </a:lnTo>
                    <a:lnTo>
                      <a:pt x="991" y="463"/>
                    </a:lnTo>
                    <a:lnTo>
                      <a:pt x="990" y="468"/>
                    </a:lnTo>
                    <a:lnTo>
                      <a:pt x="989" y="472"/>
                    </a:lnTo>
                    <a:lnTo>
                      <a:pt x="985" y="536"/>
                    </a:lnTo>
                    <a:lnTo>
                      <a:pt x="984" y="539"/>
                    </a:lnTo>
                    <a:lnTo>
                      <a:pt x="983" y="543"/>
                    </a:lnTo>
                    <a:lnTo>
                      <a:pt x="980" y="547"/>
                    </a:lnTo>
                    <a:lnTo>
                      <a:pt x="957" y="571"/>
                    </a:lnTo>
                    <a:lnTo>
                      <a:pt x="957" y="571"/>
                    </a:lnTo>
                    <a:close/>
                  </a:path>
                </a:pathLst>
              </a:custGeom>
              <a:solidFill>
                <a:schemeClr val="accent3"/>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81" name="Freeform 15">
                <a:extLst>
                  <a:ext uri="{FF2B5EF4-FFF2-40B4-BE49-F238E27FC236}"/>
                </a:extLst>
              </p:cNvPr>
              <p:cNvSpPr>
                <a:spLocks/>
              </p:cNvSpPr>
              <p:nvPr/>
            </p:nvSpPr>
            <p:spPr bwMode="auto">
              <a:xfrm>
                <a:off x="3350289" y="5236027"/>
                <a:ext cx="327062" cy="392464"/>
              </a:xfrm>
              <a:custGeom>
                <a:avLst/>
                <a:gdLst>
                  <a:gd name="T0" fmla="*/ 198 w 207"/>
                  <a:gd name="T1" fmla="*/ 52 h 249"/>
                  <a:gd name="T2" fmla="*/ 200 w 207"/>
                  <a:gd name="T3" fmla="*/ 61 h 249"/>
                  <a:gd name="T4" fmla="*/ 206 w 207"/>
                  <a:gd name="T5" fmla="*/ 69 h 249"/>
                  <a:gd name="T6" fmla="*/ 206 w 207"/>
                  <a:gd name="T7" fmla="*/ 78 h 249"/>
                  <a:gd name="T8" fmla="*/ 198 w 207"/>
                  <a:gd name="T9" fmla="*/ 87 h 249"/>
                  <a:gd name="T10" fmla="*/ 175 w 207"/>
                  <a:gd name="T11" fmla="*/ 104 h 249"/>
                  <a:gd name="T12" fmla="*/ 171 w 207"/>
                  <a:gd name="T13" fmla="*/ 114 h 249"/>
                  <a:gd name="T14" fmla="*/ 168 w 207"/>
                  <a:gd name="T15" fmla="*/ 135 h 249"/>
                  <a:gd name="T16" fmla="*/ 146 w 207"/>
                  <a:gd name="T17" fmla="*/ 174 h 249"/>
                  <a:gd name="T18" fmla="*/ 125 w 207"/>
                  <a:gd name="T19" fmla="*/ 175 h 249"/>
                  <a:gd name="T20" fmla="*/ 118 w 207"/>
                  <a:gd name="T21" fmla="*/ 177 h 249"/>
                  <a:gd name="T22" fmla="*/ 115 w 207"/>
                  <a:gd name="T23" fmla="*/ 181 h 249"/>
                  <a:gd name="T24" fmla="*/ 99 w 207"/>
                  <a:gd name="T25" fmla="*/ 217 h 249"/>
                  <a:gd name="T26" fmla="*/ 94 w 207"/>
                  <a:gd name="T27" fmla="*/ 240 h 249"/>
                  <a:gd name="T28" fmla="*/ 88 w 207"/>
                  <a:gd name="T29" fmla="*/ 245 h 249"/>
                  <a:gd name="T30" fmla="*/ 82 w 207"/>
                  <a:gd name="T31" fmla="*/ 248 h 249"/>
                  <a:gd name="T32" fmla="*/ 74 w 207"/>
                  <a:gd name="T33" fmla="*/ 249 h 249"/>
                  <a:gd name="T34" fmla="*/ 65 w 207"/>
                  <a:gd name="T35" fmla="*/ 246 h 249"/>
                  <a:gd name="T36" fmla="*/ 51 w 207"/>
                  <a:gd name="T37" fmla="*/ 229 h 249"/>
                  <a:gd name="T38" fmla="*/ 35 w 207"/>
                  <a:gd name="T39" fmla="*/ 218 h 249"/>
                  <a:gd name="T40" fmla="*/ 30 w 207"/>
                  <a:gd name="T41" fmla="*/ 214 h 249"/>
                  <a:gd name="T42" fmla="*/ 28 w 207"/>
                  <a:gd name="T43" fmla="*/ 207 h 249"/>
                  <a:gd name="T44" fmla="*/ 28 w 207"/>
                  <a:gd name="T45" fmla="*/ 189 h 249"/>
                  <a:gd name="T46" fmla="*/ 25 w 207"/>
                  <a:gd name="T47" fmla="*/ 174 h 249"/>
                  <a:gd name="T48" fmla="*/ 27 w 207"/>
                  <a:gd name="T49" fmla="*/ 152 h 249"/>
                  <a:gd name="T50" fmla="*/ 26 w 207"/>
                  <a:gd name="T51" fmla="*/ 144 h 249"/>
                  <a:gd name="T52" fmla="*/ 21 w 207"/>
                  <a:gd name="T53" fmla="*/ 137 h 249"/>
                  <a:gd name="T54" fmla="*/ 7 w 207"/>
                  <a:gd name="T55" fmla="*/ 132 h 249"/>
                  <a:gd name="T56" fmla="*/ 1 w 207"/>
                  <a:gd name="T57" fmla="*/ 128 h 249"/>
                  <a:gd name="T58" fmla="*/ 0 w 207"/>
                  <a:gd name="T59" fmla="*/ 121 h 249"/>
                  <a:gd name="T60" fmla="*/ 16 w 207"/>
                  <a:gd name="T61" fmla="*/ 104 h 249"/>
                  <a:gd name="T62" fmla="*/ 24 w 207"/>
                  <a:gd name="T63" fmla="*/ 99 h 249"/>
                  <a:gd name="T64" fmla="*/ 45 w 207"/>
                  <a:gd name="T65" fmla="*/ 95 h 249"/>
                  <a:gd name="T66" fmla="*/ 53 w 207"/>
                  <a:gd name="T67" fmla="*/ 92 h 249"/>
                  <a:gd name="T68" fmla="*/ 59 w 207"/>
                  <a:gd name="T69" fmla="*/ 85 h 249"/>
                  <a:gd name="T70" fmla="*/ 75 w 207"/>
                  <a:gd name="T71" fmla="*/ 52 h 249"/>
                  <a:gd name="T72" fmla="*/ 77 w 207"/>
                  <a:gd name="T73" fmla="*/ 46 h 249"/>
                  <a:gd name="T74" fmla="*/ 73 w 207"/>
                  <a:gd name="T75" fmla="*/ 30 h 249"/>
                  <a:gd name="T76" fmla="*/ 72 w 207"/>
                  <a:gd name="T77" fmla="*/ 18 h 249"/>
                  <a:gd name="T78" fmla="*/ 73 w 207"/>
                  <a:gd name="T79" fmla="*/ 11 h 249"/>
                  <a:gd name="T80" fmla="*/ 75 w 207"/>
                  <a:gd name="T81" fmla="*/ 7 h 249"/>
                  <a:gd name="T82" fmla="*/ 81 w 207"/>
                  <a:gd name="T83" fmla="*/ 1 h 249"/>
                  <a:gd name="T84" fmla="*/ 89 w 207"/>
                  <a:gd name="T85" fmla="*/ 0 h 249"/>
                  <a:gd name="T86" fmla="*/ 98 w 207"/>
                  <a:gd name="T87" fmla="*/ 2 h 249"/>
                  <a:gd name="T88" fmla="*/ 104 w 207"/>
                  <a:gd name="T89" fmla="*/ 9 h 249"/>
                  <a:gd name="T90" fmla="*/ 111 w 207"/>
                  <a:gd name="T91" fmla="*/ 27 h 249"/>
                  <a:gd name="T92" fmla="*/ 117 w 207"/>
                  <a:gd name="T93" fmla="*/ 32 h 249"/>
                  <a:gd name="T94" fmla="*/ 122 w 207"/>
                  <a:gd name="T95" fmla="*/ 33 h 249"/>
                  <a:gd name="T96" fmla="*/ 135 w 207"/>
                  <a:gd name="T97" fmla="*/ 29 h 249"/>
                  <a:gd name="T98" fmla="*/ 145 w 207"/>
                  <a:gd name="T99" fmla="*/ 27 h 249"/>
                  <a:gd name="T100" fmla="*/ 167 w 207"/>
                  <a:gd name="T101" fmla="*/ 25 h 249"/>
                  <a:gd name="T102" fmla="*/ 186 w 207"/>
                  <a:gd name="T103" fmla="*/ 15 h 249"/>
                  <a:gd name="T104" fmla="*/ 193 w 207"/>
                  <a:gd name="T105" fmla="*/ 15 h 249"/>
                  <a:gd name="T106" fmla="*/ 207 w 207"/>
                  <a:gd name="T107" fmla="*/ 2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249">
                    <a:moveTo>
                      <a:pt x="207" y="24"/>
                    </a:moveTo>
                    <a:lnTo>
                      <a:pt x="198" y="52"/>
                    </a:lnTo>
                    <a:lnTo>
                      <a:pt x="199" y="56"/>
                    </a:lnTo>
                    <a:lnTo>
                      <a:pt x="200" y="61"/>
                    </a:lnTo>
                    <a:lnTo>
                      <a:pt x="204" y="66"/>
                    </a:lnTo>
                    <a:lnTo>
                      <a:pt x="206" y="69"/>
                    </a:lnTo>
                    <a:lnTo>
                      <a:pt x="207" y="73"/>
                    </a:lnTo>
                    <a:lnTo>
                      <a:pt x="206" y="78"/>
                    </a:lnTo>
                    <a:lnTo>
                      <a:pt x="201" y="84"/>
                    </a:lnTo>
                    <a:lnTo>
                      <a:pt x="198" y="87"/>
                    </a:lnTo>
                    <a:lnTo>
                      <a:pt x="178" y="100"/>
                    </a:lnTo>
                    <a:lnTo>
                      <a:pt x="175" y="104"/>
                    </a:lnTo>
                    <a:lnTo>
                      <a:pt x="172" y="108"/>
                    </a:lnTo>
                    <a:lnTo>
                      <a:pt x="171" y="114"/>
                    </a:lnTo>
                    <a:lnTo>
                      <a:pt x="170" y="126"/>
                    </a:lnTo>
                    <a:lnTo>
                      <a:pt x="168" y="135"/>
                    </a:lnTo>
                    <a:lnTo>
                      <a:pt x="150" y="172"/>
                    </a:lnTo>
                    <a:lnTo>
                      <a:pt x="146" y="174"/>
                    </a:lnTo>
                    <a:lnTo>
                      <a:pt x="141" y="175"/>
                    </a:lnTo>
                    <a:lnTo>
                      <a:pt x="125" y="175"/>
                    </a:lnTo>
                    <a:lnTo>
                      <a:pt x="121" y="175"/>
                    </a:lnTo>
                    <a:lnTo>
                      <a:pt x="118" y="177"/>
                    </a:lnTo>
                    <a:lnTo>
                      <a:pt x="117" y="178"/>
                    </a:lnTo>
                    <a:lnTo>
                      <a:pt x="115" y="181"/>
                    </a:lnTo>
                    <a:lnTo>
                      <a:pt x="110" y="189"/>
                    </a:lnTo>
                    <a:lnTo>
                      <a:pt x="99" y="217"/>
                    </a:lnTo>
                    <a:lnTo>
                      <a:pt x="95" y="236"/>
                    </a:lnTo>
                    <a:lnTo>
                      <a:pt x="94" y="240"/>
                    </a:lnTo>
                    <a:lnTo>
                      <a:pt x="92" y="243"/>
                    </a:lnTo>
                    <a:lnTo>
                      <a:pt x="88" y="245"/>
                    </a:lnTo>
                    <a:lnTo>
                      <a:pt x="86" y="247"/>
                    </a:lnTo>
                    <a:lnTo>
                      <a:pt x="82" y="248"/>
                    </a:lnTo>
                    <a:lnTo>
                      <a:pt x="78" y="249"/>
                    </a:lnTo>
                    <a:lnTo>
                      <a:pt x="74" y="249"/>
                    </a:lnTo>
                    <a:lnTo>
                      <a:pt x="70" y="248"/>
                    </a:lnTo>
                    <a:lnTo>
                      <a:pt x="65" y="246"/>
                    </a:lnTo>
                    <a:lnTo>
                      <a:pt x="62" y="244"/>
                    </a:lnTo>
                    <a:lnTo>
                      <a:pt x="51" y="229"/>
                    </a:lnTo>
                    <a:lnTo>
                      <a:pt x="48" y="225"/>
                    </a:lnTo>
                    <a:lnTo>
                      <a:pt x="35" y="218"/>
                    </a:lnTo>
                    <a:lnTo>
                      <a:pt x="33" y="217"/>
                    </a:lnTo>
                    <a:lnTo>
                      <a:pt x="30" y="214"/>
                    </a:lnTo>
                    <a:lnTo>
                      <a:pt x="28" y="211"/>
                    </a:lnTo>
                    <a:lnTo>
                      <a:pt x="28" y="207"/>
                    </a:lnTo>
                    <a:lnTo>
                      <a:pt x="28" y="204"/>
                    </a:lnTo>
                    <a:lnTo>
                      <a:pt x="28" y="189"/>
                    </a:lnTo>
                    <a:lnTo>
                      <a:pt x="28" y="185"/>
                    </a:lnTo>
                    <a:lnTo>
                      <a:pt x="25" y="174"/>
                    </a:lnTo>
                    <a:lnTo>
                      <a:pt x="25" y="170"/>
                    </a:lnTo>
                    <a:lnTo>
                      <a:pt x="27" y="152"/>
                    </a:lnTo>
                    <a:lnTo>
                      <a:pt x="27" y="148"/>
                    </a:lnTo>
                    <a:lnTo>
                      <a:pt x="26" y="144"/>
                    </a:lnTo>
                    <a:lnTo>
                      <a:pt x="24" y="140"/>
                    </a:lnTo>
                    <a:lnTo>
                      <a:pt x="21" y="137"/>
                    </a:lnTo>
                    <a:lnTo>
                      <a:pt x="20" y="136"/>
                    </a:lnTo>
                    <a:lnTo>
                      <a:pt x="7" y="132"/>
                    </a:lnTo>
                    <a:lnTo>
                      <a:pt x="4" y="130"/>
                    </a:lnTo>
                    <a:lnTo>
                      <a:pt x="1" y="128"/>
                    </a:lnTo>
                    <a:lnTo>
                      <a:pt x="0" y="124"/>
                    </a:lnTo>
                    <a:lnTo>
                      <a:pt x="0" y="121"/>
                    </a:lnTo>
                    <a:lnTo>
                      <a:pt x="3" y="117"/>
                    </a:lnTo>
                    <a:lnTo>
                      <a:pt x="16" y="104"/>
                    </a:lnTo>
                    <a:lnTo>
                      <a:pt x="20" y="101"/>
                    </a:lnTo>
                    <a:lnTo>
                      <a:pt x="24" y="99"/>
                    </a:lnTo>
                    <a:lnTo>
                      <a:pt x="28" y="98"/>
                    </a:lnTo>
                    <a:lnTo>
                      <a:pt x="45" y="95"/>
                    </a:lnTo>
                    <a:lnTo>
                      <a:pt x="49" y="94"/>
                    </a:lnTo>
                    <a:lnTo>
                      <a:pt x="53" y="92"/>
                    </a:lnTo>
                    <a:lnTo>
                      <a:pt x="57" y="89"/>
                    </a:lnTo>
                    <a:lnTo>
                      <a:pt x="59" y="85"/>
                    </a:lnTo>
                    <a:lnTo>
                      <a:pt x="64" y="73"/>
                    </a:lnTo>
                    <a:lnTo>
                      <a:pt x="75" y="52"/>
                    </a:lnTo>
                    <a:lnTo>
                      <a:pt x="77" y="47"/>
                    </a:lnTo>
                    <a:lnTo>
                      <a:pt x="77" y="46"/>
                    </a:lnTo>
                    <a:lnTo>
                      <a:pt x="76" y="40"/>
                    </a:lnTo>
                    <a:lnTo>
                      <a:pt x="73" y="30"/>
                    </a:lnTo>
                    <a:lnTo>
                      <a:pt x="72" y="22"/>
                    </a:lnTo>
                    <a:lnTo>
                      <a:pt x="72" y="18"/>
                    </a:lnTo>
                    <a:lnTo>
                      <a:pt x="73" y="15"/>
                    </a:lnTo>
                    <a:lnTo>
                      <a:pt x="73" y="11"/>
                    </a:lnTo>
                    <a:lnTo>
                      <a:pt x="74" y="9"/>
                    </a:lnTo>
                    <a:lnTo>
                      <a:pt x="75" y="7"/>
                    </a:lnTo>
                    <a:lnTo>
                      <a:pt x="78" y="4"/>
                    </a:lnTo>
                    <a:lnTo>
                      <a:pt x="81" y="1"/>
                    </a:lnTo>
                    <a:lnTo>
                      <a:pt x="85" y="0"/>
                    </a:lnTo>
                    <a:lnTo>
                      <a:pt x="89" y="0"/>
                    </a:lnTo>
                    <a:lnTo>
                      <a:pt x="93" y="0"/>
                    </a:lnTo>
                    <a:lnTo>
                      <a:pt x="98" y="2"/>
                    </a:lnTo>
                    <a:lnTo>
                      <a:pt x="102" y="6"/>
                    </a:lnTo>
                    <a:lnTo>
                      <a:pt x="104" y="9"/>
                    </a:lnTo>
                    <a:lnTo>
                      <a:pt x="110" y="23"/>
                    </a:lnTo>
                    <a:lnTo>
                      <a:pt x="111" y="27"/>
                    </a:lnTo>
                    <a:lnTo>
                      <a:pt x="114" y="30"/>
                    </a:lnTo>
                    <a:lnTo>
                      <a:pt x="117" y="32"/>
                    </a:lnTo>
                    <a:lnTo>
                      <a:pt x="118" y="33"/>
                    </a:lnTo>
                    <a:lnTo>
                      <a:pt x="122" y="33"/>
                    </a:lnTo>
                    <a:lnTo>
                      <a:pt x="127" y="32"/>
                    </a:lnTo>
                    <a:lnTo>
                      <a:pt x="135" y="29"/>
                    </a:lnTo>
                    <a:lnTo>
                      <a:pt x="140" y="27"/>
                    </a:lnTo>
                    <a:lnTo>
                      <a:pt x="145" y="27"/>
                    </a:lnTo>
                    <a:lnTo>
                      <a:pt x="163" y="27"/>
                    </a:lnTo>
                    <a:lnTo>
                      <a:pt x="167" y="25"/>
                    </a:lnTo>
                    <a:lnTo>
                      <a:pt x="171" y="23"/>
                    </a:lnTo>
                    <a:lnTo>
                      <a:pt x="186" y="15"/>
                    </a:lnTo>
                    <a:lnTo>
                      <a:pt x="189" y="14"/>
                    </a:lnTo>
                    <a:lnTo>
                      <a:pt x="193" y="15"/>
                    </a:lnTo>
                    <a:lnTo>
                      <a:pt x="197" y="16"/>
                    </a:lnTo>
                    <a:lnTo>
                      <a:pt x="207" y="24"/>
                    </a:lnTo>
                    <a:lnTo>
                      <a:pt x="207" y="24"/>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82" name="Freeform 16">
                <a:extLst>
                  <a:ext uri="{FF2B5EF4-FFF2-40B4-BE49-F238E27FC236}"/>
                </a:extLst>
              </p:cNvPr>
              <p:cNvSpPr>
                <a:spLocks/>
              </p:cNvSpPr>
              <p:nvPr/>
            </p:nvSpPr>
            <p:spPr bwMode="auto">
              <a:xfrm>
                <a:off x="3505641" y="5178790"/>
                <a:ext cx="834009" cy="989339"/>
              </a:xfrm>
              <a:custGeom>
                <a:avLst/>
                <a:gdLst>
                  <a:gd name="T0" fmla="*/ 522 w 524"/>
                  <a:gd name="T1" fmla="*/ 294 h 628"/>
                  <a:gd name="T2" fmla="*/ 502 w 524"/>
                  <a:gd name="T3" fmla="*/ 307 h 628"/>
                  <a:gd name="T4" fmla="*/ 503 w 524"/>
                  <a:gd name="T5" fmla="*/ 345 h 628"/>
                  <a:gd name="T6" fmla="*/ 502 w 524"/>
                  <a:gd name="T7" fmla="*/ 371 h 628"/>
                  <a:gd name="T8" fmla="*/ 494 w 524"/>
                  <a:gd name="T9" fmla="*/ 385 h 628"/>
                  <a:gd name="T10" fmla="*/ 459 w 524"/>
                  <a:gd name="T11" fmla="*/ 399 h 628"/>
                  <a:gd name="T12" fmla="*/ 446 w 524"/>
                  <a:gd name="T13" fmla="*/ 412 h 628"/>
                  <a:gd name="T14" fmla="*/ 432 w 524"/>
                  <a:gd name="T15" fmla="*/ 434 h 628"/>
                  <a:gd name="T16" fmla="*/ 379 w 524"/>
                  <a:gd name="T17" fmla="*/ 490 h 628"/>
                  <a:gd name="T18" fmla="*/ 381 w 524"/>
                  <a:gd name="T19" fmla="*/ 515 h 628"/>
                  <a:gd name="T20" fmla="*/ 378 w 524"/>
                  <a:gd name="T21" fmla="*/ 576 h 628"/>
                  <a:gd name="T22" fmla="*/ 381 w 524"/>
                  <a:gd name="T23" fmla="*/ 605 h 628"/>
                  <a:gd name="T24" fmla="*/ 366 w 524"/>
                  <a:gd name="T25" fmla="*/ 621 h 628"/>
                  <a:gd name="T26" fmla="*/ 344 w 524"/>
                  <a:gd name="T27" fmla="*/ 614 h 628"/>
                  <a:gd name="T28" fmla="*/ 313 w 524"/>
                  <a:gd name="T29" fmla="*/ 600 h 628"/>
                  <a:gd name="T30" fmla="*/ 291 w 524"/>
                  <a:gd name="T31" fmla="*/ 586 h 628"/>
                  <a:gd name="T32" fmla="*/ 277 w 524"/>
                  <a:gd name="T33" fmla="*/ 564 h 628"/>
                  <a:gd name="T34" fmla="*/ 261 w 524"/>
                  <a:gd name="T35" fmla="*/ 537 h 628"/>
                  <a:gd name="T36" fmla="*/ 250 w 524"/>
                  <a:gd name="T37" fmla="*/ 530 h 628"/>
                  <a:gd name="T38" fmla="*/ 230 w 524"/>
                  <a:gd name="T39" fmla="*/ 546 h 628"/>
                  <a:gd name="T40" fmla="*/ 215 w 524"/>
                  <a:gd name="T41" fmla="*/ 588 h 628"/>
                  <a:gd name="T42" fmla="*/ 201 w 524"/>
                  <a:gd name="T43" fmla="*/ 585 h 628"/>
                  <a:gd name="T44" fmla="*/ 178 w 524"/>
                  <a:gd name="T45" fmla="*/ 557 h 628"/>
                  <a:gd name="T46" fmla="*/ 164 w 524"/>
                  <a:gd name="T47" fmla="*/ 546 h 628"/>
                  <a:gd name="T48" fmla="*/ 127 w 524"/>
                  <a:gd name="T49" fmla="*/ 539 h 628"/>
                  <a:gd name="T50" fmla="*/ 120 w 524"/>
                  <a:gd name="T51" fmla="*/ 524 h 628"/>
                  <a:gd name="T52" fmla="*/ 96 w 524"/>
                  <a:gd name="T53" fmla="*/ 522 h 628"/>
                  <a:gd name="T54" fmla="*/ 89 w 524"/>
                  <a:gd name="T55" fmla="*/ 510 h 628"/>
                  <a:gd name="T56" fmla="*/ 92 w 524"/>
                  <a:gd name="T57" fmla="*/ 477 h 628"/>
                  <a:gd name="T58" fmla="*/ 71 w 524"/>
                  <a:gd name="T59" fmla="*/ 451 h 628"/>
                  <a:gd name="T60" fmla="*/ 58 w 524"/>
                  <a:gd name="T61" fmla="*/ 402 h 628"/>
                  <a:gd name="T62" fmla="*/ 47 w 524"/>
                  <a:gd name="T63" fmla="*/ 392 h 628"/>
                  <a:gd name="T64" fmla="*/ 12 w 524"/>
                  <a:gd name="T65" fmla="*/ 389 h 628"/>
                  <a:gd name="T66" fmla="*/ 2 w 524"/>
                  <a:gd name="T67" fmla="*/ 378 h 628"/>
                  <a:gd name="T68" fmla="*/ 2 w 524"/>
                  <a:gd name="T69" fmla="*/ 322 h 628"/>
                  <a:gd name="T70" fmla="*/ 12 w 524"/>
                  <a:gd name="T71" fmla="*/ 326 h 628"/>
                  <a:gd name="T72" fmla="*/ 35 w 524"/>
                  <a:gd name="T73" fmla="*/ 313 h 628"/>
                  <a:gd name="T74" fmla="*/ 64 w 524"/>
                  <a:gd name="T75" fmla="*/ 313 h 628"/>
                  <a:gd name="T76" fmla="*/ 75 w 524"/>
                  <a:gd name="T77" fmla="*/ 309 h 628"/>
                  <a:gd name="T78" fmla="*/ 84 w 524"/>
                  <a:gd name="T79" fmla="*/ 280 h 628"/>
                  <a:gd name="T80" fmla="*/ 75 w 524"/>
                  <a:gd name="T81" fmla="*/ 255 h 628"/>
                  <a:gd name="T82" fmla="*/ 80 w 524"/>
                  <a:gd name="T83" fmla="*/ 222 h 628"/>
                  <a:gd name="T84" fmla="*/ 73 w 524"/>
                  <a:gd name="T85" fmla="*/ 209 h 628"/>
                  <a:gd name="T86" fmla="*/ 52 w 524"/>
                  <a:gd name="T87" fmla="*/ 211 h 628"/>
                  <a:gd name="T88" fmla="*/ 74 w 524"/>
                  <a:gd name="T89" fmla="*/ 147 h 628"/>
                  <a:gd name="T90" fmla="*/ 103 w 524"/>
                  <a:gd name="T91" fmla="*/ 123 h 628"/>
                  <a:gd name="T92" fmla="*/ 106 w 524"/>
                  <a:gd name="T93" fmla="*/ 105 h 628"/>
                  <a:gd name="T94" fmla="*/ 109 w 524"/>
                  <a:gd name="T95" fmla="*/ 63 h 628"/>
                  <a:gd name="T96" fmla="*/ 134 w 524"/>
                  <a:gd name="T97" fmla="*/ 110 h 628"/>
                  <a:gd name="T98" fmla="*/ 152 w 524"/>
                  <a:gd name="T99" fmla="*/ 111 h 628"/>
                  <a:gd name="T100" fmla="*/ 242 w 524"/>
                  <a:gd name="T101" fmla="*/ 45 h 628"/>
                  <a:gd name="T102" fmla="*/ 262 w 524"/>
                  <a:gd name="T103" fmla="*/ 30 h 628"/>
                  <a:gd name="T104" fmla="*/ 284 w 524"/>
                  <a:gd name="T105" fmla="*/ 27 h 628"/>
                  <a:gd name="T106" fmla="*/ 312 w 524"/>
                  <a:gd name="T107" fmla="*/ 20 h 628"/>
                  <a:gd name="T108" fmla="*/ 338 w 524"/>
                  <a:gd name="T109" fmla="*/ 23 h 628"/>
                  <a:gd name="T110" fmla="*/ 416 w 524"/>
                  <a:gd name="T111" fmla="*/ 32 h 628"/>
                  <a:gd name="T112" fmla="*/ 447 w 524"/>
                  <a:gd name="T113" fmla="*/ 75 h 628"/>
                  <a:gd name="T114" fmla="*/ 447 w 524"/>
                  <a:gd name="T115" fmla="*/ 90 h 628"/>
                  <a:gd name="T116" fmla="*/ 426 w 524"/>
                  <a:gd name="T117" fmla="*/ 146 h 628"/>
                  <a:gd name="T118" fmla="*/ 439 w 524"/>
                  <a:gd name="T119" fmla="*/ 171 h 628"/>
                  <a:gd name="T120" fmla="*/ 524 w 524"/>
                  <a:gd name="T121" fmla="*/ 26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628">
                    <a:moveTo>
                      <a:pt x="524" y="261"/>
                    </a:moveTo>
                    <a:lnTo>
                      <a:pt x="524" y="284"/>
                    </a:lnTo>
                    <a:lnTo>
                      <a:pt x="524" y="290"/>
                    </a:lnTo>
                    <a:lnTo>
                      <a:pt x="522" y="294"/>
                    </a:lnTo>
                    <a:lnTo>
                      <a:pt x="520" y="296"/>
                    </a:lnTo>
                    <a:lnTo>
                      <a:pt x="518" y="298"/>
                    </a:lnTo>
                    <a:lnTo>
                      <a:pt x="507" y="304"/>
                    </a:lnTo>
                    <a:lnTo>
                      <a:pt x="502" y="307"/>
                    </a:lnTo>
                    <a:lnTo>
                      <a:pt x="499" y="313"/>
                    </a:lnTo>
                    <a:lnTo>
                      <a:pt x="498" y="319"/>
                    </a:lnTo>
                    <a:lnTo>
                      <a:pt x="498" y="322"/>
                    </a:lnTo>
                    <a:lnTo>
                      <a:pt x="503" y="345"/>
                    </a:lnTo>
                    <a:lnTo>
                      <a:pt x="504" y="353"/>
                    </a:lnTo>
                    <a:lnTo>
                      <a:pt x="504" y="359"/>
                    </a:lnTo>
                    <a:lnTo>
                      <a:pt x="504" y="366"/>
                    </a:lnTo>
                    <a:lnTo>
                      <a:pt x="502" y="371"/>
                    </a:lnTo>
                    <a:lnTo>
                      <a:pt x="501" y="375"/>
                    </a:lnTo>
                    <a:lnTo>
                      <a:pt x="499" y="379"/>
                    </a:lnTo>
                    <a:lnTo>
                      <a:pt x="496" y="382"/>
                    </a:lnTo>
                    <a:lnTo>
                      <a:pt x="494" y="385"/>
                    </a:lnTo>
                    <a:lnTo>
                      <a:pt x="486" y="390"/>
                    </a:lnTo>
                    <a:lnTo>
                      <a:pt x="478" y="394"/>
                    </a:lnTo>
                    <a:lnTo>
                      <a:pt x="471" y="397"/>
                    </a:lnTo>
                    <a:lnTo>
                      <a:pt x="459" y="399"/>
                    </a:lnTo>
                    <a:lnTo>
                      <a:pt x="456" y="401"/>
                    </a:lnTo>
                    <a:lnTo>
                      <a:pt x="451" y="404"/>
                    </a:lnTo>
                    <a:lnTo>
                      <a:pt x="448" y="407"/>
                    </a:lnTo>
                    <a:lnTo>
                      <a:pt x="446" y="412"/>
                    </a:lnTo>
                    <a:lnTo>
                      <a:pt x="441" y="421"/>
                    </a:lnTo>
                    <a:lnTo>
                      <a:pt x="440" y="425"/>
                    </a:lnTo>
                    <a:lnTo>
                      <a:pt x="437" y="427"/>
                    </a:lnTo>
                    <a:lnTo>
                      <a:pt x="432" y="434"/>
                    </a:lnTo>
                    <a:lnTo>
                      <a:pt x="413" y="450"/>
                    </a:lnTo>
                    <a:lnTo>
                      <a:pt x="386" y="478"/>
                    </a:lnTo>
                    <a:lnTo>
                      <a:pt x="382" y="484"/>
                    </a:lnTo>
                    <a:lnTo>
                      <a:pt x="379" y="490"/>
                    </a:lnTo>
                    <a:lnTo>
                      <a:pt x="377" y="496"/>
                    </a:lnTo>
                    <a:lnTo>
                      <a:pt x="377" y="500"/>
                    </a:lnTo>
                    <a:lnTo>
                      <a:pt x="379" y="508"/>
                    </a:lnTo>
                    <a:lnTo>
                      <a:pt x="381" y="515"/>
                    </a:lnTo>
                    <a:lnTo>
                      <a:pt x="383" y="522"/>
                    </a:lnTo>
                    <a:lnTo>
                      <a:pt x="383" y="530"/>
                    </a:lnTo>
                    <a:lnTo>
                      <a:pt x="379" y="569"/>
                    </a:lnTo>
                    <a:lnTo>
                      <a:pt x="378" y="576"/>
                    </a:lnTo>
                    <a:lnTo>
                      <a:pt x="377" y="580"/>
                    </a:lnTo>
                    <a:lnTo>
                      <a:pt x="378" y="585"/>
                    </a:lnTo>
                    <a:lnTo>
                      <a:pt x="381" y="596"/>
                    </a:lnTo>
                    <a:lnTo>
                      <a:pt x="381" y="605"/>
                    </a:lnTo>
                    <a:lnTo>
                      <a:pt x="377" y="623"/>
                    </a:lnTo>
                    <a:lnTo>
                      <a:pt x="377" y="628"/>
                    </a:lnTo>
                    <a:lnTo>
                      <a:pt x="374" y="625"/>
                    </a:lnTo>
                    <a:lnTo>
                      <a:pt x="366" y="621"/>
                    </a:lnTo>
                    <a:lnTo>
                      <a:pt x="354" y="615"/>
                    </a:lnTo>
                    <a:lnTo>
                      <a:pt x="351" y="614"/>
                    </a:lnTo>
                    <a:lnTo>
                      <a:pt x="346" y="614"/>
                    </a:lnTo>
                    <a:lnTo>
                      <a:pt x="344" y="614"/>
                    </a:lnTo>
                    <a:lnTo>
                      <a:pt x="339" y="614"/>
                    </a:lnTo>
                    <a:lnTo>
                      <a:pt x="336" y="616"/>
                    </a:lnTo>
                    <a:lnTo>
                      <a:pt x="328" y="621"/>
                    </a:lnTo>
                    <a:lnTo>
                      <a:pt x="313" y="600"/>
                    </a:lnTo>
                    <a:lnTo>
                      <a:pt x="311" y="596"/>
                    </a:lnTo>
                    <a:lnTo>
                      <a:pt x="307" y="593"/>
                    </a:lnTo>
                    <a:lnTo>
                      <a:pt x="294" y="588"/>
                    </a:lnTo>
                    <a:lnTo>
                      <a:pt x="291" y="586"/>
                    </a:lnTo>
                    <a:lnTo>
                      <a:pt x="289" y="582"/>
                    </a:lnTo>
                    <a:lnTo>
                      <a:pt x="283" y="572"/>
                    </a:lnTo>
                    <a:lnTo>
                      <a:pt x="281" y="568"/>
                    </a:lnTo>
                    <a:lnTo>
                      <a:pt x="277" y="564"/>
                    </a:lnTo>
                    <a:lnTo>
                      <a:pt x="264" y="553"/>
                    </a:lnTo>
                    <a:lnTo>
                      <a:pt x="261" y="549"/>
                    </a:lnTo>
                    <a:lnTo>
                      <a:pt x="261" y="544"/>
                    </a:lnTo>
                    <a:lnTo>
                      <a:pt x="261" y="537"/>
                    </a:lnTo>
                    <a:lnTo>
                      <a:pt x="260" y="534"/>
                    </a:lnTo>
                    <a:lnTo>
                      <a:pt x="258" y="531"/>
                    </a:lnTo>
                    <a:lnTo>
                      <a:pt x="252" y="529"/>
                    </a:lnTo>
                    <a:lnTo>
                      <a:pt x="250" y="530"/>
                    </a:lnTo>
                    <a:lnTo>
                      <a:pt x="242" y="534"/>
                    </a:lnTo>
                    <a:lnTo>
                      <a:pt x="235" y="540"/>
                    </a:lnTo>
                    <a:lnTo>
                      <a:pt x="232" y="542"/>
                    </a:lnTo>
                    <a:lnTo>
                      <a:pt x="230" y="546"/>
                    </a:lnTo>
                    <a:lnTo>
                      <a:pt x="226" y="553"/>
                    </a:lnTo>
                    <a:lnTo>
                      <a:pt x="218" y="582"/>
                    </a:lnTo>
                    <a:lnTo>
                      <a:pt x="217" y="586"/>
                    </a:lnTo>
                    <a:lnTo>
                      <a:pt x="215" y="588"/>
                    </a:lnTo>
                    <a:lnTo>
                      <a:pt x="212" y="589"/>
                    </a:lnTo>
                    <a:lnTo>
                      <a:pt x="208" y="589"/>
                    </a:lnTo>
                    <a:lnTo>
                      <a:pt x="204" y="587"/>
                    </a:lnTo>
                    <a:lnTo>
                      <a:pt x="201" y="585"/>
                    </a:lnTo>
                    <a:lnTo>
                      <a:pt x="185" y="569"/>
                    </a:lnTo>
                    <a:lnTo>
                      <a:pt x="182" y="564"/>
                    </a:lnTo>
                    <a:lnTo>
                      <a:pt x="180" y="561"/>
                    </a:lnTo>
                    <a:lnTo>
                      <a:pt x="178" y="557"/>
                    </a:lnTo>
                    <a:lnTo>
                      <a:pt x="177" y="553"/>
                    </a:lnTo>
                    <a:lnTo>
                      <a:pt x="173" y="549"/>
                    </a:lnTo>
                    <a:lnTo>
                      <a:pt x="169" y="547"/>
                    </a:lnTo>
                    <a:lnTo>
                      <a:pt x="164" y="546"/>
                    </a:lnTo>
                    <a:lnTo>
                      <a:pt x="139" y="546"/>
                    </a:lnTo>
                    <a:lnTo>
                      <a:pt x="134" y="545"/>
                    </a:lnTo>
                    <a:lnTo>
                      <a:pt x="131" y="543"/>
                    </a:lnTo>
                    <a:lnTo>
                      <a:pt x="127" y="539"/>
                    </a:lnTo>
                    <a:lnTo>
                      <a:pt x="125" y="535"/>
                    </a:lnTo>
                    <a:lnTo>
                      <a:pt x="124" y="529"/>
                    </a:lnTo>
                    <a:lnTo>
                      <a:pt x="123" y="526"/>
                    </a:lnTo>
                    <a:lnTo>
                      <a:pt x="120" y="524"/>
                    </a:lnTo>
                    <a:lnTo>
                      <a:pt x="116" y="521"/>
                    </a:lnTo>
                    <a:lnTo>
                      <a:pt x="111" y="520"/>
                    </a:lnTo>
                    <a:lnTo>
                      <a:pt x="108" y="520"/>
                    </a:lnTo>
                    <a:lnTo>
                      <a:pt x="96" y="522"/>
                    </a:lnTo>
                    <a:lnTo>
                      <a:pt x="94" y="520"/>
                    </a:lnTo>
                    <a:lnTo>
                      <a:pt x="91" y="519"/>
                    </a:lnTo>
                    <a:lnTo>
                      <a:pt x="89" y="513"/>
                    </a:lnTo>
                    <a:lnTo>
                      <a:pt x="89" y="510"/>
                    </a:lnTo>
                    <a:lnTo>
                      <a:pt x="89" y="505"/>
                    </a:lnTo>
                    <a:lnTo>
                      <a:pt x="93" y="484"/>
                    </a:lnTo>
                    <a:lnTo>
                      <a:pt x="93" y="481"/>
                    </a:lnTo>
                    <a:lnTo>
                      <a:pt x="92" y="477"/>
                    </a:lnTo>
                    <a:lnTo>
                      <a:pt x="90" y="474"/>
                    </a:lnTo>
                    <a:lnTo>
                      <a:pt x="84" y="473"/>
                    </a:lnTo>
                    <a:lnTo>
                      <a:pt x="65" y="474"/>
                    </a:lnTo>
                    <a:lnTo>
                      <a:pt x="71" y="451"/>
                    </a:lnTo>
                    <a:lnTo>
                      <a:pt x="72" y="447"/>
                    </a:lnTo>
                    <a:lnTo>
                      <a:pt x="72" y="443"/>
                    </a:lnTo>
                    <a:lnTo>
                      <a:pt x="70" y="437"/>
                    </a:lnTo>
                    <a:lnTo>
                      <a:pt x="58" y="402"/>
                    </a:lnTo>
                    <a:lnTo>
                      <a:pt x="57" y="398"/>
                    </a:lnTo>
                    <a:lnTo>
                      <a:pt x="54" y="396"/>
                    </a:lnTo>
                    <a:lnTo>
                      <a:pt x="50" y="394"/>
                    </a:lnTo>
                    <a:lnTo>
                      <a:pt x="47" y="392"/>
                    </a:lnTo>
                    <a:lnTo>
                      <a:pt x="40" y="391"/>
                    </a:lnTo>
                    <a:lnTo>
                      <a:pt x="33" y="390"/>
                    </a:lnTo>
                    <a:lnTo>
                      <a:pt x="14" y="390"/>
                    </a:lnTo>
                    <a:lnTo>
                      <a:pt x="12" y="389"/>
                    </a:lnTo>
                    <a:lnTo>
                      <a:pt x="8" y="388"/>
                    </a:lnTo>
                    <a:lnTo>
                      <a:pt x="5" y="385"/>
                    </a:lnTo>
                    <a:lnTo>
                      <a:pt x="3" y="382"/>
                    </a:lnTo>
                    <a:lnTo>
                      <a:pt x="2" y="378"/>
                    </a:lnTo>
                    <a:lnTo>
                      <a:pt x="1" y="374"/>
                    </a:lnTo>
                    <a:lnTo>
                      <a:pt x="0" y="366"/>
                    </a:lnTo>
                    <a:lnTo>
                      <a:pt x="1" y="326"/>
                    </a:lnTo>
                    <a:lnTo>
                      <a:pt x="2" y="322"/>
                    </a:lnTo>
                    <a:lnTo>
                      <a:pt x="3" y="321"/>
                    </a:lnTo>
                    <a:lnTo>
                      <a:pt x="5" y="322"/>
                    </a:lnTo>
                    <a:lnTo>
                      <a:pt x="8" y="324"/>
                    </a:lnTo>
                    <a:lnTo>
                      <a:pt x="12" y="326"/>
                    </a:lnTo>
                    <a:lnTo>
                      <a:pt x="15" y="326"/>
                    </a:lnTo>
                    <a:lnTo>
                      <a:pt x="19" y="324"/>
                    </a:lnTo>
                    <a:lnTo>
                      <a:pt x="27" y="318"/>
                    </a:lnTo>
                    <a:lnTo>
                      <a:pt x="35" y="313"/>
                    </a:lnTo>
                    <a:lnTo>
                      <a:pt x="38" y="313"/>
                    </a:lnTo>
                    <a:lnTo>
                      <a:pt x="42" y="312"/>
                    </a:lnTo>
                    <a:lnTo>
                      <a:pt x="45" y="312"/>
                    </a:lnTo>
                    <a:lnTo>
                      <a:pt x="64" y="313"/>
                    </a:lnTo>
                    <a:lnTo>
                      <a:pt x="66" y="313"/>
                    </a:lnTo>
                    <a:lnTo>
                      <a:pt x="69" y="313"/>
                    </a:lnTo>
                    <a:lnTo>
                      <a:pt x="72" y="312"/>
                    </a:lnTo>
                    <a:lnTo>
                      <a:pt x="75" y="309"/>
                    </a:lnTo>
                    <a:lnTo>
                      <a:pt x="77" y="306"/>
                    </a:lnTo>
                    <a:lnTo>
                      <a:pt x="79" y="303"/>
                    </a:lnTo>
                    <a:lnTo>
                      <a:pt x="84" y="284"/>
                    </a:lnTo>
                    <a:lnTo>
                      <a:pt x="84" y="280"/>
                    </a:lnTo>
                    <a:lnTo>
                      <a:pt x="83" y="276"/>
                    </a:lnTo>
                    <a:lnTo>
                      <a:pt x="76" y="264"/>
                    </a:lnTo>
                    <a:lnTo>
                      <a:pt x="75" y="260"/>
                    </a:lnTo>
                    <a:lnTo>
                      <a:pt x="75" y="255"/>
                    </a:lnTo>
                    <a:lnTo>
                      <a:pt x="75" y="252"/>
                    </a:lnTo>
                    <a:lnTo>
                      <a:pt x="80" y="229"/>
                    </a:lnTo>
                    <a:lnTo>
                      <a:pt x="80" y="225"/>
                    </a:lnTo>
                    <a:lnTo>
                      <a:pt x="80" y="222"/>
                    </a:lnTo>
                    <a:lnTo>
                      <a:pt x="80" y="217"/>
                    </a:lnTo>
                    <a:lnTo>
                      <a:pt x="77" y="214"/>
                    </a:lnTo>
                    <a:lnTo>
                      <a:pt x="75" y="211"/>
                    </a:lnTo>
                    <a:lnTo>
                      <a:pt x="73" y="209"/>
                    </a:lnTo>
                    <a:lnTo>
                      <a:pt x="70" y="208"/>
                    </a:lnTo>
                    <a:lnTo>
                      <a:pt x="67" y="207"/>
                    </a:lnTo>
                    <a:lnTo>
                      <a:pt x="60" y="208"/>
                    </a:lnTo>
                    <a:lnTo>
                      <a:pt x="52" y="211"/>
                    </a:lnTo>
                    <a:lnTo>
                      <a:pt x="70" y="174"/>
                    </a:lnTo>
                    <a:lnTo>
                      <a:pt x="72" y="165"/>
                    </a:lnTo>
                    <a:lnTo>
                      <a:pt x="73" y="153"/>
                    </a:lnTo>
                    <a:lnTo>
                      <a:pt x="74" y="147"/>
                    </a:lnTo>
                    <a:lnTo>
                      <a:pt x="77" y="143"/>
                    </a:lnTo>
                    <a:lnTo>
                      <a:pt x="80" y="139"/>
                    </a:lnTo>
                    <a:lnTo>
                      <a:pt x="100" y="126"/>
                    </a:lnTo>
                    <a:lnTo>
                      <a:pt x="103" y="123"/>
                    </a:lnTo>
                    <a:lnTo>
                      <a:pt x="108" y="117"/>
                    </a:lnTo>
                    <a:lnTo>
                      <a:pt x="109" y="112"/>
                    </a:lnTo>
                    <a:lnTo>
                      <a:pt x="108" y="108"/>
                    </a:lnTo>
                    <a:lnTo>
                      <a:pt x="106" y="105"/>
                    </a:lnTo>
                    <a:lnTo>
                      <a:pt x="102" y="100"/>
                    </a:lnTo>
                    <a:lnTo>
                      <a:pt x="101" y="95"/>
                    </a:lnTo>
                    <a:lnTo>
                      <a:pt x="100" y="91"/>
                    </a:lnTo>
                    <a:lnTo>
                      <a:pt x="109" y="63"/>
                    </a:lnTo>
                    <a:lnTo>
                      <a:pt x="111" y="68"/>
                    </a:lnTo>
                    <a:lnTo>
                      <a:pt x="128" y="103"/>
                    </a:lnTo>
                    <a:lnTo>
                      <a:pt x="132" y="107"/>
                    </a:lnTo>
                    <a:lnTo>
                      <a:pt x="134" y="110"/>
                    </a:lnTo>
                    <a:lnTo>
                      <a:pt x="138" y="112"/>
                    </a:lnTo>
                    <a:lnTo>
                      <a:pt x="141" y="114"/>
                    </a:lnTo>
                    <a:lnTo>
                      <a:pt x="147" y="113"/>
                    </a:lnTo>
                    <a:lnTo>
                      <a:pt x="152" y="111"/>
                    </a:lnTo>
                    <a:lnTo>
                      <a:pt x="161" y="106"/>
                    </a:lnTo>
                    <a:lnTo>
                      <a:pt x="167" y="102"/>
                    </a:lnTo>
                    <a:lnTo>
                      <a:pt x="209" y="63"/>
                    </a:lnTo>
                    <a:lnTo>
                      <a:pt x="242" y="45"/>
                    </a:lnTo>
                    <a:lnTo>
                      <a:pt x="247" y="41"/>
                    </a:lnTo>
                    <a:lnTo>
                      <a:pt x="253" y="34"/>
                    </a:lnTo>
                    <a:lnTo>
                      <a:pt x="258" y="31"/>
                    </a:lnTo>
                    <a:lnTo>
                      <a:pt x="262" y="30"/>
                    </a:lnTo>
                    <a:lnTo>
                      <a:pt x="268" y="29"/>
                    </a:lnTo>
                    <a:lnTo>
                      <a:pt x="278" y="29"/>
                    </a:lnTo>
                    <a:lnTo>
                      <a:pt x="282" y="28"/>
                    </a:lnTo>
                    <a:lnTo>
                      <a:pt x="284" y="27"/>
                    </a:lnTo>
                    <a:lnTo>
                      <a:pt x="295" y="23"/>
                    </a:lnTo>
                    <a:lnTo>
                      <a:pt x="300" y="21"/>
                    </a:lnTo>
                    <a:lnTo>
                      <a:pt x="307" y="20"/>
                    </a:lnTo>
                    <a:lnTo>
                      <a:pt x="312" y="20"/>
                    </a:lnTo>
                    <a:lnTo>
                      <a:pt x="316" y="21"/>
                    </a:lnTo>
                    <a:lnTo>
                      <a:pt x="328" y="25"/>
                    </a:lnTo>
                    <a:lnTo>
                      <a:pt x="332" y="24"/>
                    </a:lnTo>
                    <a:lnTo>
                      <a:pt x="338" y="23"/>
                    </a:lnTo>
                    <a:lnTo>
                      <a:pt x="365" y="7"/>
                    </a:lnTo>
                    <a:lnTo>
                      <a:pt x="382" y="0"/>
                    </a:lnTo>
                    <a:lnTo>
                      <a:pt x="406" y="22"/>
                    </a:lnTo>
                    <a:lnTo>
                      <a:pt x="416" y="32"/>
                    </a:lnTo>
                    <a:lnTo>
                      <a:pt x="421" y="41"/>
                    </a:lnTo>
                    <a:lnTo>
                      <a:pt x="431" y="55"/>
                    </a:lnTo>
                    <a:lnTo>
                      <a:pt x="445" y="70"/>
                    </a:lnTo>
                    <a:lnTo>
                      <a:pt x="447" y="75"/>
                    </a:lnTo>
                    <a:lnTo>
                      <a:pt x="448" y="78"/>
                    </a:lnTo>
                    <a:lnTo>
                      <a:pt x="449" y="82"/>
                    </a:lnTo>
                    <a:lnTo>
                      <a:pt x="448" y="85"/>
                    </a:lnTo>
                    <a:lnTo>
                      <a:pt x="447" y="90"/>
                    </a:lnTo>
                    <a:lnTo>
                      <a:pt x="446" y="92"/>
                    </a:lnTo>
                    <a:lnTo>
                      <a:pt x="435" y="108"/>
                    </a:lnTo>
                    <a:lnTo>
                      <a:pt x="433" y="115"/>
                    </a:lnTo>
                    <a:lnTo>
                      <a:pt x="426" y="146"/>
                    </a:lnTo>
                    <a:lnTo>
                      <a:pt x="426" y="150"/>
                    </a:lnTo>
                    <a:lnTo>
                      <a:pt x="426" y="156"/>
                    </a:lnTo>
                    <a:lnTo>
                      <a:pt x="430" y="160"/>
                    </a:lnTo>
                    <a:lnTo>
                      <a:pt x="439" y="171"/>
                    </a:lnTo>
                    <a:lnTo>
                      <a:pt x="456" y="199"/>
                    </a:lnTo>
                    <a:lnTo>
                      <a:pt x="521" y="260"/>
                    </a:lnTo>
                    <a:lnTo>
                      <a:pt x="524" y="261"/>
                    </a:lnTo>
                    <a:lnTo>
                      <a:pt x="524" y="261"/>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83" name="Freeform 17">
                <a:extLst>
                  <a:ext uri="{FF2B5EF4-FFF2-40B4-BE49-F238E27FC236}"/>
                </a:extLst>
              </p:cNvPr>
              <p:cNvSpPr>
                <a:spLocks noEditPoints="1"/>
              </p:cNvSpPr>
              <p:nvPr/>
            </p:nvSpPr>
            <p:spPr bwMode="auto">
              <a:xfrm>
                <a:off x="3562879" y="5922839"/>
                <a:ext cx="466061" cy="547812"/>
              </a:xfrm>
              <a:custGeom>
                <a:avLst/>
                <a:gdLst>
                  <a:gd name="T0" fmla="*/ 67 w 293"/>
                  <a:gd name="T1" fmla="*/ 278 h 343"/>
                  <a:gd name="T2" fmla="*/ 74 w 293"/>
                  <a:gd name="T3" fmla="*/ 279 h 343"/>
                  <a:gd name="T4" fmla="*/ 81 w 293"/>
                  <a:gd name="T5" fmla="*/ 266 h 343"/>
                  <a:gd name="T6" fmla="*/ 93 w 293"/>
                  <a:gd name="T7" fmla="*/ 282 h 343"/>
                  <a:gd name="T8" fmla="*/ 99 w 293"/>
                  <a:gd name="T9" fmla="*/ 302 h 343"/>
                  <a:gd name="T10" fmla="*/ 83 w 293"/>
                  <a:gd name="T11" fmla="*/ 297 h 343"/>
                  <a:gd name="T12" fmla="*/ 78 w 293"/>
                  <a:gd name="T13" fmla="*/ 287 h 343"/>
                  <a:gd name="T14" fmla="*/ 51 w 293"/>
                  <a:gd name="T15" fmla="*/ 283 h 343"/>
                  <a:gd name="T16" fmla="*/ 33 w 293"/>
                  <a:gd name="T17" fmla="*/ 266 h 343"/>
                  <a:gd name="T18" fmla="*/ 28 w 293"/>
                  <a:gd name="T19" fmla="*/ 251 h 343"/>
                  <a:gd name="T20" fmla="*/ 45 w 293"/>
                  <a:gd name="T21" fmla="*/ 264 h 343"/>
                  <a:gd name="T22" fmla="*/ 59 w 293"/>
                  <a:gd name="T23" fmla="*/ 243 h 343"/>
                  <a:gd name="T24" fmla="*/ 59 w 293"/>
                  <a:gd name="T25" fmla="*/ 258 h 343"/>
                  <a:gd name="T26" fmla="*/ 68 w 293"/>
                  <a:gd name="T27" fmla="*/ 272 h 343"/>
                  <a:gd name="T28" fmla="*/ 45 w 293"/>
                  <a:gd name="T29" fmla="*/ 259 h 343"/>
                  <a:gd name="T30" fmla="*/ 53 w 293"/>
                  <a:gd name="T31" fmla="*/ 244 h 343"/>
                  <a:gd name="T32" fmla="*/ 45 w 293"/>
                  <a:gd name="T33" fmla="*/ 233 h 343"/>
                  <a:gd name="T34" fmla="*/ 51 w 293"/>
                  <a:gd name="T35" fmla="*/ 232 h 343"/>
                  <a:gd name="T36" fmla="*/ 286 w 293"/>
                  <a:gd name="T37" fmla="*/ 152 h 343"/>
                  <a:gd name="T38" fmla="*/ 278 w 293"/>
                  <a:gd name="T39" fmla="*/ 185 h 343"/>
                  <a:gd name="T40" fmla="*/ 261 w 293"/>
                  <a:gd name="T41" fmla="*/ 199 h 343"/>
                  <a:gd name="T42" fmla="*/ 257 w 293"/>
                  <a:gd name="T43" fmla="*/ 223 h 343"/>
                  <a:gd name="T44" fmla="*/ 254 w 293"/>
                  <a:gd name="T45" fmla="*/ 248 h 343"/>
                  <a:gd name="T46" fmla="*/ 271 w 293"/>
                  <a:gd name="T47" fmla="*/ 268 h 343"/>
                  <a:gd name="T48" fmla="*/ 263 w 293"/>
                  <a:gd name="T49" fmla="*/ 279 h 343"/>
                  <a:gd name="T50" fmla="*/ 256 w 293"/>
                  <a:gd name="T51" fmla="*/ 289 h 343"/>
                  <a:gd name="T52" fmla="*/ 243 w 293"/>
                  <a:gd name="T53" fmla="*/ 311 h 343"/>
                  <a:gd name="T54" fmla="*/ 219 w 293"/>
                  <a:gd name="T55" fmla="*/ 323 h 343"/>
                  <a:gd name="T56" fmla="*/ 208 w 293"/>
                  <a:gd name="T57" fmla="*/ 340 h 343"/>
                  <a:gd name="T58" fmla="*/ 200 w 293"/>
                  <a:gd name="T59" fmla="*/ 325 h 343"/>
                  <a:gd name="T60" fmla="*/ 191 w 293"/>
                  <a:gd name="T61" fmla="*/ 289 h 343"/>
                  <a:gd name="T62" fmla="*/ 187 w 293"/>
                  <a:gd name="T63" fmla="*/ 280 h 343"/>
                  <a:gd name="T64" fmla="*/ 173 w 293"/>
                  <a:gd name="T65" fmla="*/ 264 h 343"/>
                  <a:gd name="T66" fmla="*/ 160 w 293"/>
                  <a:gd name="T67" fmla="*/ 244 h 343"/>
                  <a:gd name="T68" fmla="*/ 151 w 293"/>
                  <a:gd name="T69" fmla="*/ 226 h 343"/>
                  <a:gd name="T70" fmla="*/ 138 w 293"/>
                  <a:gd name="T71" fmla="*/ 213 h 343"/>
                  <a:gd name="T72" fmla="*/ 129 w 293"/>
                  <a:gd name="T73" fmla="*/ 206 h 343"/>
                  <a:gd name="T74" fmla="*/ 128 w 293"/>
                  <a:gd name="T75" fmla="*/ 213 h 343"/>
                  <a:gd name="T76" fmla="*/ 120 w 293"/>
                  <a:gd name="T77" fmla="*/ 159 h 343"/>
                  <a:gd name="T78" fmla="*/ 113 w 293"/>
                  <a:gd name="T79" fmla="*/ 149 h 343"/>
                  <a:gd name="T80" fmla="*/ 89 w 293"/>
                  <a:gd name="T81" fmla="*/ 127 h 343"/>
                  <a:gd name="T82" fmla="*/ 77 w 293"/>
                  <a:gd name="T83" fmla="*/ 118 h 343"/>
                  <a:gd name="T84" fmla="*/ 63 w 293"/>
                  <a:gd name="T85" fmla="*/ 106 h 343"/>
                  <a:gd name="T86" fmla="*/ 32 w 293"/>
                  <a:gd name="T87" fmla="*/ 86 h 343"/>
                  <a:gd name="T88" fmla="*/ 13 w 293"/>
                  <a:gd name="T89" fmla="*/ 61 h 343"/>
                  <a:gd name="T90" fmla="*/ 3 w 293"/>
                  <a:gd name="T91" fmla="*/ 44 h 343"/>
                  <a:gd name="T92" fmla="*/ 8 w 293"/>
                  <a:gd name="T93" fmla="*/ 22 h 343"/>
                  <a:gd name="T94" fmla="*/ 49 w 293"/>
                  <a:gd name="T95" fmla="*/ 0 h 343"/>
                  <a:gd name="T96" fmla="*/ 54 w 293"/>
                  <a:gd name="T97" fmla="*/ 37 h 343"/>
                  <a:gd name="T98" fmla="*/ 76 w 293"/>
                  <a:gd name="T99" fmla="*/ 47 h 343"/>
                  <a:gd name="T100" fmla="*/ 92 w 293"/>
                  <a:gd name="T101" fmla="*/ 66 h 343"/>
                  <a:gd name="T102" fmla="*/ 138 w 293"/>
                  <a:gd name="T103" fmla="*/ 76 h 343"/>
                  <a:gd name="T104" fmla="*/ 166 w 293"/>
                  <a:gd name="T105" fmla="*/ 112 h 343"/>
                  <a:gd name="T106" fmla="*/ 183 w 293"/>
                  <a:gd name="T107" fmla="*/ 109 h 343"/>
                  <a:gd name="T108" fmla="*/ 215 w 293"/>
                  <a:gd name="T109" fmla="*/ 57 h 343"/>
                  <a:gd name="T110" fmla="*/ 226 w 293"/>
                  <a:gd name="T111" fmla="*/ 76 h 343"/>
                  <a:gd name="T112" fmla="*/ 256 w 293"/>
                  <a:gd name="T113" fmla="*/ 113 h 343"/>
                  <a:gd name="T114" fmla="*/ 293 w 293"/>
                  <a:gd name="T115" fmla="*/ 1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3" h="343">
                    <a:moveTo>
                      <a:pt x="51" y="276"/>
                    </a:moveTo>
                    <a:lnTo>
                      <a:pt x="53" y="277"/>
                    </a:lnTo>
                    <a:lnTo>
                      <a:pt x="58" y="276"/>
                    </a:lnTo>
                    <a:lnTo>
                      <a:pt x="60" y="279"/>
                    </a:lnTo>
                    <a:lnTo>
                      <a:pt x="63" y="279"/>
                    </a:lnTo>
                    <a:lnTo>
                      <a:pt x="67" y="278"/>
                    </a:lnTo>
                    <a:lnTo>
                      <a:pt x="70" y="278"/>
                    </a:lnTo>
                    <a:lnTo>
                      <a:pt x="72" y="281"/>
                    </a:lnTo>
                    <a:lnTo>
                      <a:pt x="72" y="282"/>
                    </a:lnTo>
                    <a:lnTo>
                      <a:pt x="74" y="282"/>
                    </a:lnTo>
                    <a:lnTo>
                      <a:pt x="79" y="280"/>
                    </a:lnTo>
                    <a:lnTo>
                      <a:pt x="74" y="279"/>
                    </a:lnTo>
                    <a:lnTo>
                      <a:pt x="72" y="275"/>
                    </a:lnTo>
                    <a:lnTo>
                      <a:pt x="74" y="272"/>
                    </a:lnTo>
                    <a:lnTo>
                      <a:pt x="75" y="267"/>
                    </a:lnTo>
                    <a:lnTo>
                      <a:pt x="76" y="266"/>
                    </a:lnTo>
                    <a:lnTo>
                      <a:pt x="78" y="265"/>
                    </a:lnTo>
                    <a:lnTo>
                      <a:pt x="81" y="266"/>
                    </a:lnTo>
                    <a:lnTo>
                      <a:pt x="85" y="268"/>
                    </a:lnTo>
                    <a:lnTo>
                      <a:pt x="86" y="272"/>
                    </a:lnTo>
                    <a:lnTo>
                      <a:pt x="88" y="275"/>
                    </a:lnTo>
                    <a:lnTo>
                      <a:pt x="88" y="277"/>
                    </a:lnTo>
                    <a:lnTo>
                      <a:pt x="91" y="278"/>
                    </a:lnTo>
                    <a:lnTo>
                      <a:pt x="93" y="282"/>
                    </a:lnTo>
                    <a:lnTo>
                      <a:pt x="99" y="284"/>
                    </a:lnTo>
                    <a:lnTo>
                      <a:pt x="99" y="286"/>
                    </a:lnTo>
                    <a:lnTo>
                      <a:pt x="98" y="289"/>
                    </a:lnTo>
                    <a:lnTo>
                      <a:pt x="98" y="293"/>
                    </a:lnTo>
                    <a:lnTo>
                      <a:pt x="98" y="297"/>
                    </a:lnTo>
                    <a:lnTo>
                      <a:pt x="99" y="302"/>
                    </a:lnTo>
                    <a:lnTo>
                      <a:pt x="98" y="305"/>
                    </a:lnTo>
                    <a:lnTo>
                      <a:pt x="98" y="305"/>
                    </a:lnTo>
                    <a:lnTo>
                      <a:pt x="94" y="305"/>
                    </a:lnTo>
                    <a:lnTo>
                      <a:pt x="90" y="299"/>
                    </a:lnTo>
                    <a:lnTo>
                      <a:pt x="86" y="298"/>
                    </a:lnTo>
                    <a:lnTo>
                      <a:pt x="83" y="297"/>
                    </a:lnTo>
                    <a:lnTo>
                      <a:pt x="81" y="297"/>
                    </a:lnTo>
                    <a:lnTo>
                      <a:pt x="85" y="294"/>
                    </a:lnTo>
                    <a:lnTo>
                      <a:pt x="88" y="292"/>
                    </a:lnTo>
                    <a:lnTo>
                      <a:pt x="86" y="289"/>
                    </a:lnTo>
                    <a:lnTo>
                      <a:pt x="83" y="286"/>
                    </a:lnTo>
                    <a:lnTo>
                      <a:pt x="78" y="287"/>
                    </a:lnTo>
                    <a:lnTo>
                      <a:pt x="73" y="287"/>
                    </a:lnTo>
                    <a:lnTo>
                      <a:pt x="70" y="288"/>
                    </a:lnTo>
                    <a:lnTo>
                      <a:pt x="64" y="291"/>
                    </a:lnTo>
                    <a:lnTo>
                      <a:pt x="60" y="290"/>
                    </a:lnTo>
                    <a:lnTo>
                      <a:pt x="54" y="284"/>
                    </a:lnTo>
                    <a:lnTo>
                      <a:pt x="51" y="283"/>
                    </a:lnTo>
                    <a:lnTo>
                      <a:pt x="45" y="280"/>
                    </a:lnTo>
                    <a:lnTo>
                      <a:pt x="42" y="277"/>
                    </a:lnTo>
                    <a:lnTo>
                      <a:pt x="40" y="274"/>
                    </a:lnTo>
                    <a:lnTo>
                      <a:pt x="38" y="268"/>
                    </a:lnTo>
                    <a:lnTo>
                      <a:pt x="36" y="266"/>
                    </a:lnTo>
                    <a:lnTo>
                      <a:pt x="33" y="266"/>
                    </a:lnTo>
                    <a:lnTo>
                      <a:pt x="31" y="265"/>
                    </a:lnTo>
                    <a:lnTo>
                      <a:pt x="31" y="264"/>
                    </a:lnTo>
                    <a:lnTo>
                      <a:pt x="31" y="260"/>
                    </a:lnTo>
                    <a:lnTo>
                      <a:pt x="29" y="257"/>
                    </a:lnTo>
                    <a:lnTo>
                      <a:pt x="27" y="254"/>
                    </a:lnTo>
                    <a:lnTo>
                      <a:pt x="28" y="251"/>
                    </a:lnTo>
                    <a:lnTo>
                      <a:pt x="30" y="251"/>
                    </a:lnTo>
                    <a:lnTo>
                      <a:pt x="30" y="252"/>
                    </a:lnTo>
                    <a:lnTo>
                      <a:pt x="33" y="254"/>
                    </a:lnTo>
                    <a:lnTo>
                      <a:pt x="39" y="258"/>
                    </a:lnTo>
                    <a:lnTo>
                      <a:pt x="43" y="261"/>
                    </a:lnTo>
                    <a:lnTo>
                      <a:pt x="45" y="264"/>
                    </a:lnTo>
                    <a:lnTo>
                      <a:pt x="45" y="268"/>
                    </a:lnTo>
                    <a:lnTo>
                      <a:pt x="45" y="270"/>
                    </a:lnTo>
                    <a:lnTo>
                      <a:pt x="48" y="274"/>
                    </a:lnTo>
                    <a:lnTo>
                      <a:pt x="51" y="276"/>
                    </a:lnTo>
                    <a:lnTo>
                      <a:pt x="51" y="276"/>
                    </a:lnTo>
                    <a:close/>
                    <a:moveTo>
                      <a:pt x="59" y="243"/>
                    </a:moveTo>
                    <a:lnTo>
                      <a:pt x="59" y="246"/>
                    </a:lnTo>
                    <a:lnTo>
                      <a:pt x="58" y="250"/>
                    </a:lnTo>
                    <a:lnTo>
                      <a:pt x="59" y="252"/>
                    </a:lnTo>
                    <a:lnTo>
                      <a:pt x="64" y="254"/>
                    </a:lnTo>
                    <a:lnTo>
                      <a:pt x="66" y="258"/>
                    </a:lnTo>
                    <a:lnTo>
                      <a:pt x="59" y="258"/>
                    </a:lnTo>
                    <a:lnTo>
                      <a:pt x="57" y="261"/>
                    </a:lnTo>
                    <a:lnTo>
                      <a:pt x="58" y="264"/>
                    </a:lnTo>
                    <a:lnTo>
                      <a:pt x="61" y="265"/>
                    </a:lnTo>
                    <a:lnTo>
                      <a:pt x="64" y="267"/>
                    </a:lnTo>
                    <a:lnTo>
                      <a:pt x="68" y="268"/>
                    </a:lnTo>
                    <a:lnTo>
                      <a:pt x="68" y="272"/>
                    </a:lnTo>
                    <a:lnTo>
                      <a:pt x="68" y="274"/>
                    </a:lnTo>
                    <a:lnTo>
                      <a:pt x="63" y="272"/>
                    </a:lnTo>
                    <a:lnTo>
                      <a:pt x="58" y="269"/>
                    </a:lnTo>
                    <a:lnTo>
                      <a:pt x="54" y="269"/>
                    </a:lnTo>
                    <a:lnTo>
                      <a:pt x="52" y="267"/>
                    </a:lnTo>
                    <a:lnTo>
                      <a:pt x="45" y="259"/>
                    </a:lnTo>
                    <a:lnTo>
                      <a:pt x="40" y="251"/>
                    </a:lnTo>
                    <a:lnTo>
                      <a:pt x="42" y="250"/>
                    </a:lnTo>
                    <a:lnTo>
                      <a:pt x="46" y="250"/>
                    </a:lnTo>
                    <a:lnTo>
                      <a:pt x="49" y="249"/>
                    </a:lnTo>
                    <a:lnTo>
                      <a:pt x="52" y="247"/>
                    </a:lnTo>
                    <a:lnTo>
                      <a:pt x="53" y="244"/>
                    </a:lnTo>
                    <a:lnTo>
                      <a:pt x="55" y="244"/>
                    </a:lnTo>
                    <a:lnTo>
                      <a:pt x="56" y="240"/>
                    </a:lnTo>
                    <a:lnTo>
                      <a:pt x="54" y="236"/>
                    </a:lnTo>
                    <a:lnTo>
                      <a:pt x="51" y="234"/>
                    </a:lnTo>
                    <a:lnTo>
                      <a:pt x="48" y="234"/>
                    </a:lnTo>
                    <a:lnTo>
                      <a:pt x="45" y="233"/>
                    </a:lnTo>
                    <a:lnTo>
                      <a:pt x="42" y="233"/>
                    </a:lnTo>
                    <a:lnTo>
                      <a:pt x="42" y="232"/>
                    </a:lnTo>
                    <a:lnTo>
                      <a:pt x="43" y="231"/>
                    </a:lnTo>
                    <a:lnTo>
                      <a:pt x="45" y="230"/>
                    </a:lnTo>
                    <a:lnTo>
                      <a:pt x="45" y="231"/>
                    </a:lnTo>
                    <a:lnTo>
                      <a:pt x="51" y="232"/>
                    </a:lnTo>
                    <a:lnTo>
                      <a:pt x="54" y="234"/>
                    </a:lnTo>
                    <a:lnTo>
                      <a:pt x="58" y="237"/>
                    </a:lnTo>
                    <a:lnTo>
                      <a:pt x="59" y="243"/>
                    </a:lnTo>
                    <a:lnTo>
                      <a:pt x="59" y="243"/>
                    </a:lnTo>
                    <a:close/>
                    <a:moveTo>
                      <a:pt x="293" y="148"/>
                    </a:moveTo>
                    <a:lnTo>
                      <a:pt x="286" y="152"/>
                    </a:lnTo>
                    <a:lnTo>
                      <a:pt x="271" y="164"/>
                    </a:lnTo>
                    <a:lnTo>
                      <a:pt x="263" y="175"/>
                    </a:lnTo>
                    <a:lnTo>
                      <a:pt x="263" y="175"/>
                    </a:lnTo>
                    <a:lnTo>
                      <a:pt x="272" y="178"/>
                    </a:lnTo>
                    <a:lnTo>
                      <a:pt x="276" y="181"/>
                    </a:lnTo>
                    <a:lnTo>
                      <a:pt x="278" y="185"/>
                    </a:lnTo>
                    <a:lnTo>
                      <a:pt x="277" y="188"/>
                    </a:lnTo>
                    <a:lnTo>
                      <a:pt x="273" y="190"/>
                    </a:lnTo>
                    <a:lnTo>
                      <a:pt x="270" y="190"/>
                    </a:lnTo>
                    <a:lnTo>
                      <a:pt x="264" y="193"/>
                    </a:lnTo>
                    <a:lnTo>
                      <a:pt x="262" y="196"/>
                    </a:lnTo>
                    <a:lnTo>
                      <a:pt x="261" y="199"/>
                    </a:lnTo>
                    <a:lnTo>
                      <a:pt x="261" y="203"/>
                    </a:lnTo>
                    <a:lnTo>
                      <a:pt x="259" y="206"/>
                    </a:lnTo>
                    <a:lnTo>
                      <a:pt x="256" y="213"/>
                    </a:lnTo>
                    <a:lnTo>
                      <a:pt x="256" y="217"/>
                    </a:lnTo>
                    <a:lnTo>
                      <a:pt x="256" y="221"/>
                    </a:lnTo>
                    <a:lnTo>
                      <a:pt x="257" y="223"/>
                    </a:lnTo>
                    <a:lnTo>
                      <a:pt x="258" y="227"/>
                    </a:lnTo>
                    <a:lnTo>
                      <a:pt x="258" y="231"/>
                    </a:lnTo>
                    <a:lnTo>
                      <a:pt x="257" y="234"/>
                    </a:lnTo>
                    <a:lnTo>
                      <a:pt x="255" y="241"/>
                    </a:lnTo>
                    <a:lnTo>
                      <a:pt x="254" y="245"/>
                    </a:lnTo>
                    <a:lnTo>
                      <a:pt x="254" y="248"/>
                    </a:lnTo>
                    <a:lnTo>
                      <a:pt x="257" y="255"/>
                    </a:lnTo>
                    <a:lnTo>
                      <a:pt x="260" y="261"/>
                    </a:lnTo>
                    <a:lnTo>
                      <a:pt x="262" y="263"/>
                    </a:lnTo>
                    <a:lnTo>
                      <a:pt x="268" y="265"/>
                    </a:lnTo>
                    <a:lnTo>
                      <a:pt x="270" y="267"/>
                    </a:lnTo>
                    <a:lnTo>
                      <a:pt x="271" y="268"/>
                    </a:lnTo>
                    <a:lnTo>
                      <a:pt x="271" y="270"/>
                    </a:lnTo>
                    <a:lnTo>
                      <a:pt x="270" y="272"/>
                    </a:lnTo>
                    <a:lnTo>
                      <a:pt x="269" y="273"/>
                    </a:lnTo>
                    <a:lnTo>
                      <a:pt x="268" y="274"/>
                    </a:lnTo>
                    <a:lnTo>
                      <a:pt x="266" y="274"/>
                    </a:lnTo>
                    <a:lnTo>
                      <a:pt x="263" y="279"/>
                    </a:lnTo>
                    <a:lnTo>
                      <a:pt x="263" y="281"/>
                    </a:lnTo>
                    <a:lnTo>
                      <a:pt x="265" y="283"/>
                    </a:lnTo>
                    <a:lnTo>
                      <a:pt x="266" y="288"/>
                    </a:lnTo>
                    <a:lnTo>
                      <a:pt x="265" y="291"/>
                    </a:lnTo>
                    <a:lnTo>
                      <a:pt x="263" y="291"/>
                    </a:lnTo>
                    <a:lnTo>
                      <a:pt x="256" y="289"/>
                    </a:lnTo>
                    <a:lnTo>
                      <a:pt x="252" y="289"/>
                    </a:lnTo>
                    <a:lnTo>
                      <a:pt x="249" y="289"/>
                    </a:lnTo>
                    <a:lnTo>
                      <a:pt x="248" y="292"/>
                    </a:lnTo>
                    <a:lnTo>
                      <a:pt x="248" y="296"/>
                    </a:lnTo>
                    <a:lnTo>
                      <a:pt x="248" y="299"/>
                    </a:lnTo>
                    <a:lnTo>
                      <a:pt x="243" y="311"/>
                    </a:lnTo>
                    <a:lnTo>
                      <a:pt x="241" y="313"/>
                    </a:lnTo>
                    <a:lnTo>
                      <a:pt x="238" y="316"/>
                    </a:lnTo>
                    <a:lnTo>
                      <a:pt x="231" y="320"/>
                    </a:lnTo>
                    <a:lnTo>
                      <a:pt x="228" y="321"/>
                    </a:lnTo>
                    <a:lnTo>
                      <a:pt x="221" y="323"/>
                    </a:lnTo>
                    <a:lnTo>
                      <a:pt x="219" y="323"/>
                    </a:lnTo>
                    <a:lnTo>
                      <a:pt x="219" y="326"/>
                    </a:lnTo>
                    <a:lnTo>
                      <a:pt x="219" y="328"/>
                    </a:lnTo>
                    <a:lnTo>
                      <a:pt x="219" y="331"/>
                    </a:lnTo>
                    <a:lnTo>
                      <a:pt x="218" y="334"/>
                    </a:lnTo>
                    <a:lnTo>
                      <a:pt x="214" y="337"/>
                    </a:lnTo>
                    <a:lnTo>
                      <a:pt x="208" y="340"/>
                    </a:lnTo>
                    <a:lnTo>
                      <a:pt x="200" y="343"/>
                    </a:lnTo>
                    <a:lnTo>
                      <a:pt x="200" y="343"/>
                    </a:lnTo>
                    <a:lnTo>
                      <a:pt x="200" y="335"/>
                    </a:lnTo>
                    <a:lnTo>
                      <a:pt x="199" y="334"/>
                    </a:lnTo>
                    <a:lnTo>
                      <a:pt x="201" y="328"/>
                    </a:lnTo>
                    <a:lnTo>
                      <a:pt x="200" y="325"/>
                    </a:lnTo>
                    <a:lnTo>
                      <a:pt x="192" y="316"/>
                    </a:lnTo>
                    <a:lnTo>
                      <a:pt x="190" y="312"/>
                    </a:lnTo>
                    <a:lnTo>
                      <a:pt x="189" y="308"/>
                    </a:lnTo>
                    <a:lnTo>
                      <a:pt x="189" y="301"/>
                    </a:lnTo>
                    <a:lnTo>
                      <a:pt x="191" y="293"/>
                    </a:lnTo>
                    <a:lnTo>
                      <a:pt x="191" y="289"/>
                    </a:lnTo>
                    <a:lnTo>
                      <a:pt x="188" y="289"/>
                    </a:lnTo>
                    <a:lnTo>
                      <a:pt x="189" y="288"/>
                    </a:lnTo>
                    <a:lnTo>
                      <a:pt x="188" y="286"/>
                    </a:lnTo>
                    <a:lnTo>
                      <a:pt x="186" y="283"/>
                    </a:lnTo>
                    <a:lnTo>
                      <a:pt x="185" y="281"/>
                    </a:lnTo>
                    <a:lnTo>
                      <a:pt x="187" y="280"/>
                    </a:lnTo>
                    <a:lnTo>
                      <a:pt x="186" y="278"/>
                    </a:lnTo>
                    <a:lnTo>
                      <a:pt x="181" y="274"/>
                    </a:lnTo>
                    <a:lnTo>
                      <a:pt x="181" y="273"/>
                    </a:lnTo>
                    <a:lnTo>
                      <a:pt x="178" y="269"/>
                    </a:lnTo>
                    <a:lnTo>
                      <a:pt x="174" y="265"/>
                    </a:lnTo>
                    <a:lnTo>
                      <a:pt x="173" y="264"/>
                    </a:lnTo>
                    <a:lnTo>
                      <a:pt x="168" y="261"/>
                    </a:lnTo>
                    <a:lnTo>
                      <a:pt x="166" y="261"/>
                    </a:lnTo>
                    <a:lnTo>
                      <a:pt x="165" y="262"/>
                    </a:lnTo>
                    <a:lnTo>
                      <a:pt x="158" y="254"/>
                    </a:lnTo>
                    <a:lnTo>
                      <a:pt x="161" y="246"/>
                    </a:lnTo>
                    <a:lnTo>
                      <a:pt x="160" y="244"/>
                    </a:lnTo>
                    <a:lnTo>
                      <a:pt x="160" y="235"/>
                    </a:lnTo>
                    <a:lnTo>
                      <a:pt x="159" y="231"/>
                    </a:lnTo>
                    <a:lnTo>
                      <a:pt x="156" y="229"/>
                    </a:lnTo>
                    <a:lnTo>
                      <a:pt x="155" y="228"/>
                    </a:lnTo>
                    <a:lnTo>
                      <a:pt x="154" y="226"/>
                    </a:lnTo>
                    <a:lnTo>
                      <a:pt x="151" y="226"/>
                    </a:lnTo>
                    <a:lnTo>
                      <a:pt x="147" y="226"/>
                    </a:lnTo>
                    <a:lnTo>
                      <a:pt x="145" y="226"/>
                    </a:lnTo>
                    <a:lnTo>
                      <a:pt x="143" y="224"/>
                    </a:lnTo>
                    <a:lnTo>
                      <a:pt x="141" y="221"/>
                    </a:lnTo>
                    <a:lnTo>
                      <a:pt x="139" y="216"/>
                    </a:lnTo>
                    <a:lnTo>
                      <a:pt x="138" y="213"/>
                    </a:lnTo>
                    <a:lnTo>
                      <a:pt x="137" y="207"/>
                    </a:lnTo>
                    <a:lnTo>
                      <a:pt x="136" y="205"/>
                    </a:lnTo>
                    <a:lnTo>
                      <a:pt x="135" y="204"/>
                    </a:lnTo>
                    <a:lnTo>
                      <a:pt x="128" y="200"/>
                    </a:lnTo>
                    <a:lnTo>
                      <a:pt x="128" y="204"/>
                    </a:lnTo>
                    <a:lnTo>
                      <a:pt x="129" y="206"/>
                    </a:lnTo>
                    <a:lnTo>
                      <a:pt x="132" y="211"/>
                    </a:lnTo>
                    <a:lnTo>
                      <a:pt x="128" y="213"/>
                    </a:lnTo>
                    <a:lnTo>
                      <a:pt x="130" y="225"/>
                    </a:lnTo>
                    <a:lnTo>
                      <a:pt x="128" y="228"/>
                    </a:lnTo>
                    <a:lnTo>
                      <a:pt x="128" y="224"/>
                    </a:lnTo>
                    <a:lnTo>
                      <a:pt x="128" y="213"/>
                    </a:lnTo>
                    <a:lnTo>
                      <a:pt x="127" y="209"/>
                    </a:lnTo>
                    <a:lnTo>
                      <a:pt x="125" y="202"/>
                    </a:lnTo>
                    <a:lnTo>
                      <a:pt x="121" y="178"/>
                    </a:lnTo>
                    <a:lnTo>
                      <a:pt x="120" y="171"/>
                    </a:lnTo>
                    <a:lnTo>
                      <a:pt x="121" y="162"/>
                    </a:lnTo>
                    <a:lnTo>
                      <a:pt x="120" y="159"/>
                    </a:lnTo>
                    <a:lnTo>
                      <a:pt x="120" y="154"/>
                    </a:lnTo>
                    <a:lnTo>
                      <a:pt x="119" y="152"/>
                    </a:lnTo>
                    <a:lnTo>
                      <a:pt x="117" y="152"/>
                    </a:lnTo>
                    <a:lnTo>
                      <a:pt x="113" y="152"/>
                    </a:lnTo>
                    <a:lnTo>
                      <a:pt x="113" y="151"/>
                    </a:lnTo>
                    <a:lnTo>
                      <a:pt x="113" y="149"/>
                    </a:lnTo>
                    <a:lnTo>
                      <a:pt x="112" y="147"/>
                    </a:lnTo>
                    <a:lnTo>
                      <a:pt x="93" y="131"/>
                    </a:lnTo>
                    <a:lnTo>
                      <a:pt x="92" y="131"/>
                    </a:lnTo>
                    <a:lnTo>
                      <a:pt x="91" y="132"/>
                    </a:lnTo>
                    <a:lnTo>
                      <a:pt x="90" y="130"/>
                    </a:lnTo>
                    <a:lnTo>
                      <a:pt x="89" y="127"/>
                    </a:lnTo>
                    <a:lnTo>
                      <a:pt x="85" y="122"/>
                    </a:lnTo>
                    <a:lnTo>
                      <a:pt x="84" y="119"/>
                    </a:lnTo>
                    <a:lnTo>
                      <a:pt x="83" y="118"/>
                    </a:lnTo>
                    <a:lnTo>
                      <a:pt x="83" y="117"/>
                    </a:lnTo>
                    <a:lnTo>
                      <a:pt x="79" y="118"/>
                    </a:lnTo>
                    <a:lnTo>
                      <a:pt x="77" y="118"/>
                    </a:lnTo>
                    <a:lnTo>
                      <a:pt x="76" y="115"/>
                    </a:lnTo>
                    <a:lnTo>
                      <a:pt x="75" y="114"/>
                    </a:lnTo>
                    <a:lnTo>
                      <a:pt x="68" y="107"/>
                    </a:lnTo>
                    <a:lnTo>
                      <a:pt x="67" y="107"/>
                    </a:lnTo>
                    <a:lnTo>
                      <a:pt x="65" y="107"/>
                    </a:lnTo>
                    <a:lnTo>
                      <a:pt x="63" y="106"/>
                    </a:lnTo>
                    <a:lnTo>
                      <a:pt x="58" y="99"/>
                    </a:lnTo>
                    <a:lnTo>
                      <a:pt x="56" y="98"/>
                    </a:lnTo>
                    <a:lnTo>
                      <a:pt x="46" y="88"/>
                    </a:lnTo>
                    <a:lnTo>
                      <a:pt x="43" y="90"/>
                    </a:lnTo>
                    <a:lnTo>
                      <a:pt x="37" y="85"/>
                    </a:lnTo>
                    <a:lnTo>
                      <a:pt x="32" y="86"/>
                    </a:lnTo>
                    <a:lnTo>
                      <a:pt x="31" y="81"/>
                    </a:lnTo>
                    <a:lnTo>
                      <a:pt x="28" y="78"/>
                    </a:lnTo>
                    <a:lnTo>
                      <a:pt x="24" y="76"/>
                    </a:lnTo>
                    <a:lnTo>
                      <a:pt x="21" y="72"/>
                    </a:lnTo>
                    <a:lnTo>
                      <a:pt x="14" y="63"/>
                    </a:lnTo>
                    <a:lnTo>
                      <a:pt x="13" y="61"/>
                    </a:lnTo>
                    <a:lnTo>
                      <a:pt x="14" y="58"/>
                    </a:lnTo>
                    <a:lnTo>
                      <a:pt x="14" y="56"/>
                    </a:lnTo>
                    <a:lnTo>
                      <a:pt x="14" y="55"/>
                    </a:lnTo>
                    <a:lnTo>
                      <a:pt x="10" y="54"/>
                    </a:lnTo>
                    <a:lnTo>
                      <a:pt x="10" y="50"/>
                    </a:lnTo>
                    <a:lnTo>
                      <a:pt x="3" y="44"/>
                    </a:lnTo>
                    <a:lnTo>
                      <a:pt x="0" y="39"/>
                    </a:lnTo>
                    <a:lnTo>
                      <a:pt x="1" y="37"/>
                    </a:lnTo>
                    <a:lnTo>
                      <a:pt x="0" y="35"/>
                    </a:lnTo>
                    <a:lnTo>
                      <a:pt x="4" y="28"/>
                    </a:lnTo>
                    <a:lnTo>
                      <a:pt x="6" y="24"/>
                    </a:lnTo>
                    <a:lnTo>
                      <a:pt x="8" y="22"/>
                    </a:lnTo>
                    <a:lnTo>
                      <a:pt x="11" y="20"/>
                    </a:lnTo>
                    <a:lnTo>
                      <a:pt x="22" y="14"/>
                    </a:lnTo>
                    <a:lnTo>
                      <a:pt x="24" y="11"/>
                    </a:lnTo>
                    <a:lnTo>
                      <a:pt x="27" y="8"/>
                    </a:lnTo>
                    <a:lnTo>
                      <a:pt x="30" y="1"/>
                    </a:lnTo>
                    <a:lnTo>
                      <a:pt x="49" y="0"/>
                    </a:lnTo>
                    <a:lnTo>
                      <a:pt x="55" y="1"/>
                    </a:lnTo>
                    <a:lnTo>
                      <a:pt x="57" y="4"/>
                    </a:lnTo>
                    <a:lnTo>
                      <a:pt x="58" y="8"/>
                    </a:lnTo>
                    <a:lnTo>
                      <a:pt x="58" y="11"/>
                    </a:lnTo>
                    <a:lnTo>
                      <a:pt x="54" y="32"/>
                    </a:lnTo>
                    <a:lnTo>
                      <a:pt x="54" y="37"/>
                    </a:lnTo>
                    <a:lnTo>
                      <a:pt x="54" y="40"/>
                    </a:lnTo>
                    <a:lnTo>
                      <a:pt x="56" y="46"/>
                    </a:lnTo>
                    <a:lnTo>
                      <a:pt x="59" y="47"/>
                    </a:lnTo>
                    <a:lnTo>
                      <a:pt x="61" y="49"/>
                    </a:lnTo>
                    <a:lnTo>
                      <a:pt x="73" y="47"/>
                    </a:lnTo>
                    <a:lnTo>
                      <a:pt x="76" y="47"/>
                    </a:lnTo>
                    <a:lnTo>
                      <a:pt x="81" y="48"/>
                    </a:lnTo>
                    <a:lnTo>
                      <a:pt x="85" y="51"/>
                    </a:lnTo>
                    <a:lnTo>
                      <a:pt x="88" y="53"/>
                    </a:lnTo>
                    <a:lnTo>
                      <a:pt x="89" y="56"/>
                    </a:lnTo>
                    <a:lnTo>
                      <a:pt x="90" y="62"/>
                    </a:lnTo>
                    <a:lnTo>
                      <a:pt x="92" y="66"/>
                    </a:lnTo>
                    <a:lnTo>
                      <a:pt x="96" y="70"/>
                    </a:lnTo>
                    <a:lnTo>
                      <a:pt x="99" y="72"/>
                    </a:lnTo>
                    <a:lnTo>
                      <a:pt x="104" y="73"/>
                    </a:lnTo>
                    <a:lnTo>
                      <a:pt x="129" y="73"/>
                    </a:lnTo>
                    <a:lnTo>
                      <a:pt x="134" y="74"/>
                    </a:lnTo>
                    <a:lnTo>
                      <a:pt x="138" y="76"/>
                    </a:lnTo>
                    <a:lnTo>
                      <a:pt x="142" y="80"/>
                    </a:lnTo>
                    <a:lnTo>
                      <a:pt x="143" y="84"/>
                    </a:lnTo>
                    <a:lnTo>
                      <a:pt x="145" y="88"/>
                    </a:lnTo>
                    <a:lnTo>
                      <a:pt x="147" y="91"/>
                    </a:lnTo>
                    <a:lnTo>
                      <a:pt x="150" y="96"/>
                    </a:lnTo>
                    <a:lnTo>
                      <a:pt x="166" y="112"/>
                    </a:lnTo>
                    <a:lnTo>
                      <a:pt x="169" y="114"/>
                    </a:lnTo>
                    <a:lnTo>
                      <a:pt x="173" y="116"/>
                    </a:lnTo>
                    <a:lnTo>
                      <a:pt x="177" y="116"/>
                    </a:lnTo>
                    <a:lnTo>
                      <a:pt x="180" y="115"/>
                    </a:lnTo>
                    <a:lnTo>
                      <a:pt x="182" y="113"/>
                    </a:lnTo>
                    <a:lnTo>
                      <a:pt x="183" y="109"/>
                    </a:lnTo>
                    <a:lnTo>
                      <a:pt x="191" y="80"/>
                    </a:lnTo>
                    <a:lnTo>
                      <a:pt x="195" y="73"/>
                    </a:lnTo>
                    <a:lnTo>
                      <a:pt x="197" y="69"/>
                    </a:lnTo>
                    <a:lnTo>
                      <a:pt x="200" y="67"/>
                    </a:lnTo>
                    <a:lnTo>
                      <a:pt x="207" y="61"/>
                    </a:lnTo>
                    <a:lnTo>
                      <a:pt x="215" y="57"/>
                    </a:lnTo>
                    <a:lnTo>
                      <a:pt x="217" y="56"/>
                    </a:lnTo>
                    <a:lnTo>
                      <a:pt x="223" y="58"/>
                    </a:lnTo>
                    <a:lnTo>
                      <a:pt x="225" y="61"/>
                    </a:lnTo>
                    <a:lnTo>
                      <a:pt x="226" y="64"/>
                    </a:lnTo>
                    <a:lnTo>
                      <a:pt x="226" y="71"/>
                    </a:lnTo>
                    <a:lnTo>
                      <a:pt x="226" y="76"/>
                    </a:lnTo>
                    <a:lnTo>
                      <a:pt x="229" y="80"/>
                    </a:lnTo>
                    <a:lnTo>
                      <a:pt x="242" y="91"/>
                    </a:lnTo>
                    <a:lnTo>
                      <a:pt x="246" y="95"/>
                    </a:lnTo>
                    <a:lnTo>
                      <a:pt x="248" y="99"/>
                    </a:lnTo>
                    <a:lnTo>
                      <a:pt x="254" y="109"/>
                    </a:lnTo>
                    <a:lnTo>
                      <a:pt x="256" y="113"/>
                    </a:lnTo>
                    <a:lnTo>
                      <a:pt x="259" y="115"/>
                    </a:lnTo>
                    <a:lnTo>
                      <a:pt x="272" y="120"/>
                    </a:lnTo>
                    <a:lnTo>
                      <a:pt x="276" y="123"/>
                    </a:lnTo>
                    <a:lnTo>
                      <a:pt x="278" y="127"/>
                    </a:lnTo>
                    <a:lnTo>
                      <a:pt x="293" y="148"/>
                    </a:lnTo>
                    <a:lnTo>
                      <a:pt x="293" y="148"/>
                    </a:lnTo>
                    <a:close/>
                  </a:path>
                </a:pathLst>
              </a:custGeom>
              <a:solidFill>
                <a:srgbClr val="ADABA1"/>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84" name="Freeform 18">
                <a:extLst>
                  <a:ext uri="{FF2B5EF4-FFF2-40B4-BE49-F238E27FC236}"/>
                </a:extLst>
              </p:cNvPr>
              <p:cNvSpPr>
                <a:spLocks/>
              </p:cNvSpPr>
              <p:nvPr/>
            </p:nvSpPr>
            <p:spPr bwMode="auto">
              <a:xfrm>
                <a:off x="2777930" y="4312099"/>
                <a:ext cx="1332776" cy="1667972"/>
              </a:xfrm>
              <a:custGeom>
                <a:avLst/>
                <a:gdLst>
                  <a:gd name="T0" fmla="*/ 593 w 840"/>
                  <a:gd name="T1" fmla="*/ 99 h 1051"/>
                  <a:gd name="T2" fmla="*/ 719 w 840"/>
                  <a:gd name="T3" fmla="*/ 197 h 1051"/>
                  <a:gd name="T4" fmla="*/ 745 w 840"/>
                  <a:gd name="T5" fmla="*/ 264 h 1051"/>
                  <a:gd name="T6" fmla="*/ 813 w 840"/>
                  <a:gd name="T7" fmla="*/ 363 h 1051"/>
                  <a:gd name="T8" fmla="*/ 793 w 840"/>
                  <a:gd name="T9" fmla="*/ 466 h 1051"/>
                  <a:gd name="T10" fmla="*/ 753 w 840"/>
                  <a:gd name="T11" fmla="*/ 566 h 1051"/>
                  <a:gd name="T12" fmla="*/ 610 w 840"/>
                  <a:gd name="T13" fmla="*/ 654 h 1051"/>
                  <a:gd name="T14" fmla="*/ 531 w 840"/>
                  <a:gd name="T15" fmla="*/ 605 h 1051"/>
                  <a:gd name="T16" fmla="*/ 464 w 840"/>
                  <a:gd name="T17" fmla="*/ 591 h 1051"/>
                  <a:gd name="T18" fmla="*/ 432 w 840"/>
                  <a:gd name="T19" fmla="*/ 604 h 1051"/>
                  <a:gd name="T20" fmla="*/ 384 w 840"/>
                  <a:gd name="T21" fmla="*/ 681 h 1051"/>
                  <a:gd name="T22" fmla="*/ 387 w 840"/>
                  <a:gd name="T23" fmla="*/ 730 h 1051"/>
                  <a:gd name="T24" fmla="*/ 411 w 840"/>
                  <a:gd name="T25" fmla="*/ 811 h 1051"/>
                  <a:gd name="T26" fmla="*/ 470 w 840"/>
                  <a:gd name="T27" fmla="*/ 771 h 1051"/>
                  <a:gd name="T28" fmla="*/ 533 w 840"/>
                  <a:gd name="T29" fmla="*/ 754 h 1051"/>
                  <a:gd name="T30" fmla="*/ 537 w 840"/>
                  <a:gd name="T31" fmla="*/ 846 h 1051"/>
                  <a:gd name="T32" fmla="*/ 473 w 840"/>
                  <a:gd name="T33" fmla="*/ 869 h 1051"/>
                  <a:gd name="T34" fmla="*/ 470 w 840"/>
                  <a:gd name="T35" fmla="*/ 932 h 1051"/>
                  <a:gd name="T36" fmla="*/ 523 w 840"/>
                  <a:gd name="T37" fmla="*/ 1017 h 1051"/>
                  <a:gd name="T38" fmla="*/ 487 w 840"/>
                  <a:gd name="T39" fmla="*/ 1043 h 1051"/>
                  <a:gd name="T40" fmla="*/ 478 w 840"/>
                  <a:gd name="T41" fmla="*/ 1027 h 1051"/>
                  <a:gd name="T42" fmla="*/ 466 w 840"/>
                  <a:gd name="T43" fmla="*/ 989 h 1051"/>
                  <a:gd name="T44" fmla="*/ 446 w 840"/>
                  <a:gd name="T45" fmla="*/ 971 h 1051"/>
                  <a:gd name="T46" fmla="*/ 434 w 840"/>
                  <a:gd name="T47" fmla="*/ 928 h 1051"/>
                  <a:gd name="T48" fmla="*/ 417 w 840"/>
                  <a:gd name="T49" fmla="*/ 905 h 1051"/>
                  <a:gd name="T50" fmla="*/ 403 w 840"/>
                  <a:gd name="T51" fmla="*/ 869 h 1051"/>
                  <a:gd name="T52" fmla="*/ 391 w 840"/>
                  <a:gd name="T53" fmla="*/ 839 h 1051"/>
                  <a:gd name="T54" fmla="*/ 386 w 840"/>
                  <a:gd name="T55" fmla="*/ 810 h 1051"/>
                  <a:gd name="T56" fmla="*/ 351 w 840"/>
                  <a:gd name="T57" fmla="*/ 757 h 1051"/>
                  <a:gd name="T58" fmla="*/ 314 w 840"/>
                  <a:gd name="T59" fmla="*/ 734 h 1051"/>
                  <a:gd name="T60" fmla="*/ 285 w 840"/>
                  <a:gd name="T61" fmla="*/ 704 h 1051"/>
                  <a:gd name="T62" fmla="*/ 247 w 840"/>
                  <a:gd name="T63" fmla="*/ 674 h 1051"/>
                  <a:gd name="T64" fmla="*/ 214 w 840"/>
                  <a:gd name="T65" fmla="*/ 668 h 1051"/>
                  <a:gd name="T66" fmla="*/ 168 w 840"/>
                  <a:gd name="T67" fmla="*/ 635 h 1051"/>
                  <a:gd name="T68" fmla="*/ 147 w 840"/>
                  <a:gd name="T69" fmla="*/ 598 h 1051"/>
                  <a:gd name="T70" fmla="*/ 129 w 840"/>
                  <a:gd name="T71" fmla="*/ 574 h 1051"/>
                  <a:gd name="T72" fmla="*/ 124 w 840"/>
                  <a:gd name="T73" fmla="*/ 567 h 1051"/>
                  <a:gd name="T74" fmla="*/ 109 w 840"/>
                  <a:gd name="T75" fmla="*/ 551 h 1051"/>
                  <a:gd name="T76" fmla="*/ 87 w 840"/>
                  <a:gd name="T77" fmla="*/ 514 h 1051"/>
                  <a:gd name="T78" fmla="*/ 87 w 840"/>
                  <a:gd name="T79" fmla="*/ 455 h 1051"/>
                  <a:gd name="T80" fmla="*/ 74 w 840"/>
                  <a:gd name="T81" fmla="*/ 424 h 1051"/>
                  <a:gd name="T82" fmla="*/ 70 w 840"/>
                  <a:gd name="T83" fmla="*/ 407 h 1051"/>
                  <a:gd name="T84" fmla="*/ 48 w 840"/>
                  <a:gd name="T85" fmla="*/ 354 h 1051"/>
                  <a:gd name="T86" fmla="*/ 64 w 840"/>
                  <a:gd name="T87" fmla="*/ 338 h 1051"/>
                  <a:gd name="T88" fmla="*/ 83 w 840"/>
                  <a:gd name="T89" fmla="*/ 289 h 1051"/>
                  <a:gd name="T90" fmla="*/ 72 w 840"/>
                  <a:gd name="T91" fmla="*/ 259 h 1051"/>
                  <a:gd name="T92" fmla="*/ 49 w 840"/>
                  <a:gd name="T93" fmla="*/ 209 h 1051"/>
                  <a:gd name="T94" fmla="*/ 44 w 840"/>
                  <a:gd name="T95" fmla="*/ 202 h 1051"/>
                  <a:gd name="T96" fmla="*/ 38 w 840"/>
                  <a:gd name="T97" fmla="*/ 182 h 1051"/>
                  <a:gd name="T98" fmla="*/ 23 w 840"/>
                  <a:gd name="T99" fmla="*/ 149 h 1051"/>
                  <a:gd name="T100" fmla="*/ 0 w 840"/>
                  <a:gd name="T101" fmla="*/ 103 h 1051"/>
                  <a:gd name="T102" fmla="*/ 94 w 840"/>
                  <a:gd name="T103" fmla="*/ 147 h 1051"/>
                  <a:gd name="T104" fmla="*/ 205 w 840"/>
                  <a:gd name="T105" fmla="*/ 149 h 1051"/>
                  <a:gd name="T106" fmla="*/ 209 w 840"/>
                  <a:gd name="T107" fmla="*/ 213 h 1051"/>
                  <a:gd name="T108" fmla="*/ 238 w 840"/>
                  <a:gd name="T109" fmla="*/ 262 h 1051"/>
                  <a:gd name="T110" fmla="*/ 330 w 840"/>
                  <a:gd name="T111" fmla="*/ 254 h 1051"/>
                  <a:gd name="T112" fmla="*/ 470 w 840"/>
                  <a:gd name="T113" fmla="*/ 134 h 1051"/>
                  <a:gd name="T114" fmla="*/ 514 w 840"/>
                  <a:gd name="T115" fmla="*/ 60 h 1051"/>
                  <a:gd name="T116" fmla="*/ 537 w 840"/>
                  <a:gd name="T117"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0" h="1051">
                    <a:moveTo>
                      <a:pt x="559" y="3"/>
                    </a:moveTo>
                    <a:lnTo>
                      <a:pt x="557" y="20"/>
                    </a:lnTo>
                    <a:lnTo>
                      <a:pt x="558" y="33"/>
                    </a:lnTo>
                    <a:lnTo>
                      <a:pt x="559" y="36"/>
                    </a:lnTo>
                    <a:lnTo>
                      <a:pt x="561" y="39"/>
                    </a:lnTo>
                    <a:lnTo>
                      <a:pt x="562" y="41"/>
                    </a:lnTo>
                    <a:lnTo>
                      <a:pt x="568" y="44"/>
                    </a:lnTo>
                    <a:lnTo>
                      <a:pt x="572" y="47"/>
                    </a:lnTo>
                    <a:lnTo>
                      <a:pt x="576" y="50"/>
                    </a:lnTo>
                    <a:lnTo>
                      <a:pt x="579" y="56"/>
                    </a:lnTo>
                    <a:lnTo>
                      <a:pt x="588" y="85"/>
                    </a:lnTo>
                    <a:lnTo>
                      <a:pt x="592" y="94"/>
                    </a:lnTo>
                    <a:lnTo>
                      <a:pt x="593" y="99"/>
                    </a:lnTo>
                    <a:lnTo>
                      <a:pt x="598" y="125"/>
                    </a:lnTo>
                    <a:lnTo>
                      <a:pt x="620" y="177"/>
                    </a:lnTo>
                    <a:lnTo>
                      <a:pt x="621" y="179"/>
                    </a:lnTo>
                    <a:lnTo>
                      <a:pt x="624" y="182"/>
                    </a:lnTo>
                    <a:lnTo>
                      <a:pt x="628" y="185"/>
                    </a:lnTo>
                    <a:lnTo>
                      <a:pt x="631" y="187"/>
                    </a:lnTo>
                    <a:lnTo>
                      <a:pt x="635" y="189"/>
                    </a:lnTo>
                    <a:lnTo>
                      <a:pt x="638" y="190"/>
                    </a:lnTo>
                    <a:lnTo>
                      <a:pt x="644" y="191"/>
                    </a:lnTo>
                    <a:lnTo>
                      <a:pt x="670" y="191"/>
                    </a:lnTo>
                    <a:lnTo>
                      <a:pt x="706" y="193"/>
                    </a:lnTo>
                    <a:lnTo>
                      <a:pt x="714" y="195"/>
                    </a:lnTo>
                    <a:lnTo>
                      <a:pt x="719" y="197"/>
                    </a:lnTo>
                    <a:lnTo>
                      <a:pt x="722" y="199"/>
                    </a:lnTo>
                    <a:lnTo>
                      <a:pt x="727" y="202"/>
                    </a:lnTo>
                    <a:lnTo>
                      <a:pt x="729" y="207"/>
                    </a:lnTo>
                    <a:lnTo>
                      <a:pt x="730" y="210"/>
                    </a:lnTo>
                    <a:lnTo>
                      <a:pt x="729" y="213"/>
                    </a:lnTo>
                    <a:lnTo>
                      <a:pt x="727" y="222"/>
                    </a:lnTo>
                    <a:lnTo>
                      <a:pt x="726" y="239"/>
                    </a:lnTo>
                    <a:lnTo>
                      <a:pt x="726" y="245"/>
                    </a:lnTo>
                    <a:lnTo>
                      <a:pt x="727" y="249"/>
                    </a:lnTo>
                    <a:lnTo>
                      <a:pt x="731" y="255"/>
                    </a:lnTo>
                    <a:lnTo>
                      <a:pt x="734" y="259"/>
                    </a:lnTo>
                    <a:lnTo>
                      <a:pt x="738" y="262"/>
                    </a:lnTo>
                    <a:lnTo>
                      <a:pt x="745" y="264"/>
                    </a:lnTo>
                    <a:lnTo>
                      <a:pt x="749" y="264"/>
                    </a:lnTo>
                    <a:lnTo>
                      <a:pt x="753" y="264"/>
                    </a:lnTo>
                    <a:lnTo>
                      <a:pt x="773" y="259"/>
                    </a:lnTo>
                    <a:lnTo>
                      <a:pt x="777" y="258"/>
                    </a:lnTo>
                    <a:lnTo>
                      <a:pt x="780" y="258"/>
                    </a:lnTo>
                    <a:lnTo>
                      <a:pt x="800" y="262"/>
                    </a:lnTo>
                    <a:lnTo>
                      <a:pt x="803" y="263"/>
                    </a:lnTo>
                    <a:lnTo>
                      <a:pt x="807" y="264"/>
                    </a:lnTo>
                    <a:lnTo>
                      <a:pt x="809" y="268"/>
                    </a:lnTo>
                    <a:lnTo>
                      <a:pt x="809" y="269"/>
                    </a:lnTo>
                    <a:lnTo>
                      <a:pt x="805" y="295"/>
                    </a:lnTo>
                    <a:lnTo>
                      <a:pt x="805" y="302"/>
                    </a:lnTo>
                    <a:lnTo>
                      <a:pt x="813" y="363"/>
                    </a:lnTo>
                    <a:lnTo>
                      <a:pt x="813" y="367"/>
                    </a:lnTo>
                    <a:lnTo>
                      <a:pt x="813" y="370"/>
                    </a:lnTo>
                    <a:lnTo>
                      <a:pt x="812" y="374"/>
                    </a:lnTo>
                    <a:lnTo>
                      <a:pt x="810" y="377"/>
                    </a:lnTo>
                    <a:lnTo>
                      <a:pt x="808" y="381"/>
                    </a:lnTo>
                    <a:lnTo>
                      <a:pt x="803" y="388"/>
                    </a:lnTo>
                    <a:lnTo>
                      <a:pt x="801" y="391"/>
                    </a:lnTo>
                    <a:lnTo>
                      <a:pt x="800" y="395"/>
                    </a:lnTo>
                    <a:lnTo>
                      <a:pt x="799" y="399"/>
                    </a:lnTo>
                    <a:lnTo>
                      <a:pt x="802" y="429"/>
                    </a:lnTo>
                    <a:lnTo>
                      <a:pt x="800" y="437"/>
                    </a:lnTo>
                    <a:lnTo>
                      <a:pt x="794" y="462"/>
                    </a:lnTo>
                    <a:lnTo>
                      <a:pt x="793" y="466"/>
                    </a:lnTo>
                    <a:lnTo>
                      <a:pt x="794" y="470"/>
                    </a:lnTo>
                    <a:lnTo>
                      <a:pt x="794" y="474"/>
                    </a:lnTo>
                    <a:lnTo>
                      <a:pt x="796" y="477"/>
                    </a:lnTo>
                    <a:lnTo>
                      <a:pt x="840" y="543"/>
                    </a:lnTo>
                    <a:lnTo>
                      <a:pt x="823" y="550"/>
                    </a:lnTo>
                    <a:lnTo>
                      <a:pt x="796" y="566"/>
                    </a:lnTo>
                    <a:lnTo>
                      <a:pt x="790" y="567"/>
                    </a:lnTo>
                    <a:lnTo>
                      <a:pt x="786" y="568"/>
                    </a:lnTo>
                    <a:lnTo>
                      <a:pt x="774" y="564"/>
                    </a:lnTo>
                    <a:lnTo>
                      <a:pt x="770" y="563"/>
                    </a:lnTo>
                    <a:lnTo>
                      <a:pt x="765" y="563"/>
                    </a:lnTo>
                    <a:lnTo>
                      <a:pt x="758" y="564"/>
                    </a:lnTo>
                    <a:lnTo>
                      <a:pt x="753" y="566"/>
                    </a:lnTo>
                    <a:lnTo>
                      <a:pt x="742" y="570"/>
                    </a:lnTo>
                    <a:lnTo>
                      <a:pt x="740" y="571"/>
                    </a:lnTo>
                    <a:lnTo>
                      <a:pt x="736" y="572"/>
                    </a:lnTo>
                    <a:lnTo>
                      <a:pt x="726" y="572"/>
                    </a:lnTo>
                    <a:lnTo>
                      <a:pt x="720" y="573"/>
                    </a:lnTo>
                    <a:lnTo>
                      <a:pt x="716" y="574"/>
                    </a:lnTo>
                    <a:lnTo>
                      <a:pt x="711" y="577"/>
                    </a:lnTo>
                    <a:lnTo>
                      <a:pt x="705" y="584"/>
                    </a:lnTo>
                    <a:lnTo>
                      <a:pt x="700" y="588"/>
                    </a:lnTo>
                    <a:lnTo>
                      <a:pt x="667" y="606"/>
                    </a:lnTo>
                    <a:lnTo>
                      <a:pt x="625" y="645"/>
                    </a:lnTo>
                    <a:lnTo>
                      <a:pt x="619" y="649"/>
                    </a:lnTo>
                    <a:lnTo>
                      <a:pt x="610" y="654"/>
                    </a:lnTo>
                    <a:lnTo>
                      <a:pt x="605" y="656"/>
                    </a:lnTo>
                    <a:lnTo>
                      <a:pt x="599" y="657"/>
                    </a:lnTo>
                    <a:lnTo>
                      <a:pt x="596" y="655"/>
                    </a:lnTo>
                    <a:lnTo>
                      <a:pt x="592" y="653"/>
                    </a:lnTo>
                    <a:lnTo>
                      <a:pt x="590" y="650"/>
                    </a:lnTo>
                    <a:lnTo>
                      <a:pt x="586" y="646"/>
                    </a:lnTo>
                    <a:lnTo>
                      <a:pt x="569" y="611"/>
                    </a:lnTo>
                    <a:lnTo>
                      <a:pt x="567" y="606"/>
                    </a:lnTo>
                    <a:lnTo>
                      <a:pt x="557" y="598"/>
                    </a:lnTo>
                    <a:lnTo>
                      <a:pt x="553" y="597"/>
                    </a:lnTo>
                    <a:lnTo>
                      <a:pt x="549" y="596"/>
                    </a:lnTo>
                    <a:lnTo>
                      <a:pt x="546" y="597"/>
                    </a:lnTo>
                    <a:lnTo>
                      <a:pt x="531" y="605"/>
                    </a:lnTo>
                    <a:lnTo>
                      <a:pt x="527" y="607"/>
                    </a:lnTo>
                    <a:lnTo>
                      <a:pt x="523" y="609"/>
                    </a:lnTo>
                    <a:lnTo>
                      <a:pt x="505" y="609"/>
                    </a:lnTo>
                    <a:lnTo>
                      <a:pt x="500" y="609"/>
                    </a:lnTo>
                    <a:lnTo>
                      <a:pt x="495" y="611"/>
                    </a:lnTo>
                    <a:lnTo>
                      <a:pt x="487" y="614"/>
                    </a:lnTo>
                    <a:lnTo>
                      <a:pt x="482" y="615"/>
                    </a:lnTo>
                    <a:lnTo>
                      <a:pt x="478" y="615"/>
                    </a:lnTo>
                    <a:lnTo>
                      <a:pt x="477" y="614"/>
                    </a:lnTo>
                    <a:lnTo>
                      <a:pt x="474" y="612"/>
                    </a:lnTo>
                    <a:lnTo>
                      <a:pt x="471" y="609"/>
                    </a:lnTo>
                    <a:lnTo>
                      <a:pt x="470" y="605"/>
                    </a:lnTo>
                    <a:lnTo>
                      <a:pt x="464" y="591"/>
                    </a:lnTo>
                    <a:lnTo>
                      <a:pt x="462" y="588"/>
                    </a:lnTo>
                    <a:lnTo>
                      <a:pt x="458" y="584"/>
                    </a:lnTo>
                    <a:lnTo>
                      <a:pt x="453" y="582"/>
                    </a:lnTo>
                    <a:lnTo>
                      <a:pt x="449" y="582"/>
                    </a:lnTo>
                    <a:lnTo>
                      <a:pt x="445" y="582"/>
                    </a:lnTo>
                    <a:lnTo>
                      <a:pt x="441" y="583"/>
                    </a:lnTo>
                    <a:lnTo>
                      <a:pt x="438" y="586"/>
                    </a:lnTo>
                    <a:lnTo>
                      <a:pt x="435" y="589"/>
                    </a:lnTo>
                    <a:lnTo>
                      <a:pt x="434" y="591"/>
                    </a:lnTo>
                    <a:lnTo>
                      <a:pt x="433" y="593"/>
                    </a:lnTo>
                    <a:lnTo>
                      <a:pt x="433" y="597"/>
                    </a:lnTo>
                    <a:lnTo>
                      <a:pt x="432" y="600"/>
                    </a:lnTo>
                    <a:lnTo>
                      <a:pt x="432" y="604"/>
                    </a:lnTo>
                    <a:lnTo>
                      <a:pt x="433" y="612"/>
                    </a:lnTo>
                    <a:lnTo>
                      <a:pt x="436" y="622"/>
                    </a:lnTo>
                    <a:lnTo>
                      <a:pt x="437" y="628"/>
                    </a:lnTo>
                    <a:lnTo>
                      <a:pt x="437" y="629"/>
                    </a:lnTo>
                    <a:lnTo>
                      <a:pt x="435" y="634"/>
                    </a:lnTo>
                    <a:lnTo>
                      <a:pt x="424" y="655"/>
                    </a:lnTo>
                    <a:lnTo>
                      <a:pt x="419" y="667"/>
                    </a:lnTo>
                    <a:lnTo>
                      <a:pt x="417" y="671"/>
                    </a:lnTo>
                    <a:lnTo>
                      <a:pt x="413" y="674"/>
                    </a:lnTo>
                    <a:lnTo>
                      <a:pt x="409" y="676"/>
                    </a:lnTo>
                    <a:lnTo>
                      <a:pt x="405" y="677"/>
                    </a:lnTo>
                    <a:lnTo>
                      <a:pt x="388" y="680"/>
                    </a:lnTo>
                    <a:lnTo>
                      <a:pt x="384" y="681"/>
                    </a:lnTo>
                    <a:lnTo>
                      <a:pt x="380" y="683"/>
                    </a:lnTo>
                    <a:lnTo>
                      <a:pt x="376" y="686"/>
                    </a:lnTo>
                    <a:lnTo>
                      <a:pt x="363" y="699"/>
                    </a:lnTo>
                    <a:lnTo>
                      <a:pt x="360" y="703"/>
                    </a:lnTo>
                    <a:lnTo>
                      <a:pt x="360" y="706"/>
                    </a:lnTo>
                    <a:lnTo>
                      <a:pt x="361" y="710"/>
                    </a:lnTo>
                    <a:lnTo>
                      <a:pt x="364" y="712"/>
                    </a:lnTo>
                    <a:lnTo>
                      <a:pt x="367" y="714"/>
                    </a:lnTo>
                    <a:lnTo>
                      <a:pt x="380" y="718"/>
                    </a:lnTo>
                    <a:lnTo>
                      <a:pt x="381" y="719"/>
                    </a:lnTo>
                    <a:lnTo>
                      <a:pt x="384" y="722"/>
                    </a:lnTo>
                    <a:lnTo>
                      <a:pt x="386" y="726"/>
                    </a:lnTo>
                    <a:lnTo>
                      <a:pt x="387" y="730"/>
                    </a:lnTo>
                    <a:lnTo>
                      <a:pt x="387" y="734"/>
                    </a:lnTo>
                    <a:lnTo>
                      <a:pt x="385" y="752"/>
                    </a:lnTo>
                    <a:lnTo>
                      <a:pt x="385" y="756"/>
                    </a:lnTo>
                    <a:lnTo>
                      <a:pt x="388" y="767"/>
                    </a:lnTo>
                    <a:lnTo>
                      <a:pt x="388" y="771"/>
                    </a:lnTo>
                    <a:lnTo>
                      <a:pt x="388" y="786"/>
                    </a:lnTo>
                    <a:lnTo>
                      <a:pt x="388" y="789"/>
                    </a:lnTo>
                    <a:lnTo>
                      <a:pt x="388" y="793"/>
                    </a:lnTo>
                    <a:lnTo>
                      <a:pt x="390" y="796"/>
                    </a:lnTo>
                    <a:lnTo>
                      <a:pt x="393" y="799"/>
                    </a:lnTo>
                    <a:lnTo>
                      <a:pt x="395" y="800"/>
                    </a:lnTo>
                    <a:lnTo>
                      <a:pt x="408" y="807"/>
                    </a:lnTo>
                    <a:lnTo>
                      <a:pt x="411" y="811"/>
                    </a:lnTo>
                    <a:lnTo>
                      <a:pt x="422" y="826"/>
                    </a:lnTo>
                    <a:lnTo>
                      <a:pt x="425" y="828"/>
                    </a:lnTo>
                    <a:lnTo>
                      <a:pt x="430" y="830"/>
                    </a:lnTo>
                    <a:lnTo>
                      <a:pt x="434" y="831"/>
                    </a:lnTo>
                    <a:lnTo>
                      <a:pt x="438" y="831"/>
                    </a:lnTo>
                    <a:lnTo>
                      <a:pt x="442" y="830"/>
                    </a:lnTo>
                    <a:lnTo>
                      <a:pt x="446" y="829"/>
                    </a:lnTo>
                    <a:lnTo>
                      <a:pt x="448" y="827"/>
                    </a:lnTo>
                    <a:lnTo>
                      <a:pt x="452" y="825"/>
                    </a:lnTo>
                    <a:lnTo>
                      <a:pt x="454" y="822"/>
                    </a:lnTo>
                    <a:lnTo>
                      <a:pt x="455" y="818"/>
                    </a:lnTo>
                    <a:lnTo>
                      <a:pt x="459" y="799"/>
                    </a:lnTo>
                    <a:lnTo>
                      <a:pt x="470" y="771"/>
                    </a:lnTo>
                    <a:lnTo>
                      <a:pt x="475" y="763"/>
                    </a:lnTo>
                    <a:lnTo>
                      <a:pt x="477" y="760"/>
                    </a:lnTo>
                    <a:lnTo>
                      <a:pt x="478" y="759"/>
                    </a:lnTo>
                    <a:lnTo>
                      <a:pt x="481" y="757"/>
                    </a:lnTo>
                    <a:lnTo>
                      <a:pt x="485" y="757"/>
                    </a:lnTo>
                    <a:lnTo>
                      <a:pt x="501" y="757"/>
                    </a:lnTo>
                    <a:lnTo>
                      <a:pt x="506" y="756"/>
                    </a:lnTo>
                    <a:lnTo>
                      <a:pt x="510" y="754"/>
                    </a:lnTo>
                    <a:lnTo>
                      <a:pt x="518" y="751"/>
                    </a:lnTo>
                    <a:lnTo>
                      <a:pt x="525" y="750"/>
                    </a:lnTo>
                    <a:lnTo>
                      <a:pt x="528" y="751"/>
                    </a:lnTo>
                    <a:lnTo>
                      <a:pt x="531" y="752"/>
                    </a:lnTo>
                    <a:lnTo>
                      <a:pt x="533" y="754"/>
                    </a:lnTo>
                    <a:lnTo>
                      <a:pt x="535" y="757"/>
                    </a:lnTo>
                    <a:lnTo>
                      <a:pt x="538" y="760"/>
                    </a:lnTo>
                    <a:lnTo>
                      <a:pt x="538" y="765"/>
                    </a:lnTo>
                    <a:lnTo>
                      <a:pt x="538" y="768"/>
                    </a:lnTo>
                    <a:lnTo>
                      <a:pt x="538" y="772"/>
                    </a:lnTo>
                    <a:lnTo>
                      <a:pt x="533" y="795"/>
                    </a:lnTo>
                    <a:lnTo>
                      <a:pt x="533" y="798"/>
                    </a:lnTo>
                    <a:lnTo>
                      <a:pt x="533" y="803"/>
                    </a:lnTo>
                    <a:lnTo>
                      <a:pt x="534" y="807"/>
                    </a:lnTo>
                    <a:lnTo>
                      <a:pt x="541" y="819"/>
                    </a:lnTo>
                    <a:lnTo>
                      <a:pt x="542" y="823"/>
                    </a:lnTo>
                    <a:lnTo>
                      <a:pt x="542" y="827"/>
                    </a:lnTo>
                    <a:lnTo>
                      <a:pt x="537" y="846"/>
                    </a:lnTo>
                    <a:lnTo>
                      <a:pt x="535" y="849"/>
                    </a:lnTo>
                    <a:lnTo>
                      <a:pt x="533" y="852"/>
                    </a:lnTo>
                    <a:lnTo>
                      <a:pt x="530" y="855"/>
                    </a:lnTo>
                    <a:lnTo>
                      <a:pt x="527" y="856"/>
                    </a:lnTo>
                    <a:lnTo>
                      <a:pt x="524" y="856"/>
                    </a:lnTo>
                    <a:lnTo>
                      <a:pt x="522" y="856"/>
                    </a:lnTo>
                    <a:lnTo>
                      <a:pt x="503" y="855"/>
                    </a:lnTo>
                    <a:lnTo>
                      <a:pt x="500" y="855"/>
                    </a:lnTo>
                    <a:lnTo>
                      <a:pt x="496" y="856"/>
                    </a:lnTo>
                    <a:lnTo>
                      <a:pt x="493" y="856"/>
                    </a:lnTo>
                    <a:lnTo>
                      <a:pt x="485" y="861"/>
                    </a:lnTo>
                    <a:lnTo>
                      <a:pt x="477" y="867"/>
                    </a:lnTo>
                    <a:lnTo>
                      <a:pt x="473" y="869"/>
                    </a:lnTo>
                    <a:lnTo>
                      <a:pt x="470" y="869"/>
                    </a:lnTo>
                    <a:lnTo>
                      <a:pt x="466" y="867"/>
                    </a:lnTo>
                    <a:lnTo>
                      <a:pt x="463" y="865"/>
                    </a:lnTo>
                    <a:lnTo>
                      <a:pt x="461" y="864"/>
                    </a:lnTo>
                    <a:lnTo>
                      <a:pt x="460" y="865"/>
                    </a:lnTo>
                    <a:lnTo>
                      <a:pt x="459" y="869"/>
                    </a:lnTo>
                    <a:lnTo>
                      <a:pt x="458" y="909"/>
                    </a:lnTo>
                    <a:lnTo>
                      <a:pt x="459" y="917"/>
                    </a:lnTo>
                    <a:lnTo>
                      <a:pt x="460" y="921"/>
                    </a:lnTo>
                    <a:lnTo>
                      <a:pt x="461" y="925"/>
                    </a:lnTo>
                    <a:lnTo>
                      <a:pt x="463" y="928"/>
                    </a:lnTo>
                    <a:lnTo>
                      <a:pt x="466" y="931"/>
                    </a:lnTo>
                    <a:lnTo>
                      <a:pt x="470" y="932"/>
                    </a:lnTo>
                    <a:lnTo>
                      <a:pt x="472" y="933"/>
                    </a:lnTo>
                    <a:lnTo>
                      <a:pt x="491" y="933"/>
                    </a:lnTo>
                    <a:lnTo>
                      <a:pt x="498" y="934"/>
                    </a:lnTo>
                    <a:lnTo>
                      <a:pt x="505" y="935"/>
                    </a:lnTo>
                    <a:lnTo>
                      <a:pt x="508" y="937"/>
                    </a:lnTo>
                    <a:lnTo>
                      <a:pt x="512" y="939"/>
                    </a:lnTo>
                    <a:lnTo>
                      <a:pt x="515" y="941"/>
                    </a:lnTo>
                    <a:lnTo>
                      <a:pt x="516" y="945"/>
                    </a:lnTo>
                    <a:lnTo>
                      <a:pt x="528" y="980"/>
                    </a:lnTo>
                    <a:lnTo>
                      <a:pt x="530" y="986"/>
                    </a:lnTo>
                    <a:lnTo>
                      <a:pt x="530" y="990"/>
                    </a:lnTo>
                    <a:lnTo>
                      <a:pt x="529" y="994"/>
                    </a:lnTo>
                    <a:lnTo>
                      <a:pt x="523" y="1017"/>
                    </a:lnTo>
                    <a:lnTo>
                      <a:pt x="520" y="1024"/>
                    </a:lnTo>
                    <a:lnTo>
                      <a:pt x="517" y="1027"/>
                    </a:lnTo>
                    <a:lnTo>
                      <a:pt x="515" y="1030"/>
                    </a:lnTo>
                    <a:lnTo>
                      <a:pt x="504" y="1036"/>
                    </a:lnTo>
                    <a:lnTo>
                      <a:pt x="501" y="1038"/>
                    </a:lnTo>
                    <a:lnTo>
                      <a:pt x="499" y="1040"/>
                    </a:lnTo>
                    <a:lnTo>
                      <a:pt x="497" y="1044"/>
                    </a:lnTo>
                    <a:lnTo>
                      <a:pt x="493" y="1051"/>
                    </a:lnTo>
                    <a:lnTo>
                      <a:pt x="492" y="1049"/>
                    </a:lnTo>
                    <a:lnTo>
                      <a:pt x="491" y="1046"/>
                    </a:lnTo>
                    <a:lnTo>
                      <a:pt x="490" y="1045"/>
                    </a:lnTo>
                    <a:lnTo>
                      <a:pt x="489" y="1044"/>
                    </a:lnTo>
                    <a:lnTo>
                      <a:pt x="487" y="1043"/>
                    </a:lnTo>
                    <a:lnTo>
                      <a:pt x="487" y="1042"/>
                    </a:lnTo>
                    <a:lnTo>
                      <a:pt x="487" y="1039"/>
                    </a:lnTo>
                    <a:lnTo>
                      <a:pt x="484" y="1039"/>
                    </a:lnTo>
                    <a:lnTo>
                      <a:pt x="481" y="1038"/>
                    </a:lnTo>
                    <a:lnTo>
                      <a:pt x="482" y="1036"/>
                    </a:lnTo>
                    <a:lnTo>
                      <a:pt x="483" y="1035"/>
                    </a:lnTo>
                    <a:lnTo>
                      <a:pt x="482" y="1033"/>
                    </a:lnTo>
                    <a:lnTo>
                      <a:pt x="480" y="1032"/>
                    </a:lnTo>
                    <a:lnTo>
                      <a:pt x="478" y="1032"/>
                    </a:lnTo>
                    <a:lnTo>
                      <a:pt x="477" y="1033"/>
                    </a:lnTo>
                    <a:lnTo>
                      <a:pt x="478" y="1030"/>
                    </a:lnTo>
                    <a:lnTo>
                      <a:pt x="478" y="1028"/>
                    </a:lnTo>
                    <a:lnTo>
                      <a:pt x="478" y="1027"/>
                    </a:lnTo>
                    <a:lnTo>
                      <a:pt x="478" y="1024"/>
                    </a:lnTo>
                    <a:lnTo>
                      <a:pt x="478" y="1024"/>
                    </a:lnTo>
                    <a:lnTo>
                      <a:pt x="475" y="1023"/>
                    </a:lnTo>
                    <a:lnTo>
                      <a:pt x="473" y="1024"/>
                    </a:lnTo>
                    <a:lnTo>
                      <a:pt x="473" y="1021"/>
                    </a:lnTo>
                    <a:lnTo>
                      <a:pt x="473" y="1017"/>
                    </a:lnTo>
                    <a:lnTo>
                      <a:pt x="471" y="1014"/>
                    </a:lnTo>
                    <a:lnTo>
                      <a:pt x="470" y="1012"/>
                    </a:lnTo>
                    <a:lnTo>
                      <a:pt x="470" y="1009"/>
                    </a:lnTo>
                    <a:lnTo>
                      <a:pt x="468" y="1003"/>
                    </a:lnTo>
                    <a:lnTo>
                      <a:pt x="467" y="1000"/>
                    </a:lnTo>
                    <a:lnTo>
                      <a:pt x="467" y="991"/>
                    </a:lnTo>
                    <a:lnTo>
                      <a:pt x="466" y="989"/>
                    </a:lnTo>
                    <a:lnTo>
                      <a:pt x="464" y="988"/>
                    </a:lnTo>
                    <a:lnTo>
                      <a:pt x="463" y="987"/>
                    </a:lnTo>
                    <a:lnTo>
                      <a:pt x="463" y="985"/>
                    </a:lnTo>
                    <a:lnTo>
                      <a:pt x="463" y="984"/>
                    </a:lnTo>
                    <a:lnTo>
                      <a:pt x="456" y="979"/>
                    </a:lnTo>
                    <a:lnTo>
                      <a:pt x="455" y="978"/>
                    </a:lnTo>
                    <a:lnTo>
                      <a:pt x="455" y="976"/>
                    </a:lnTo>
                    <a:lnTo>
                      <a:pt x="455" y="974"/>
                    </a:lnTo>
                    <a:lnTo>
                      <a:pt x="454" y="972"/>
                    </a:lnTo>
                    <a:lnTo>
                      <a:pt x="450" y="971"/>
                    </a:lnTo>
                    <a:lnTo>
                      <a:pt x="448" y="969"/>
                    </a:lnTo>
                    <a:lnTo>
                      <a:pt x="448" y="970"/>
                    </a:lnTo>
                    <a:lnTo>
                      <a:pt x="446" y="971"/>
                    </a:lnTo>
                    <a:lnTo>
                      <a:pt x="445" y="971"/>
                    </a:lnTo>
                    <a:lnTo>
                      <a:pt x="443" y="970"/>
                    </a:lnTo>
                    <a:lnTo>
                      <a:pt x="441" y="970"/>
                    </a:lnTo>
                    <a:lnTo>
                      <a:pt x="440" y="968"/>
                    </a:lnTo>
                    <a:lnTo>
                      <a:pt x="439" y="966"/>
                    </a:lnTo>
                    <a:lnTo>
                      <a:pt x="434" y="956"/>
                    </a:lnTo>
                    <a:lnTo>
                      <a:pt x="433" y="954"/>
                    </a:lnTo>
                    <a:lnTo>
                      <a:pt x="430" y="951"/>
                    </a:lnTo>
                    <a:lnTo>
                      <a:pt x="429" y="949"/>
                    </a:lnTo>
                    <a:lnTo>
                      <a:pt x="429" y="947"/>
                    </a:lnTo>
                    <a:lnTo>
                      <a:pt x="429" y="943"/>
                    </a:lnTo>
                    <a:lnTo>
                      <a:pt x="433" y="932"/>
                    </a:lnTo>
                    <a:lnTo>
                      <a:pt x="434" y="928"/>
                    </a:lnTo>
                    <a:lnTo>
                      <a:pt x="434" y="927"/>
                    </a:lnTo>
                    <a:lnTo>
                      <a:pt x="435" y="926"/>
                    </a:lnTo>
                    <a:lnTo>
                      <a:pt x="435" y="925"/>
                    </a:lnTo>
                    <a:lnTo>
                      <a:pt x="434" y="923"/>
                    </a:lnTo>
                    <a:lnTo>
                      <a:pt x="433" y="923"/>
                    </a:lnTo>
                    <a:lnTo>
                      <a:pt x="429" y="920"/>
                    </a:lnTo>
                    <a:lnTo>
                      <a:pt x="429" y="920"/>
                    </a:lnTo>
                    <a:lnTo>
                      <a:pt x="422" y="918"/>
                    </a:lnTo>
                    <a:lnTo>
                      <a:pt x="420" y="913"/>
                    </a:lnTo>
                    <a:lnTo>
                      <a:pt x="420" y="912"/>
                    </a:lnTo>
                    <a:lnTo>
                      <a:pt x="418" y="908"/>
                    </a:lnTo>
                    <a:lnTo>
                      <a:pt x="417" y="907"/>
                    </a:lnTo>
                    <a:lnTo>
                      <a:pt x="417" y="905"/>
                    </a:lnTo>
                    <a:lnTo>
                      <a:pt x="417" y="903"/>
                    </a:lnTo>
                    <a:lnTo>
                      <a:pt x="418" y="900"/>
                    </a:lnTo>
                    <a:lnTo>
                      <a:pt x="418" y="898"/>
                    </a:lnTo>
                    <a:lnTo>
                      <a:pt x="420" y="895"/>
                    </a:lnTo>
                    <a:lnTo>
                      <a:pt x="420" y="892"/>
                    </a:lnTo>
                    <a:lnTo>
                      <a:pt x="421" y="888"/>
                    </a:lnTo>
                    <a:lnTo>
                      <a:pt x="424" y="884"/>
                    </a:lnTo>
                    <a:lnTo>
                      <a:pt x="422" y="881"/>
                    </a:lnTo>
                    <a:lnTo>
                      <a:pt x="418" y="879"/>
                    </a:lnTo>
                    <a:lnTo>
                      <a:pt x="415" y="878"/>
                    </a:lnTo>
                    <a:lnTo>
                      <a:pt x="408" y="876"/>
                    </a:lnTo>
                    <a:lnTo>
                      <a:pt x="405" y="873"/>
                    </a:lnTo>
                    <a:lnTo>
                      <a:pt x="403" y="869"/>
                    </a:lnTo>
                    <a:lnTo>
                      <a:pt x="401" y="865"/>
                    </a:lnTo>
                    <a:lnTo>
                      <a:pt x="401" y="864"/>
                    </a:lnTo>
                    <a:lnTo>
                      <a:pt x="401" y="861"/>
                    </a:lnTo>
                    <a:lnTo>
                      <a:pt x="402" y="857"/>
                    </a:lnTo>
                    <a:lnTo>
                      <a:pt x="402" y="856"/>
                    </a:lnTo>
                    <a:lnTo>
                      <a:pt x="401" y="852"/>
                    </a:lnTo>
                    <a:lnTo>
                      <a:pt x="401" y="850"/>
                    </a:lnTo>
                    <a:lnTo>
                      <a:pt x="400" y="848"/>
                    </a:lnTo>
                    <a:lnTo>
                      <a:pt x="397" y="847"/>
                    </a:lnTo>
                    <a:lnTo>
                      <a:pt x="395" y="846"/>
                    </a:lnTo>
                    <a:lnTo>
                      <a:pt x="395" y="841"/>
                    </a:lnTo>
                    <a:lnTo>
                      <a:pt x="394" y="840"/>
                    </a:lnTo>
                    <a:lnTo>
                      <a:pt x="391" y="839"/>
                    </a:lnTo>
                    <a:lnTo>
                      <a:pt x="387" y="835"/>
                    </a:lnTo>
                    <a:lnTo>
                      <a:pt x="387" y="832"/>
                    </a:lnTo>
                    <a:lnTo>
                      <a:pt x="387" y="830"/>
                    </a:lnTo>
                    <a:lnTo>
                      <a:pt x="385" y="827"/>
                    </a:lnTo>
                    <a:lnTo>
                      <a:pt x="384" y="824"/>
                    </a:lnTo>
                    <a:lnTo>
                      <a:pt x="383" y="821"/>
                    </a:lnTo>
                    <a:lnTo>
                      <a:pt x="383" y="819"/>
                    </a:lnTo>
                    <a:lnTo>
                      <a:pt x="385" y="818"/>
                    </a:lnTo>
                    <a:lnTo>
                      <a:pt x="386" y="816"/>
                    </a:lnTo>
                    <a:lnTo>
                      <a:pt x="387" y="815"/>
                    </a:lnTo>
                    <a:lnTo>
                      <a:pt x="386" y="813"/>
                    </a:lnTo>
                    <a:lnTo>
                      <a:pt x="387" y="811"/>
                    </a:lnTo>
                    <a:lnTo>
                      <a:pt x="386" y="810"/>
                    </a:lnTo>
                    <a:lnTo>
                      <a:pt x="385" y="808"/>
                    </a:lnTo>
                    <a:lnTo>
                      <a:pt x="385" y="806"/>
                    </a:lnTo>
                    <a:lnTo>
                      <a:pt x="370" y="801"/>
                    </a:lnTo>
                    <a:lnTo>
                      <a:pt x="366" y="798"/>
                    </a:lnTo>
                    <a:lnTo>
                      <a:pt x="357" y="789"/>
                    </a:lnTo>
                    <a:lnTo>
                      <a:pt x="354" y="788"/>
                    </a:lnTo>
                    <a:lnTo>
                      <a:pt x="354" y="787"/>
                    </a:lnTo>
                    <a:lnTo>
                      <a:pt x="356" y="787"/>
                    </a:lnTo>
                    <a:lnTo>
                      <a:pt x="359" y="789"/>
                    </a:lnTo>
                    <a:lnTo>
                      <a:pt x="360" y="781"/>
                    </a:lnTo>
                    <a:lnTo>
                      <a:pt x="360" y="772"/>
                    </a:lnTo>
                    <a:lnTo>
                      <a:pt x="358" y="769"/>
                    </a:lnTo>
                    <a:lnTo>
                      <a:pt x="351" y="757"/>
                    </a:lnTo>
                    <a:lnTo>
                      <a:pt x="348" y="756"/>
                    </a:lnTo>
                    <a:lnTo>
                      <a:pt x="339" y="754"/>
                    </a:lnTo>
                    <a:lnTo>
                      <a:pt x="335" y="755"/>
                    </a:lnTo>
                    <a:lnTo>
                      <a:pt x="335" y="756"/>
                    </a:lnTo>
                    <a:lnTo>
                      <a:pt x="336" y="761"/>
                    </a:lnTo>
                    <a:lnTo>
                      <a:pt x="334" y="758"/>
                    </a:lnTo>
                    <a:lnTo>
                      <a:pt x="332" y="755"/>
                    </a:lnTo>
                    <a:lnTo>
                      <a:pt x="330" y="751"/>
                    </a:lnTo>
                    <a:lnTo>
                      <a:pt x="330" y="749"/>
                    </a:lnTo>
                    <a:lnTo>
                      <a:pt x="327" y="749"/>
                    </a:lnTo>
                    <a:lnTo>
                      <a:pt x="321" y="738"/>
                    </a:lnTo>
                    <a:lnTo>
                      <a:pt x="316" y="734"/>
                    </a:lnTo>
                    <a:lnTo>
                      <a:pt x="314" y="734"/>
                    </a:lnTo>
                    <a:lnTo>
                      <a:pt x="314" y="733"/>
                    </a:lnTo>
                    <a:lnTo>
                      <a:pt x="317" y="727"/>
                    </a:lnTo>
                    <a:lnTo>
                      <a:pt x="316" y="725"/>
                    </a:lnTo>
                    <a:lnTo>
                      <a:pt x="314" y="723"/>
                    </a:lnTo>
                    <a:lnTo>
                      <a:pt x="309" y="720"/>
                    </a:lnTo>
                    <a:lnTo>
                      <a:pt x="303" y="717"/>
                    </a:lnTo>
                    <a:lnTo>
                      <a:pt x="301" y="716"/>
                    </a:lnTo>
                    <a:lnTo>
                      <a:pt x="299" y="713"/>
                    </a:lnTo>
                    <a:lnTo>
                      <a:pt x="297" y="712"/>
                    </a:lnTo>
                    <a:lnTo>
                      <a:pt x="292" y="706"/>
                    </a:lnTo>
                    <a:lnTo>
                      <a:pt x="291" y="705"/>
                    </a:lnTo>
                    <a:lnTo>
                      <a:pt x="287" y="704"/>
                    </a:lnTo>
                    <a:lnTo>
                      <a:pt x="285" y="704"/>
                    </a:lnTo>
                    <a:lnTo>
                      <a:pt x="282" y="704"/>
                    </a:lnTo>
                    <a:lnTo>
                      <a:pt x="279" y="702"/>
                    </a:lnTo>
                    <a:lnTo>
                      <a:pt x="271" y="696"/>
                    </a:lnTo>
                    <a:lnTo>
                      <a:pt x="265" y="689"/>
                    </a:lnTo>
                    <a:lnTo>
                      <a:pt x="267" y="686"/>
                    </a:lnTo>
                    <a:lnTo>
                      <a:pt x="263" y="684"/>
                    </a:lnTo>
                    <a:lnTo>
                      <a:pt x="260" y="683"/>
                    </a:lnTo>
                    <a:lnTo>
                      <a:pt x="254" y="682"/>
                    </a:lnTo>
                    <a:lnTo>
                      <a:pt x="253" y="681"/>
                    </a:lnTo>
                    <a:lnTo>
                      <a:pt x="252" y="679"/>
                    </a:lnTo>
                    <a:lnTo>
                      <a:pt x="249" y="676"/>
                    </a:lnTo>
                    <a:lnTo>
                      <a:pt x="247" y="674"/>
                    </a:lnTo>
                    <a:lnTo>
                      <a:pt x="247" y="674"/>
                    </a:lnTo>
                    <a:lnTo>
                      <a:pt x="245" y="673"/>
                    </a:lnTo>
                    <a:lnTo>
                      <a:pt x="240" y="668"/>
                    </a:lnTo>
                    <a:lnTo>
                      <a:pt x="237" y="666"/>
                    </a:lnTo>
                    <a:lnTo>
                      <a:pt x="234" y="666"/>
                    </a:lnTo>
                    <a:lnTo>
                      <a:pt x="230" y="667"/>
                    </a:lnTo>
                    <a:lnTo>
                      <a:pt x="226" y="669"/>
                    </a:lnTo>
                    <a:lnTo>
                      <a:pt x="225" y="670"/>
                    </a:lnTo>
                    <a:lnTo>
                      <a:pt x="221" y="669"/>
                    </a:lnTo>
                    <a:lnTo>
                      <a:pt x="214" y="665"/>
                    </a:lnTo>
                    <a:lnTo>
                      <a:pt x="210" y="663"/>
                    </a:lnTo>
                    <a:lnTo>
                      <a:pt x="210" y="665"/>
                    </a:lnTo>
                    <a:lnTo>
                      <a:pt x="212" y="666"/>
                    </a:lnTo>
                    <a:lnTo>
                      <a:pt x="214" y="668"/>
                    </a:lnTo>
                    <a:lnTo>
                      <a:pt x="216" y="670"/>
                    </a:lnTo>
                    <a:lnTo>
                      <a:pt x="217" y="671"/>
                    </a:lnTo>
                    <a:lnTo>
                      <a:pt x="216" y="672"/>
                    </a:lnTo>
                    <a:lnTo>
                      <a:pt x="214" y="671"/>
                    </a:lnTo>
                    <a:lnTo>
                      <a:pt x="198" y="660"/>
                    </a:lnTo>
                    <a:lnTo>
                      <a:pt x="195" y="658"/>
                    </a:lnTo>
                    <a:lnTo>
                      <a:pt x="192" y="658"/>
                    </a:lnTo>
                    <a:lnTo>
                      <a:pt x="189" y="657"/>
                    </a:lnTo>
                    <a:lnTo>
                      <a:pt x="186" y="655"/>
                    </a:lnTo>
                    <a:lnTo>
                      <a:pt x="184" y="650"/>
                    </a:lnTo>
                    <a:lnTo>
                      <a:pt x="181" y="647"/>
                    </a:lnTo>
                    <a:lnTo>
                      <a:pt x="172" y="640"/>
                    </a:lnTo>
                    <a:lnTo>
                      <a:pt x="168" y="635"/>
                    </a:lnTo>
                    <a:lnTo>
                      <a:pt x="157" y="620"/>
                    </a:lnTo>
                    <a:lnTo>
                      <a:pt x="154" y="616"/>
                    </a:lnTo>
                    <a:lnTo>
                      <a:pt x="154" y="615"/>
                    </a:lnTo>
                    <a:lnTo>
                      <a:pt x="155" y="615"/>
                    </a:lnTo>
                    <a:lnTo>
                      <a:pt x="157" y="615"/>
                    </a:lnTo>
                    <a:lnTo>
                      <a:pt x="158" y="614"/>
                    </a:lnTo>
                    <a:lnTo>
                      <a:pt x="159" y="612"/>
                    </a:lnTo>
                    <a:lnTo>
                      <a:pt x="156" y="612"/>
                    </a:lnTo>
                    <a:lnTo>
                      <a:pt x="154" y="611"/>
                    </a:lnTo>
                    <a:lnTo>
                      <a:pt x="150" y="607"/>
                    </a:lnTo>
                    <a:lnTo>
                      <a:pt x="149" y="605"/>
                    </a:lnTo>
                    <a:lnTo>
                      <a:pt x="148" y="600"/>
                    </a:lnTo>
                    <a:lnTo>
                      <a:pt x="147" y="598"/>
                    </a:lnTo>
                    <a:lnTo>
                      <a:pt x="141" y="591"/>
                    </a:lnTo>
                    <a:lnTo>
                      <a:pt x="141" y="589"/>
                    </a:lnTo>
                    <a:lnTo>
                      <a:pt x="144" y="584"/>
                    </a:lnTo>
                    <a:lnTo>
                      <a:pt x="138" y="582"/>
                    </a:lnTo>
                    <a:lnTo>
                      <a:pt x="136" y="582"/>
                    </a:lnTo>
                    <a:lnTo>
                      <a:pt x="136" y="583"/>
                    </a:lnTo>
                    <a:lnTo>
                      <a:pt x="136" y="584"/>
                    </a:lnTo>
                    <a:lnTo>
                      <a:pt x="132" y="582"/>
                    </a:lnTo>
                    <a:lnTo>
                      <a:pt x="130" y="580"/>
                    </a:lnTo>
                    <a:lnTo>
                      <a:pt x="131" y="577"/>
                    </a:lnTo>
                    <a:lnTo>
                      <a:pt x="130" y="576"/>
                    </a:lnTo>
                    <a:lnTo>
                      <a:pt x="129" y="575"/>
                    </a:lnTo>
                    <a:lnTo>
                      <a:pt x="129" y="574"/>
                    </a:lnTo>
                    <a:lnTo>
                      <a:pt x="130" y="572"/>
                    </a:lnTo>
                    <a:lnTo>
                      <a:pt x="131" y="574"/>
                    </a:lnTo>
                    <a:lnTo>
                      <a:pt x="132" y="574"/>
                    </a:lnTo>
                    <a:lnTo>
                      <a:pt x="134" y="575"/>
                    </a:lnTo>
                    <a:lnTo>
                      <a:pt x="136" y="575"/>
                    </a:lnTo>
                    <a:lnTo>
                      <a:pt x="135" y="574"/>
                    </a:lnTo>
                    <a:lnTo>
                      <a:pt x="134" y="570"/>
                    </a:lnTo>
                    <a:lnTo>
                      <a:pt x="132" y="570"/>
                    </a:lnTo>
                    <a:lnTo>
                      <a:pt x="131" y="570"/>
                    </a:lnTo>
                    <a:lnTo>
                      <a:pt x="129" y="567"/>
                    </a:lnTo>
                    <a:lnTo>
                      <a:pt x="128" y="567"/>
                    </a:lnTo>
                    <a:lnTo>
                      <a:pt x="128" y="570"/>
                    </a:lnTo>
                    <a:lnTo>
                      <a:pt x="124" y="567"/>
                    </a:lnTo>
                    <a:lnTo>
                      <a:pt x="119" y="563"/>
                    </a:lnTo>
                    <a:lnTo>
                      <a:pt x="116" y="559"/>
                    </a:lnTo>
                    <a:lnTo>
                      <a:pt x="117" y="555"/>
                    </a:lnTo>
                    <a:lnTo>
                      <a:pt x="118" y="557"/>
                    </a:lnTo>
                    <a:lnTo>
                      <a:pt x="119" y="558"/>
                    </a:lnTo>
                    <a:lnTo>
                      <a:pt x="120" y="556"/>
                    </a:lnTo>
                    <a:lnTo>
                      <a:pt x="119" y="554"/>
                    </a:lnTo>
                    <a:lnTo>
                      <a:pt x="118" y="553"/>
                    </a:lnTo>
                    <a:lnTo>
                      <a:pt x="117" y="552"/>
                    </a:lnTo>
                    <a:lnTo>
                      <a:pt x="114" y="551"/>
                    </a:lnTo>
                    <a:lnTo>
                      <a:pt x="112" y="551"/>
                    </a:lnTo>
                    <a:lnTo>
                      <a:pt x="109" y="552"/>
                    </a:lnTo>
                    <a:lnTo>
                      <a:pt x="109" y="551"/>
                    </a:lnTo>
                    <a:lnTo>
                      <a:pt x="104" y="544"/>
                    </a:lnTo>
                    <a:lnTo>
                      <a:pt x="103" y="542"/>
                    </a:lnTo>
                    <a:lnTo>
                      <a:pt x="102" y="538"/>
                    </a:lnTo>
                    <a:lnTo>
                      <a:pt x="102" y="535"/>
                    </a:lnTo>
                    <a:lnTo>
                      <a:pt x="102" y="533"/>
                    </a:lnTo>
                    <a:lnTo>
                      <a:pt x="100" y="531"/>
                    </a:lnTo>
                    <a:lnTo>
                      <a:pt x="99" y="529"/>
                    </a:lnTo>
                    <a:lnTo>
                      <a:pt x="99" y="528"/>
                    </a:lnTo>
                    <a:lnTo>
                      <a:pt x="98" y="527"/>
                    </a:lnTo>
                    <a:lnTo>
                      <a:pt x="97" y="526"/>
                    </a:lnTo>
                    <a:lnTo>
                      <a:pt x="90" y="521"/>
                    </a:lnTo>
                    <a:lnTo>
                      <a:pt x="88" y="519"/>
                    </a:lnTo>
                    <a:lnTo>
                      <a:pt x="87" y="514"/>
                    </a:lnTo>
                    <a:lnTo>
                      <a:pt x="86" y="511"/>
                    </a:lnTo>
                    <a:lnTo>
                      <a:pt x="86" y="508"/>
                    </a:lnTo>
                    <a:lnTo>
                      <a:pt x="86" y="508"/>
                    </a:lnTo>
                    <a:lnTo>
                      <a:pt x="87" y="506"/>
                    </a:lnTo>
                    <a:lnTo>
                      <a:pt x="87" y="505"/>
                    </a:lnTo>
                    <a:lnTo>
                      <a:pt x="87" y="502"/>
                    </a:lnTo>
                    <a:lnTo>
                      <a:pt x="80" y="492"/>
                    </a:lnTo>
                    <a:lnTo>
                      <a:pt x="78" y="490"/>
                    </a:lnTo>
                    <a:lnTo>
                      <a:pt x="72" y="482"/>
                    </a:lnTo>
                    <a:lnTo>
                      <a:pt x="86" y="470"/>
                    </a:lnTo>
                    <a:lnTo>
                      <a:pt x="88" y="466"/>
                    </a:lnTo>
                    <a:lnTo>
                      <a:pt x="88" y="460"/>
                    </a:lnTo>
                    <a:lnTo>
                      <a:pt x="87" y="455"/>
                    </a:lnTo>
                    <a:lnTo>
                      <a:pt x="84" y="452"/>
                    </a:lnTo>
                    <a:lnTo>
                      <a:pt x="84" y="452"/>
                    </a:lnTo>
                    <a:lnTo>
                      <a:pt x="87" y="450"/>
                    </a:lnTo>
                    <a:lnTo>
                      <a:pt x="86" y="447"/>
                    </a:lnTo>
                    <a:lnTo>
                      <a:pt x="83" y="441"/>
                    </a:lnTo>
                    <a:lnTo>
                      <a:pt x="81" y="445"/>
                    </a:lnTo>
                    <a:lnTo>
                      <a:pt x="79" y="445"/>
                    </a:lnTo>
                    <a:lnTo>
                      <a:pt x="78" y="444"/>
                    </a:lnTo>
                    <a:lnTo>
                      <a:pt x="76" y="440"/>
                    </a:lnTo>
                    <a:lnTo>
                      <a:pt x="78" y="439"/>
                    </a:lnTo>
                    <a:lnTo>
                      <a:pt x="74" y="435"/>
                    </a:lnTo>
                    <a:lnTo>
                      <a:pt x="74" y="430"/>
                    </a:lnTo>
                    <a:lnTo>
                      <a:pt x="74" y="424"/>
                    </a:lnTo>
                    <a:lnTo>
                      <a:pt x="74" y="419"/>
                    </a:lnTo>
                    <a:lnTo>
                      <a:pt x="72" y="414"/>
                    </a:lnTo>
                    <a:lnTo>
                      <a:pt x="72" y="412"/>
                    </a:lnTo>
                    <a:lnTo>
                      <a:pt x="76" y="410"/>
                    </a:lnTo>
                    <a:lnTo>
                      <a:pt x="77" y="409"/>
                    </a:lnTo>
                    <a:lnTo>
                      <a:pt x="78" y="407"/>
                    </a:lnTo>
                    <a:lnTo>
                      <a:pt x="78" y="404"/>
                    </a:lnTo>
                    <a:lnTo>
                      <a:pt x="76" y="402"/>
                    </a:lnTo>
                    <a:lnTo>
                      <a:pt x="75" y="406"/>
                    </a:lnTo>
                    <a:lnTo>
                      <a:pt x="74" y="407"/>
                    </a:lnTo>
                    <a:lnTo>
                      <a:pt x="72" y="408"/>
                    </a:lnTo>
                    <a:lnTo>
                      <a:pt x="71" y="408"/>
                    </a:lnTo>
                    <a:lnTo>
                      <a:pt x="70" y="407"/>
                    </a:lnTo>
                    <a:lnTo>
                      <a:pt x="70" y="406"/>
                    </a:lnTo>
                    <a:lnTo>
                      <a:pt x="69" y="404"/>
                    </a:lnTo>
                    <a:lnTo>
                      <a:pt x="67" y="402"/>
                    </a:lnTo>
                    <a:lnTo>
                      <a:pt x="66" y="400"/>
                    </a:lnTo>
                    <a:lnTo>
                      <a:pt x="65" y="399"/>
                    </a:lnTo>
                    <a:lnTo>
                      <a:pt x="65" y="396"/>
                    </a:lnTo>
                    <a:lnTo>
                      <a:pt x="64" y="394"/>
                    </a:lnTo>
                    <a:lnTo>
                      <a:pt x="63" y="393"/>
                    </a:lnTo>
                    <a:lnTo>
                      <a:pt x="61" y="391"/>
                    </a:lnTo>
                    <a:lnTo>
                      <a:pt x="56" y="384"/>
                    </a:lnTo>
                    <a:lnTo>
                      <a:pt x="51" y="373"/>
                    </a:lnTo>
                    <a:lnTo>
                      <a:pt x="48" y="358"/>
                    </a:lnTo>
                    <a:lnTo>
                      <a:pt x="48" y="354"/>
                    </a:lnTo>
                    <a:lnTo>
                      <a:pt x="52" y="353"/>
                    </a:lnTo>
                    <a:lnTo>
                      <a:pt x="56" y="358"/>
                    </a:lnTo>
                    <a:lnTo>
                      <a:pt x="60" y="358"/>
                    </a:lnTo>
                    <a:lnTo>
                      <a:pt x="61" y="354"/>
                    </a:lnTo>
                    <a:lnTo>
                      <a:pt x="61" y="351"/>
                    </a:lnTo>
                    <a:lnTo>
                      <a:pt x="61" y="349"/>
                    </a:lnTo>
                    <a:lnTo>
                      <a:pt x="64" y="346"/>
                    </a:lnTo>
                    <a:lnTo>
                      <a:pt x="64" y="346"/>
                    </a:lnTo>
                    <a:lnTo>
                      <a:pt x="65" y="342"/>
                    </a:lnTo>
                    <a:lnTo>
                      <a:pt x="67" y="335"/>
                    </a:lnTo>
                    <a:lnTo>
                      <a:pt x="67" y="331"/>
                    </a:lnTo>
                    <a:lnTo>
                      <a:pt x="66" y="331"/>
                    </a:lnTo>
                    <a:lnTo>
                      <a:pt x="64" y="338"/>
                    </a:lnTo>
                    <a:lnTo>
                      <a:pt x="63" y="335"/>
                    </a:lnTo>
                    <a:lnTo>
                      <a:pt x="63" y="333"/>
                    </a:lnTo>
                    <a:lnTo>
                      <a:pt x="64" y="331"/>
                    </a:lnTo>
                    <a:lnTo>
                      <a:pt x="64" y="328"/>
                    </a:lnTo>
                    <a:lnTo>
                      <a:pt x="64" y="321"/>
                    </a:lnTo>
                    <a:lnTo>
                      <a:pt x="66" y="315"/>
                    </a:lnTo>
                    <a:lnTo>
                      <a:pt x="71" y="309"/>
                    </a:lnTo>
                    <a:lnTo>
                      <a:pt x="73" y="301"/>
                    </a:lnTo>
                    <a:lnTo>
                      <a:pt x="74" y="300"/>
                    </a:lnTo>
                    <a:lnTo>
                      <a:pt x="76" y="299"/>
                    </a:lnTo>
                    <a:lnTo>
                      <a:pt x="78" y="296"/>
                    </a:lnTo>
                    <a:lnTo>
                      <a:pt x="79" y="292"/>
                    </a:lnTo>
                    <a:lnTo>
                      <a:pt x="83" y="289"/>
                    </a:lnTo>
                    <a:lnTo>
                      <a:pt x="83" y="288"/>
                    </a:lnTo>
                    <a:lnTo>
                      <a:pt x="83" y="285"/>
                    </a:lnTo>
                    <a:lnTo>
                      <a:pt x="82" y="284"/>
                    </a:lnTo>
                    <a:lnTo>
                      <a:pt x="80" y="282"/>
                    </a:lnTo>
                    <a:lnTo>
                      <a:pt x="79" y="283"/>
                    </a:lnTo>
                    <a:lnTo>
                      <a:pt x="78" y="285"/>
                    </a:lnTo>
                    <a:lnTo>
                      <a:pt x="76" y="290"/>
                    </a:lnTo>
                    <a:lnTo>
                      <a:pt x="75" y="292"/>
                    </a:lnTo>
                    <a:lnTo>
                      <a:pt x="71" y="292"/>
                    </a:lnTo>
                    <a:lnTo>
                      <a:pt x="71" y="287"/>
                    </a:lnTo>
                    <a:lnTo>
                      <a:pt x="72" y="279"/>
                    </a:lnTo>
                    <a:lnTo>
                      <a:pt x="71" y="270"/>
                    </a:lnTo>
                    <a:lnTo>
                      <a:pt x="72" y="259"/>
                    </a:lnTo>
                    <a:lnTo>
                      <a:pt x="71" y="254"/>
                    </a:lnTo>
                    <a:lnTo>
                      <a:pt x="71" y="252"/>
                    </a:lnTo>
                    <a:lnTo>
                      <a:pt x="65" y="246"/>
                    </a:lnTo>
                    <a:lnTo>
                      <a:pt x="61" y="236"/>
                    </a:lnTo>
                    <a:lnTo>
                      <a:pt x="58" y="230"/>
                    </a:lnTo>
                    <a:lnTo>
                      <a:pt x="56" y="227"/>
                    </a:lnTo>
                    <a:lnTo>
                      <a:pt x="57" y="225"/>
                    </a:lnTo>
                    <a:lnTo>
                      <a:pt x="62" y="221"/>
                    </a:lnTo>
                    <a:lnTo>
                      <a:pt x="62" y="219"/>
                    </a:lnTo>
                    <a:lnTo>
                      <a:pt x="53" y="210"/>
                    </a:lnTo>
                    <a:lnTo>
                      <a:pt x="50" y="208"/>
                    </a:lnTo>
                    <a:lnTo>
                      <a:pt x="49" y="209"/>
                    </a:lnTo>
                    <a:lnTo>
                      <a:pt x="49" y="209"/>
                    </a:lnTo>
                    <a:lnTo>
                      <a:pt x="52" y="213"/>
                    </a:lnTo>
                    <a:lnTo>
                      <a:pt x="53" y="215"/>
                    </a:lnTo>
                    <a:lnTo>
                      <a:pt x="54" y="216"/>
                    </a:lnTo>
                    <a:lnTo>
                      <a:pt x="55" y="220"/>
                    </a:lnTo>
                    <a:lnTo>
                      <a:pt x="56" y="222"/>
                    </a:lnTo>
                    <a:lnTo>
                      <a:pt x="55" y="224"/>
                    </a:lnTo>
                    <a:lnTo>
                      <a:pt x="52" y="218"/>
                    </a:lnTo>
                    <a:lnTo>
                      <a:pt x="48" y="210"/>
                    </a:lnTo>
                    <a:lnTo>
                      <a:pt x="42" y="206"/>
                    </a:lnTo>
                    <a:lnTo>
                      <a:pt x="34" y="190"/>
                    </a:lnTo>
                    <a:lnTo>
                      <a:pt x="34" y="187"/>
                    </a:lnTo>
                    <a:lnTo>
                      <a:pt x="39" y="190"/>
                    </a:lnTo>
                    <a:lnTo>
                      <a:pt x="44" y="202"/>
                    </a:lnTo>
                    <a:lnTo>
                      <a:pt x="48" y="203"/>
                    </a:lnTo>
                    <a:lnTo>
                      <a:pt x="49" y="204"/>
                    </a:lnTo>
                    <a:lnTo>
                      <a:pt x="51" y="204"/>
                    </a:lnTo>
                    <a:lnTo>
                      <a:pt x="52" y="202"/>
                    </a:lnTo>
                    <a:lnTo>
                      <a:pt x="53" y="201"/>
                    </a:lnTo>
                    <a:lnTo>
                      <a:pt x="51" y="199"/>
                    </a:lnTo>
                    <a:lnTo>
                      <a:pt x="49" y="193"/>
                    </a:lnTo>
                    <a:lnTo>
                      <a:pt x="46" y="192"/>
                    </a:lnTo>
                    <a:lnTo>
                      <a:pt x="44" y="190"/>
                    </a:lnTo>
                    <a:lnTo>
                      <a:pt x="43" y="188"/>
                    </a:lnTo>
                    <a:lnTo>
                      <a:pt x="42" y="186"/>
                    </a:lnTo>
                    <a:lnTo>
                      <a:pt x="41" y="183"/>
                    </a:lnTo>
                    <a:lnTo>
                      <a:pt x="38" y="182"/>
                    </a:lnTo>
                    <a:lnTo>
                      <a:pt x="34" y="181"/>
                    </a:lnTo>
                    <a:lnTo>
                      <a:pt x="32" y="179"/>
                    </a:lnTo>
                    <a:lnTo>
                      <a:pt x="28" y="180"/>
                    </a:lnTo>
                    <a:lnTo>
                      <a:pt x="26" y="178"/>
                    </a:lnTo>
                    <a:lnTo>
                      <a:pt x="22" y="170"/>
                    </a:lnTo>
                    <a:lnTo>
                      <a:pt x="24" y="168"/>
                    </a:lnTo>
                    <a:lnTo>
                      <a:pt x="26" y="165"/>
                    </a:lnTo>
                    <a:lnTo>
                      <a:pt x="26" y="163"/>
                    </a:lnTo>
                    <a:lnTo>
                      <a:pt x="26" y="160"/>
                    </a:lnTo>
                    <a:lnTo>
                      <a:pt x="26" y="155"/>
                    </a:lnTo>
                    <a:lnTo>
                      <a:pt x="26" y="152"/>
                    </a:lnTo>
                    <a:lnTo>
                      <a:pt x="26" y="149"/>
                    </a:lnTo>
                    <a:lnTo>
                      <a:pt x="23" y="149"/>
                    </a:lnTo>
                    <a:lnTo>
                      <a:pt x="22" y="151"/>
                    </a:lnTo>
                    <a:lnTo>
                      <a:pt x="19" y="148"/>
                    </a:lnTo>
                    <a:lnTo>
                      <a:pt x="17" y="144"/>
                    </a:lnTo>
                    <a:lnTo>
                      <a:pt x="14" y="138"/>
                    </a:lnTo>
                    <a:lnTo>
                      <a:pt x="11" y="134"/>
                    </a:lnTo>
                    <a:lnTo>
                      <a:pt x="10" y="130"/>
                    </a:lnTo>
                    <a:lnTo>
                      <a:pt x="7" y="127"/>
                    </a:lnTo>
                    <a:lnTo>
                      <a:pt x="7" y="125"/>
                    </a:lnTo>
                    <a:lnTo>
                      <a:pt x="5" y="121"/>
                    </a:lnTo>
                    <a:lnTo>
                      <a:pt x="5" y="119"/>
                    </a:lnTo>
                    <a:lnTo>
                      <a:pt x="4" y="114"/>
                    </a:lnTo>
                    <a:lnTo>
                      <a:pt x="2" y="109"/>
                    </a:lnTo>
                    <a:lnTo>
                      <a:pt x="0" y="103"/>
                    </a:lnTo>
                    <a:lnTo>
                      <a:pt x="0" y="101"/>
                    </a:lnTo>
                    <a:lnTo>
                      <a:pt x="4" y="100"/>
                    </a:lnTo>
                    <a:lnTo>
                      <a:pt x="26" y="98"/>
                    </a:lnTo>
                    <a:lnTo>
                      <a:pt x="37" y="95"/>
                    </a:lnTo>
                    <a:lnTo>
                      <a:pt x="42" y="94"/>
                    </a:lnTo>
                    <a:lnTo>
                      <a:pt x="47" y="96"/>
                    </a:lnTo>
                    <a:lnTo>
                      <a:pt x="50" y="100"/>
                    </a:lnTo>
                    <a:lnTo>
                      <a:pt x="57" y="110"/>
                    </a:lnTo>
                    <a:lnTo>
                      <a:pt x="59" y="113"/>
                    </a:lnTo>
                    <a:lnTo>
                      <a:pt x="72" y="125"/>
                    </a:lnTo>
                    <a:lnTo>
                      <a:pt x="86" y="140"/>
                    </a:lnTo>
                    <a:lnTo>
                      <a:pt x="90" y="144"/>
                    </a:lnTo>
                    <a:lnTo>
                      <a:pt x="94" y="147"/>
                    </a:lnTo>
                    <a:lnTo>
                      <a:pt x="99" y="148"/>
                    </a:lnTo>
                    <a:lnTo>
                      <a:pt x="106" y="148"/>
                    </a:lnTo>
                    <a:lnTo>
                      <a:pt x="124" y="144"/>
                    </a:lnTo>
                    <a:lnTo>
                      <a:pt x="129" y="144"/>
                    </a:lnTo>
                    <a:lnTo>
                      <a:pt x="132" y="146"/>
                    </a:lnTo>
                    <a:lnTo>
                      <a:pt x="133" y="149"/>
                    </a:lnTo>
                    <a:lnTo>
                      <a:pt x="134" y="153"/>
                    </a:lnTo>
                    <a:lnTo>
                      <a:pt x="135" y="160"/>
                    </a:lnTo>
                    <a:lnTo>
                      <a:pt x="137" y="163"/>
                    </a:lnTo>
                    <a:lnTo>
                      <a:pt x="140" y="164"/>
                    </a:lnTo>
                    <a:lnTo>
                      <a:pt x="154" y="162"/>
                    </a:lnTo>
                    <a:lnTo>
                      <a:pt x="189" y="151"/>
                    </a:lnTo>
                    <a:lnTo>
                      <a:pt x="205" y="149"/>
                    </a:lnTo>
                    <a:lnTo>
                      <a:pt x="208" y="149"/>
                    </a:lnTo>
                    <a:lnTo>
                      <a:pt x="212" y="150"/>
                    </a:lnTo>
                    <a:lnTo>
                      <a:pt x="215" y="153"/>
                    </a:lnTo>
                    <a:lnTo>
                      <a:pt x="217" y="156"/>
                    </a:lnTo>
                    <a:lnTo>
                      <a:pt x="218" y="160"/>
                    </a:lnTo>
                    <a:lnTo>
                      <a:pt x="219" y="163"/>
                    </a:lnTo>
                    <a:lnTo>
                      <a:pt x="219" y="169"/>
                    </a:lnTo>
                    <a:lnTo>
                      <a:pt x="217" y="178"/>
                    </a:lnTo>
                    <a:lnTo>
                      <a:pt x="217" y="180"/>
                    </a:lnTo>
                    <a:lnTo>
                      <a:pt x="207" y="202"/>
                    </a:lnTo>
                    <a:lnTo>
                      <a:pt x="207" y="206"/>
                    </a:lnTo>
                    <a:lnTo>
                      <a:pt x="207" y="209"/>
                    </a:lnTo>
                    <a:lnTo>
                      <a:pt x="209" y="213"/>
                    </a:lnTo>
                    <a:lnTo>
                      <a:pt x="213" y="214"/>
                    </a:lnTo>
                    <a:lnTo>
                      <a:pt x="224" y="217"/>
                    </a:lnTo>
                    <a:lnTo>
                      <a:pt x="229" y="220"/>
                    </a:lnTo>
                    <a:lnTo>
                      <a:pt x="232" y="222"/>
                    </a:lnTo>
                    <a:lnTo>
                      <a:pt x="235" y="225"/>
                    </a:lnTo>
                    <a:lnTo>
                      <a:pt x="237" y="229"/>
                    </a:lnTo>
                    <a:lnTo>
                      <a:pt x="239" y="232"/>
                    </a:lnTo>
                    <a:lnTo>
                      <a:pt x="240" y="236"/>
                    </a:lnTo>
                    <a:lnTo>
                      <a:pt x="240" y="240"/>
                    </a:lnTo>
                    <a:lnTo>
                      <a:pt x="239" y="248"/>
                    </a:lnTo>
                    <a:lnTo>
                      <a:pt x="237" y="255"/>
                    </a:lnTo>
                    <a:lnTo>
                      <a:pt x="237" y="259"/>
                    </a:lnTo>
                    <a:lnTo>
                      <a:pt x="238" y="262"/>
                    </a:lnTo>
                    <a:lnTo>
                      <a:pt x="240" y="266"/>
                    </a:lnTo>
                    <a:lnTo>
                      <a:pt x="244" y="268"/>
                    </a:lnTo>
                    <a:lnTo>
                      <a:pt x="244" y="268"/>
                    </a:lnTo>
                    <a:lnTo>
                      <a:pt x="255" y="270"/>
                    </a:lnTo>
                    <a:lnTo>
                      <a:pt x="259" y="270"/>
                    </a:lnTo>
                    <a:lnTo>
                      <a:pt x="262" y="270"/>
                    </a:lnTo>
                    <a:lnTo>
                      <a:pt x="267" y="268"/>
                    </a:lnTo>
                    <a:lnTo>
                      <a:pt x="271" y="266"/>
                    </a:lnTo>
                    <a:lnTo>
                      <a:pt x="288" y="251"/>
                    </a:lnTo>
                    <a:lnTo>
                      <a:pt x="295" y="247"/>
                    </a:lnTo>
                    <a:lnTo>
                      <a:pt x="300" y="246"/>
                    </a:lnTo>
                    <a:lnTo>
                      <a:pt x="304" y="247"/>
                    </a:lnTo>
                    <a:lnTo>
                      <a:pt x="330" y="254"/>
                    </a:lnTo>
                    <a:lnTo>
                      <a:pt x="334" y="254"/>
                    </a:lnTo>
                    <a:lnTo>
                      <a:pt x="337" y="252"/>
                    </a:lnTo>
                    <a:lnTo>
                      <a:pt x="342" y="247"/>
                    </a:lnTo>
                    <a:lnTo>
                      <a:pt x="354" y="229"/>
                    </a:lnTo>
                    <a:lnTo>
                      <a:pt x="360" y="221"/>
                    </a:lnTo>
                    <a:lnTo>
                      <a:pt x="408" y="183"/>
                    </a:lnTo>
                    <a:lnTo>
                      <a:pt x="432" y="160"/>
                    </a:lnTo>
                    <a:lnTo>
                      <a:pt x="437" y="155"/>
                    </a:lnTo>
                    <a:lnTo>
                      <a:pt x="441" y="153"/>
                    </a:lnTo>
                    <a:lnTo>
                      <a:pt x="461" y="146"/>
                    </a:lnTo>
                    <a:lnTo>
                      <a:pt x="464" y="143"/>
                    </a:lnTo>
                    <a:lnTo>
                      <a:pt x="468" y="140"/>
                    </a:lnTo>
                    <a:lnTo>
                      <a:pt x="470" y="134"/>
                    </a:lnTo>
                    <a:lnTo>
                      <a:pt x="469" y="131"/>
                    </a:lnTo>
                    <a:lnTo>
                      <a:pt x="466" y="128"/>
                    </a:lnTo>
                    <a:lnTo>
                      <a:pt x="448" y="117"/>
                    </a:lnTo>
                    <a:lnTo>
                      <a:pt x="444" y="115"/>
                    </a:lnTo>
                    <a:lnTo>
                      <a:pt x="441" y="112"/>
                    </a:lnTo>
                    <a:lnTo>
                      <a:pt x="440" y="108"/>
                    </a:lnTo>
                    <a:lnTo>
                      <a:pt x="441" y="103"/>
                    </a:lnTo>
                    <a:lnTo>
                      <a:pt x="447" y="98"/>
                    </a:lnTo>
                    <a:lnTo>
                      <a:pt x="454" y="93"/>
                    </a:lnTo>
                    <a:lnTo>
                      <a:pt x="476" y="80"/>
                    </a:lnTo>
                    <a:lnTo>
                      <a:pt x="506" y="67"/>
                    </a:lnTo>
                    <a:lnTo>
                      <a:pt x="509" y="64"/>
                    </a:lnTo>
                    <a:lnTo>
                      <a:pt x="514" y="60"/>
                    </a:lnTo>
                    <a:lnTo>
                      <a:pt x="518" y="53"/>
                    </a:lnTo>
                    <a:lnTo>
                      <a:pt x="521" y="49"/>
                    </a:lnTo>
                    <a:lnTo>
                      <a:pt x="522" y="43"/>
                    </a:lnTo>
                    <a:lnTo>
                      <a:pt x="522" y="35"/>
                    </a:lnTo>
                    <a:lnTo>
                      <a:pt x="522" y="32"/>
                    </a:lnTo>
                    <a:lnTo>
                      <a:pt x="521" y="27"/>
                    </a:lnTo>
                    <a:lnTo>
                      <a:pt x="516" y="16"/>
                    </a:lnTo>
                    <a:lnTo>
                      <a:pt x="516" y="11"/>
                    </a:lnTo>
                    <a:lnTo>
                      <a:pt x="517" y="8"/>
                    </a:lnTo>
                    <a:lnTo>
                      <a:pt x="519" y="4"/>
                    </a:lnTo>
                    <a:lnTo>
                      <a:pt x="523" y="3"/>
                    </a:lnTo>
                    <a:lnTo>
                      <a:pt x="526" y="1"/>
                    </a:lnTo>
                    <a:lnTo>
                      <a:pt x="537" y="0"/>
                    </a:lnTo>
                    <a:lnTo>
                      <a:pt x="559" y="3"/>
                    </a:lnTo>
                    <a:lnTo>
                      <a:pt x="559" y="3"/>
                    </a:lnTo>
                    <a:close/>
                  </a:path>
                </a:pathLst>
              </a:custGeom>
              <a:solidFill>
                <a:srgbClr val="5EAD8E"/>
              </a:solid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grpSp>
        <p:sp>
          <p:nvSpPr>
            <p:cNvPr id="267" name="Oval 266">
              <a:extLst>
                <a:ext uri="{FF2B5EF4-FFF2-40B4-BE49-F238E27FC236}"/>
              </a:extLst>
            </p:cNvPr>
            <p:cNvSpPr/>
            <p:nvPr/>
          </p:nvSpPr>
          <p:spPr>
            <a:xfrm>
              <a:off x="7024884" y="2925347"/>
              <a:ext cx="118718" cy="118715"/>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700" b="1" dirty="0">
                  <a:solidFill>
                    <a:srgbClr val="FFFFFF"/>
                  </a:solidFill>
                  <a:latin typeface="Arial" panose="020B0604020202020204" pitchFamily="34" charset="0"/>
                  <a:cs typeface="Arial" pitchFamily="34" charset="0"/>
                </a:rPr>
                <a:t>W1</a:t>
              </a:r>
            </a:p>
          </p:txBody>
        </p:sp>
        <p:sp>
          <p:nvSpPr>
            <p:cNvPr id="268" name="Oval 267">
              <a:extLst>
                <a:ext uri="{FF2B5EF4-FFF2-40B4-BE49-F238E27FC236}"/>
              </a:extLst>
            </p:cNvPr>
            <p:cNvSpPr/>
            <p:nvPr/>
          </p:nvSpPr>
          <p:spPr>
            <a:xfrm>
              <a:off x="7365327" y="2914872"/>
              <a:ext cx="118718" cy="118715"/>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700" b="1" dirty="0">
                  <a:solidFill>
                    <a:srgbClr val="FFFFFF"/>
                  </a:solidFill>
                  <a:latin typeface="Arial" panose="020B0604020202020204" pitchFamily="34" charset="0"/>
                  <a:cs typeface="Arial" pitchFamily="34" charset="0"/>
                </a:rPr>
                <a:t>C2</a:t>
              </a:r>
            </a:p>
          </p:txBody>
        </p:sp>
        <p:sp>
          <p:nvSpPr>
            <p:cNvPr id="269" name="Oval 268">
              <a:extLst>
                <a:ext uri="{FF2B5EF4-FFF2-40B4-BE49-F238E27FC236}"/>
              </a:extLst>
            </p:cNvPr>
            <p:cNvSpPr/>
            <p:nvPr/>
          </p:nvSpPr>
          <p:spPr>
            <a:xfrm>
              <a:off x="7309460" y="2733308"/>
              <a:ext cx="118718" cy="118715"/>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700" b="1" dirty="0">
                  <a:solidFill>
                    <a:srgbClr val="FFFFFF"/>
                  </a:solidFill>
                  <a:latin typeface="Arial" panose="020B0604020202020204" pitchFamily="34" charset="0"/>
                  <a:cs typeface="Arial" pitchFamily="34" charset="0"/>
                </a:rPr>
                <a:t>C1</a:t>
              </a:r>
            </a:p>
          </p:txBody>
        </p:sp>
        <p:sp>
          <p:nvSpPr>
            <p:cNvPr id="270" name="Oval 269">
              <a:extLst>
                <a:ext uri="{FF2B5EF4-FFF2-40B4-BE49-F238E27FC236}"/>
              </a:extLst>
            </p:cNvPr>
            <p:cNvSpPr/>
            <p:nvPr/>
          </p:nvSpPr>
          <p:spPr>
            <a:xfrm>
              <a:off x="7508487" y="2632050"/>
              <a:ext cx="118718" cy="118715"/>
            </a:xfrm>
            <a:prstGeom prst="ellipse">
              <a:avLst/>
            </a:prstGeom>
            <a:solidFill>
              <a:srgbClr val="9B1717"/>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spcBef>
                  <a:spcPts val="0"/>
                </a:spcBef>
                <a:spcAft>
                  <a:spcPts val="0"/>
                </a:spcAft>
                <a:defRPr/>
              </a:pPr>
              <a:r>
                <a:rPr lang="en-US" sz="700" b="1" dirty="0">
                  <a:solidFill>
                    <a:srgbClr val="FFFFFF"/>
                  </a:solidFill>
                  <a:latin typeface="Arial" panose="020B0604020202020204" pitchFamily="34" charset="0"/>
                  <a:cs typeface="Arial" pitchFamily="34" charset="0"/>
                </a:rPr>
                <a:t>E1</a:t>
              </a:r>
            </a:p>
          </p:txBody>
        </p:sp>
      </p:grpSp>
      <p:sp>
        <p:nvSpPr>
          <p:cNvPr id="286" name="Rectangle 2">
            <a:extLst>
              <a:ext uri="{FF2B5EF4-FFF2-40B4-BE49-F238E27FC236}"/>
            </a:extLst>
          </p:cNvPr>
          <p:cNvSpPr>
            <a:spLocks noChangeArrowheads="1"/>
          </p:cNvSpPr>
          <p:nvPr/>
        </p:nvSpPr>
        <p:spPr bwMode="gray">
          <a:xfrm>
            <a:off x="7032625" y="2565400"/>
            <a:ext cx="1863725" cy="1854200"/>
          </a:xfrm>
          <a:prstGeom prst="rect">
            <a:avLst/>
          </a:prstGeom>
          <a:solidFill>
            <a:schemeClr val="bg1"/>
          </a:solidFill>
          <a:ln w="9525" algn="ctr">
            <a:solidFill>
              <a:schemeClr val="accent3"/>
            </a:solidFill>
            <a:prstDash val="dash"/>
            <a:miter lim="800000"/>
            <a:headEnd/>
            <a:tailEnd/>
          </a:ln>
          <a:effectLst/>
          <a:extLst/>
        </p:spPr>
        <p:txBody>
          <a:bodyPr tIns="91440" bIns="91440" anchor="ctr"/>
          <a:lstStyle/>
          <a:p>
            <a:pPr eaLnBrk="1" fontAlgn="auto" hangingPunct="1">
              <a:spcBef>
                <a:spcPts val="100"/>
              </a:spcBef>
              <a:spcAft>
                <a:spcPts val="0"/>
              </a:spcAft>
              <a:buClr>
                <a:srgbClr val="048962"/>
              </a:buClr>
              <a:buSzPct val="100000"/>
              <a:defRPr/>
            </a:pPr>
            <a:endParaRPr lang="en-US" sz="1200" dirty="0">
              <a:solidFill>
                <a:srgbClr val="000000"/>
              </a:solidFill>
              <a:latin typeface="Arial"/>
              <a:cs typeface="+mn-cs"/>
            </a:endParaRPr>
          </a:p>
        </p:txBody>
      </p:sp>
      <p:sp>
        <p:nvSpPr>
          <p:cNvPr id="79879" name="Rectangle 2"/>
          <p:cNvSpPr>
            <a:spLocks noChangeArrowheads="1"/>
          </p:cNvSpPr>
          <p:nvPr/>
        </p:nvSpPr>
        <p:spPr bwMode="gray">
          <a:xfrm>
            <a:off x="7092950" y="2565400"/>
            <a:ext cx="1736725"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rIns="0" bIns="91440"/>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ts val="100"/>
              </a:spcBef>
              <a:spcAft>
                <a:spcPct val="0"/>
              </a:spcAft>
              <a:buClr>
                <a:srgbClr val="048962"/>
              </a:buClr>
              <a:buFontTx/>
              <a:buNone/>
            </a:pPr>
            <a:r>
              <a:rPr lang="en-US" sz="1200">
                <a:solidFill>
                  <a:srgbClr val="000000"/>
                </a:solidFill>
                <a:latin typeface="Arial" panose="020B0604020202020204" pitchFamily="34" charset="0"/>
              </a:rPr>
              <a:t>Planning for MoC roll out in unclustered providers</a:t>
            </a:r>
          </a:p>
        </p:txBody>
      </p:sp>
      <p:grpSp>
        <p:nvGrpSpPr>
          <p:cNvPr id="288" name="Group 287">
            <a:extLst>
              <a:ext uri="{FF2B5EF4-FFF2-40B4-BE49-F238E27FC236}"/>
            </a:extLst>
          </p:cNvPr>
          <p:cNvGrpSpPr/>
          <p:nvPr/>
        </p:nvGrpSpPr>
        <p:grpSpPr>
          <a:xfrm>
            <a:off x="7442284" y="3409481"/>
            <a:ext cx="1090550" cy="883615"/>
            <a:chOff x="1698625" y="1851025"/>
            <a:chExt cx="5592763" cy="4619626"/>
          </a:xfrm>
          <a:solidFill>
            <a:srgbClr val="5EAD8E"/>
          </a:solidFill>
        </p:grpSpPr>
        <p:sp>
          <p:nvSpPr>
            <p:cNvPr id="289" name="Freeform 5">
              <a:extLst>
                <a:ext uri="{FF2B5EF4-FFF2-40B4-BE49-F238E27FC236}"/>
              </a:extLst>
            </p:cNvPr>
            <p:cNvSpPr>
              <a:spLocks noEditPoints="1"/>
            </p:cNvSpPr>
            <p:nvPr/>
          </p:nvSpPr>
          <p:spPr bwMode="auto">
            <a:xfrm>
              <a:off x="2009775" y="3376613"/>
              <a:ext cx="1587500" cy="2946400"/>
            </a:xfrm>
            <a:custGeom>
              <a:avLst/>
              <a:gdLst>
                <a:gd name="T0" fmla="*/ 993 w 1000"/>
                <a:gd name="T1" fmla="*/ 1856 h 1856"/>
                <a:gd name="T2" fmla="*/ 992 w 1000"/>
                <a:gd name="T3" fmla="*/ 1856 h 1856"/>
                <a:gd name="T4" fmla="*/ 990 w 1000"/>
                <a:gd name="T5" fmla="*/ 1855 h 1856"/>
                <a:gd name="T6" fmla="*/ 989 w 1000"/>
                <a:gd name="T7" fmla="*/ 1853 h 1856"/>
                <a:gd name="T8" fmla="*/ 987 w 1000"/>
                <a:gd name="T9" fmla="*/ 1851 h 1856"/>
                <a:gd name="T10" fmla="*/ 989 w 1000"/>
                <a:gd name="T11" fmla="*/ 1850 h 1856"/>
                <a:gd name="T12" fmla="*/ 993 w 1000"/>
                <a:gd name="T13" fmla="*/ 1844 h 1856"/>
                <a:gd name="T14" fmla="*/ 995 w 1000"/>
                <a:gd name="T15" fmla="*/ 1845 h 1856"/>
                <a:gd name="T16" fmla="*/ 997 w 1000"/>
                <a:gd name="T17" fmla="*/ 1846 h 1856"/>
                <a:gd name="T18" fmla="*/ 999 w 1000"/>
                <a:gd name="T19" fmla="*/ 1850 h 1856"/>
                <a:gd name="T20" fmla="*/ 999 w 1000"/>
                <a:gd name="T21" fmla="*/ 1850 h 1856"/>
                <a:gd name="T22" fmla="*/ 1000 w 1000"/>
                <a:gd name="T23" fmla="*/ 1852 h 1856"/>
                <a:gd name="T24" fmla="*/ 999 w 1000"/>
                <a:gd name="T25" fmla="*/ 1854 h 1856"/>
                <a:gd name="T26" fmla="*/ 996 w 1000"/>
                <a:gd name="T27" fmla="*/ 1856 h 1856"/>
                <a:gd name="T28" fmla="*/ 993 w 1000"/>
                <a:gd name="T29" fmla="*/ 1856 h 1856"/>
                <a:gd name="T30" fmla="*/ 993 w 1000"/>
                <a:gd name="T31" fmla="*/ 1856 h 1856"/>
                <a:gd name="T32" fmla="*/ 229 w 1000"/>
                <a:gd name="T33" fmla="*/ 408 h 1856"/>
                <a:gd name="T34" fmla="*/ 228 w 1000"/>
                <a:gd name="T35" fmla="*/ 410 h 1856"/>
                <a:gd name="T36" fmla="*/ 226 w 1000"/>
                <a:gd name="T37" fmla="*/ 409 h 1856"/>
                <a:gd name="T38" fmla="*/ 224 w 1000"/>
                <a:gd name="T39" fmla="*/ 408 h 1856"/>
                <a:gd name="T40" fmla="*/ 222 w 1000"/>
                <a:gd name="T41" fmla="*/ 408 h 1856"/>
                <a:gd name="T42" fmla="*/ 221 w 1000"/>
                <a:gd name="T43" fmla="*/ 409 h 1856"/>
                <a:gd name="T44" fmla="*/ 221 w 1000"/>
                <a:gd name="T45" fmla="*/ 405 h 1856"/>
                <a:gd name="T46" fmla="*/ 222 w 1000"/>
                <a:gd name="T47" fmla="*/ 403 h 1856"/>
                <a:gd name="T48" fmla="*/ 224 w 1000"/>
                <a:gd name="T49" fmla="*/ 403 h 1856"/>
                <a:gd name="T50" fmla="*/ 225 w 1000"/>
                <a:gd name="T51" fmla="*/ 404 h 1856"/>
                <a:gd name="T52" fmla="*/ 229 w 1000"/>
                <a:gd name="T53" fmla="*/ 408 h 1856"/>
                <a:gd name="T54" fmla="*/ 229 w 1000"/>
                <a:gd name="T55" fmla="*/ 408 h 1856"/>
                <a:gd name="T56" fmla="*/ 6 w 1000"/>
                <a:gd name="T57" fmla="*/ 10 h 1856"/>
                <a:gd name="T58" fmla="*/ 7 w 1000"/>
                <a:gd name="T59" fmla="*/ 12 h 1856"/>
                <a:gd name="T60" fmla="*/ 3 w 1000"/>
                <a:gd name="T61" fmla="*/ 7 h 1856"/>
                <a:gd name="T62" fmla="*/ 0 w 1000"/>
                <a:gd name="T63" fmla="*/ 6 h 1856"/>
                <a:gd name="T64" fmla="*/ 0 w 1000"/>
                <a:gd name="T65" fmla="*/ 3 h 1856"/>
                <a:gd name="T66" fmla="*/ 0 w 1000"/>
                <a:gd name="T67" fmla="*/ 1 h 1856"/>
                <a:gd name="T68" fmla="*/ 1 w 1000"/>
                <a:gd name="T69" fmla="*/ 0 h 1856"/>
                <a:gd name="T70" fmla="*/ 5 w 1000"/>
                <a:gd name="T71" fmla="*/ 6 h 1856"/>
                <a:gd name="T72" fmla="*/ 6 w 1000"/>
                <a:gd name="T73" fmla="*/ 8 h 1856"/>
                <a:gd name="T74" fmla="*/ 6 w 1000"/>
                <a:gd name="T75" fmla="*/ 10 h 1856"/>
                <a:gd name="T76" fmla="*/ 6 w 1000"/>
                <a:gd name="T77" fmla="*/ 10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0" h="1856">
                  <a:moveTo>
                    <a:pt x="993" y="1856"/>
                  </a:moveTo>
                  <a:lnTo>
                    <a:pt x="992" y="1856"/>
                  </a:lnTo>
                  <a:lnTo>
                    <a:pt x="990" y="1855"/>
                  </a:lnTo>
                  <a:lnTo>
                    <a:pt x="989" y="1853"/>
                  </a:lnTo>
                  <a:lnTo>
                    <a:pt x="987" y="1851"/>
                  </a:lnTo>
                  <a:lnTo>
                    <a:pt x="989" y="1850"/>
                  </a:lnTo>
                  <a:lnTo>
                    <a:pt x="993" y="1844"/>
                  </a:lnTo>
                  <a:lnTo>
                    <a:pt x="995" y="1845"/>
                  </a:lnTo>
                  <a:lnTo>
                    <a:pt x="997" y="1846"/>
                  </a:lnTo>
                  <a:lnTo>
                    <a:pt x="999" y="1850"/>
                  </a:lnTo>
                  <a:lnTo>
                    <a:pt x="999" y="1850"/>
                  </a:lnTo>
                  <a:lnTo>
                    <a:pt x="1000" y="1852"/>
                  </a:lnTo>
                  <a:lnTo>
                    <a:pt x="999" y="1854"/>
                  </a:lnTo>
                  <a:lnTo>
                    <a:pt x="996" y="1856"/>
                  </a:lnTo>
                  <a:lnTo>
                    <a:pt x="993" y="1856"/>
                  </a:lnTo>
                  <a:lnTo>
                    <a:pt x="993" y="1856"/>
                  </a:lnTo>
                  <a:close/>
                  <a:moveTo>
                    <a:pt x="229" y="408"/>
                  </a:moveTo>
                  <a:lnTo>
                    <a:pt x="228" y="410"/>
                  </a:lnTo>
                  <a:lnTo>
                    <a:pt x="226" y="409"/>
                  </a:lnTo>
                  <a:lnTo>
                    <a:pt x="224" y="408"/>
                  </a:lnTo>
                  <a:lnTo>
                    <a:pt x="222" y="408"/>
                  </a:lnTo>
                  <a:lnTo>
                    <a:pt x="221" y="409"/>
                  </a:lnTo>
                  <a:lnTo>
                    <a:pt x="221" y="405"/>
                  </a:lnTo>
                  <a:lnTo>
                    <a:pt x="222" y="403"/>
                  </a:lnTo>
                  <a:lnTo>
                    <a:pt x="224" y="403"/>
                  </a:lnTo>
                  <a:lnTo>
                    <a:pt x="225" y="404"/>
                  </a:lnTo>
                  <a:lnTo>
                    <a:pt x="229" y="408"/>
                  </a:lnTo>
                  <a:lnTo>
                    <a:pt x="229" y="408"/>
                  </a:lnTo>
                  <a:close/>
                  <a:moveTo>
                    <a:pt x="6" y="10"/>
                  </a:moveTo>
                  <a:lnTo>
                    <a:pt x="7" y="12"/>
                  </a:lnTo>
                  <a:lnTo>
                    <a:pt x="3" y="7"/>
                  </a:lnTo>
                  <a:lnTo>
                    <a:pt x="0" y="6"/>
                  </a:lnTo>
                  <a:lnTo>
                    <a:pt x="0" y="3"/>
                  </a:lnTo>
                  <a:lnTo>
                    <a:pt x="0" y="1"/>
                  </a:lnTo>
                  <a:lnTo>
                    <a:pt x="1" y="0"/>
                  </a:lnTo>
                  <a:lnTo>
                    <a:pt x="5" y="6"/>
                  </a:lnTo>
                  <a:lnTo>
                    <a:pt x="6" y="8"/>
                  </a:lnTo>
                  <a:lnTo>
                    <a:pt x="6" y="10"/>
                  </a:lnTo>
                  <a:lnTo>
                    <a:pt x="6" y="10"/>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90" name="Freeform 6">
              <a:extLst>
                <a:ext uri="{FF2B5EF4-FFF2-40B4-BE49-F238E27FC236}"/>
              </a:extLst>
            </p:cNvPr>
            <p:cNvSpPr>
              <a:spLocks/>
            </p:cNvSpPr>
            <p:nvPr/>
          </p:nvSpPr>
          <p:spPr bwMode="auto">
            <a:xfrm>
              <a:off x="4105275" y="5586413"/>
              <a:ext cx="1090613" cy="725488"/>
            </a:xfrm>
            <a:custGeom>
              <a:avLst/>
              <a:gdLst>
                <a:gd name="T0" fmla="*/ 634 w 687"/>
                <a:gd name="T1" fmla="*/ 430 h 457"/>
                <a:gd name="T2" fmla="*/ 594 w 687"/>
                <a:gd name="T3" fmla="*/ 454 h 457"/>
                <a:gd name="T4" fmla="*/ 584 w 687"/>
                <a:gd name="T5" fmla="*/ 457 h 457"/>
                <a:gd name="T6" fmla="*/ 558 w 687"/>
                <a:gd name="T7" fmla="*/ 454 h 457"/>
                <a:gd name="T8" fmla="*/ 520 w 687"/>
                <a:gd name="T9" fmla="*/ 402 h 457"/>
                <a:gd name="T10" fmla="*/ 449 w 687"/>
                <a:gd name="T11" fmla="*/ 407 h 457"/>
                <a:gd name="T12" fmla="*/ 335 w 687"/>
                <a:gd name="T13" fmla="*/ 396 h 457"/>
                <a:gd name="T14" fmla="*/ 292 w 687"/>
                <a:gd name="T15" fmla="*/ 389 h 457"/>
                <a:gd name="T16" fmla="*/ 256 w 687"/>
                <a:gd name="T17" fmla="*/ 371 h 457"/>
                <a:gd name="T18" fmla="*/ 169 w 687"/>
                <a:gd name="T19" fmla="*/ 371 h 457"/>
                <a:gd name="T20" fmla="*/ 155 w 687"/>
                <a:gd name="T21" fmla="*/ 375 h 457"/>
                <a:gd name="T22" fmla="*/ 139 w 687"/>
                <a:gd name="T23" fmla="*/ 374 h 457"/>
                <a:gd name="T24" fmla="*/ 112 w 687"/>
                <a:gd name="T25" fmla="*/ 374 h 457"/>
                <a:gd name="T26" fmla="*/ 96 w 687"/>
                <a:gd name="T27" fmla="*/ 378 h 457"/>
                <a:gd name="T28" fmla="*/ 86 w 687"/>
                <a:gd name="T29" fmla="*/ 375 h 457"/>
                <a:gd name="T30" fmla="*/ 80 w 687"/>
                <a:gd name="T31" fmla="*/ 382 h 457"/>
                <a:gd name="T32" fmla="*/ 75 w 687"/>
                <a:gd name="T33" fmla="*/ 386 h 457"/>
                <a:gd name="T34" fmla="*/ 64 w 687"/>
                <a:gd name="T35" fmla="*/ 382 h 457"/>
                <a:gd name="T36" fmla="*/ 57 w 687"/>
                <a:gd name="T37" fmla="*/ 383 h 457"/>
                <a:gd name="T38" fmla="*/ 53 w 687"/>
                <a:gd name="T39" fmla="*/ 390 h 457"/>
                <a:gd name="T40" fmla="*/ 46 w 687"/>
                <a:gd name="T41" fmla="*/ 394 h 457"/>
                <a:gd name="T42" fmla="*/ 43 w 687"/>
                <a:gd name="T43" fmla="*/ 392 h 457"/>
                <a:gd name="T44" fmla="*/ 42 w 687"/>
                <a:gd name="T45" fmla="*/ 387 h 457"/>
                <a:gd name="T46" fmla="*/ 42 w 687"/>
                <a:gd name="T47" fmla="*/ 384 h 457"/>
                <a:gd name="T48" fmla="*/ 34 w 687"/>
                <a:gd name="T49" fmla="*/ 386 h 457"/>
                <a:gd name="T50" fmla="*/ 22 w 687"/>
                <a:gd name="T51" fmla="*/ 386 h 457"/>
                <a:gd name="T52" fmla="*/ 16 w 687"/>
                <a:gd name="T53" fmla="*/ 385 h 457"/>
                <a:gd name="T54" fmla="*/ 0 w 687"/>
                <a:gd name="T55" fmla="*/ 369 h 457"/>
                <a:gd name="T56" fmla="*/ 4 w 687"/>
                <a:gd name="T57" fmla="*/ 346 h 457"/>
                <a:gd name="T58" fmla="*/ 1 w 687"/>
                <a:gd name="T59" fmla="*/ 326 h 457"/>
                <a:gd name="T60" fmla="*/ 1 w 687"/>
                <a:gd name="T61" fmla="*/ 317 h 457"/>
                <a:gd name="T62" fmla="*/ 6 w 687"/>
                <a:gd name="T63" fmla="*/ 271 h 457"/>
                <a:gd name="T64" fmla="*/ 4 w 687"/>
                <a:gd name="T65" fmla="*/ 256 h 457"/>
                <a:gd name="T66" fmla="*/ 0 w 687"/>
                <a:gd name="T67" fmla="*/ 241 h 457"/>
                <a:gd name="T68" fmla="*/ 2 w 687"/>
                <a:gd name="T69" fmla="*/ 231 h 457"/>
                <a:gd name="T70" fmla="*/ 9 w 687"/>
                <a:gd name="T71" fmla="*/ 219 h 457"/>
                <a:gd name="T72" fmla="*/ 55 w 687"/>
                <a:gd name="T73" fmla="*/ 175 h 457"/>
                <a:gd name="T74" fmla="*/ 63 w 687"/>
                <a:gd name="T75" fmla="*/ 166 h 457"/>
                <a:gd name="T76" fmla="*/ 69 w 687"/>
                <a:gd name="T77" fmla="*/ 153 h 457"/>
                <a:gd name="T78" fmla="*/ 74 w 687"/>
                <a:gd name="T79" fmla="*/ 145 h 457"/>
                <a:gd name="T80" fmla="*/ 82 w 687"/>
                <a:gd name="T81" fmla="*/ 140 h 457"/>
                <a:gd name="T82" fmla="*/ 101 w 687"/>
                <a:gd name="T83" fmla="*/ 135 h 457"/>
                <a:gd name="T84" fmla="*/ 117 w 687"/>
                <a:gd name="T85" fmla="*/ 126 h 457"/>
                <a:gd name="T86" fmla="*/ 122 w 687"/>
                <a:gd name="T87" fmla="*/ 120 h 457"/>
                <a:gd name="T88" fmla="*/ 125 w 687"/>
                <a:gd name="T89" fmla="*/ 112 h 457"/>
                <a:gd name="T90" fmla="*/ 127 w 687"/>
                <a:gd name="T91" fmla="*/ 100 h 457"/>
                <a:gd name="T92" fmla="*/ 126 w 687"/>
                <a:gd name="T93" fmla="*/ 86 h 457"/>
                <a:gd name="T94" fmla="*/ 121 w 687"/>
                <a:gd name="T95" fmla="*/ 60 h 457"/>
                <a:gd name="T96" fmla="*/ 125 w 687"/>
                <a:gd name="T97" fmla="*/ 48 h 457"/>
                <a:gd name="T98" fmla="*/ 141 w 687"/>
                <a:gd name="T99" fmla="*/ 39 h 457"/>
                <a:gd name="T100" fmla="*/ 145 w 687"/>
                <a:gd name="T101" fmla="*/ 35 h 457"/>
                <a:gd name="T102" fmla="*/ 147 w 687"/>
                <a:gd name="T103" fmla="*/ 25 h 457"/>
                <a:gd name="T104" fmla="*/ 193 w 687"/>
                <a:gd name="T105" fmla="*/ 31 h 457"/>
                <a:gd name="T106" fmla="*/ 215 w 687"/>
                <a:gd name="T107" fmla="*/ 41 h 457"/>
                <a:gd name="T108" fmla="*/ 274 w 687"/>
                <a:gd name="T109" fmla="*/ 48 h 457"/>
                <a:gd name="T110" fmla="*/ 687 w 687"/>
                <a:gd name="T111" fmla="*/ 0 h 457"/>
                <a:gd name="T112" fmla="*/ 634 w 687"/>
                <a:gd name="T113" fmla="*/ 43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7" h="457">
                  <a:moveTo>
                    <a:pt x="634" y="430"/>
                  </a:moveTo>
                  <a:lnTo>
                    <a:pt x="634" y="430"/>
                  </a:lnTo>
                  <a:lnTo>
                    <a:pt x="614" y="442"/>
                  </a:lnTo>
                  <a:lnTo>
                    <a:pt x="594" y="454"/>
                  </a:lnTo>
                  <a:lnTo>
                    <a:pt x="590" y="456"/>
                  </a:lnTo>
                  <a:lnTo>
                    <a:pt x="584" y="457"/>
                  </a:lnTo>
                  <a:lnTo>
                    <a:pt x="560" y="456"/>
                  </a:lnTo>
                  <a:lnTo>
                    <a:pt x="558" y="454"/>
                  </a:lnTo>
                  <a:lnTo>
                    <a:pt x="544" y="435"/>
                  </a:lnTo>
                  <a:lnTo>
                    <a:pt x="520" y="402"/>
                  </a:lnTo>
                  <a:lnTo>
                    <a:pt x="514" y="398"/>
                  </a:lnTo>
                  <a:lnTo>
                    <a:pt x="449" y="407"/>
                  </a:lnTo>
                  <a:lnTo>
                    <a:pt x="377" y="399"/>
                  </a:lnTo>
                  <a:lnTo>
                    <a:pt x="335" y="396"/>
                  </a:lnTo>
                  <a:lnTo>
                    <a:pt x="300" y="392"/>
                  </a:lnTo>
                  <a:lnTo>
                    <a:pt x="292" y="389"/>
                  </a:lnTo>
                  <a:lnTo>
                    <a:pt x="265" y="373"/>
                  </a:lnTo>
                  <a:lnTo>
                    <a:pt x="256" y="371"/>
                  </a:lnTo>
                  <a:lnTo>
                    <a:pt x="203" y="371"/>
                  </a:lnTo>
                  <a:lnTo>
                    <a:pt x="169" y="371"/>
                  </a:lnTo>
                  <a:lnTo>
                    <a:pt x="165" y="371"/>
                  </a:lnTo>
                  <a:lnTo>
                    <a:pt x="155" y="375"/>
                  </a:lnTo>
                  <a:lnTo>
                    <a:pt x="150" y="375"/>
                  </a:lnTo>
                  <a:lnTo>
                    <a:pt x="139" y="374"/>
                  </a:lnTo>
                  <a:lnTo>
                    <a:pt x="128" y="373"/>
                  </a:lnTo>
                  <a:lnTo>
                    <a:pt x="112" y="374"/>
                  </a:lnTo>
                  <a:lnTo>
                    <a:pt x="99" y="378"/>
                  </a:lnTo>
                  <a:lnTo>
                    <a:pt x="96" y="378"/>
                  </a:lnTo>
                  <a:lnTo>
                    <a:pt x="89" y="376"/>
                  </a:lnTo>
                  <a:lnTo>
                    <a:pt x="86" y="375"/>
                  </a:lnTo>
                  <a:lnTo>
                    <a:pt x="83" y="377"/>
                  </a:lnTo>
                  <a:lnTo>
                    <a:pt x="80" y="382"/>
                  </a:lnTo>
                  <a:lnTo>
                    <a:pt x="78" y="385"/>
                  </a:lnTo>
                  <a:lnTo>
                    <a:pt x="75" y="386"/>
                  </a:lnTo>
                  <a:lnTo>
                    <a:pt x="71" y="385"/>
                  </a:lnTo>
                  <a:lnTo>
                    <a:pt x="64" y="382"/>
                  </a:lnTo>
                  <a:lnTo>
                    <a:pt x="61" y="382"/>
                  </a:lnTo>
                  <a:lnTo>
                    <a:pt x="57" y="383"/>
                  </a:lnTo>
                  <a:lnTo>
                    <a:pt x="55" y="387"/>
                  </a:lnTo>
                  <a:lnTo>
                    <a:pt x="53" y="390"/>
                  </a:lnTo>
                  <a:lnTo>
                    <a:pt x="50" y="393"/>
                  </a:lnTo>
                  <a:lnTo>
                    <a:pt x="46" y="394"/>
                  </a:lnTo>
                  <a:lnTo>
                    <a:pt x="44" y="393"/>
                  </a:lnTo>
                  <a:lnTo>
                    <a:pt x="43" y="392"/>
                  </a:lnTo>
                  <a:lnTo>
                    <a:pt x="42" y="390"/>
                  </a:lnTo>
                  <a:lnTo>
                    <a:pt x="42" y="387"/>
                  </a:lnTo>
                  <a:lnTo>
                    <a:pt x="42" y="385"/>
                  </a:lnTo>
                  <a:lnTo>
                    <a:pt x="42" y="384"/>
                  </a:lnTo>
                  <a:lnTo>
                    <a:pt x="38" y="385"/>
                  </a:lnTo>
                  <a:lnTo>
                    <a:pt x="34" y="386"/>
                  </a:lnTo>
                  <a:lnTo>
                    <a:pt x="28" y="385"/>
                  </a:lnTo>
                  <a:lnTo>
                    <a:pt x="22" y="386"/>
                  </a:lnTo>
                  <a:lnTo>
                    <a:pt x="19" y="386"/>
                  </a:lnTo>
                  <a:lnTo>
                    <a:pt x="16" y="385"/>
                  </a:lnTo>
                  <a:lnTo>
                    <a:pt x="9" y="379"/>
                  </a:lnTo>
                  <a:lnTo>
                    <a:pt x="0" y="369"/>
                  </a:lnTo>
                  <a:lnTo>
                    <a:pt x="0" y="364"/>
                  </a:lnTo>
                  <a:lnTo>
                    <a:pt x="4" y="346"/>
                  </a:lnTo>
                  <a:lnTo>
                    <a:pt x="4" y="337"/>
                  </a:lnTo>
                  <a:lnTo>
                    <a:pt x="1" y="326"/>
                  </a:lnTo>
                  <a:lnTo>
                    <a:pt x="0" y="321"/>
                  </a:lnTo>
                  <a:lnTo>
                    <a:pt x="1" y="317"/>
                  </a:lnTo>
                  <a:lnTo>
                    <a:pt x="2" y="310"/>
                  </a:lnTo>
                  <a:lnTo>
                    <a:pt x="6" y="271"/>
                  </a:lnTo>
                  <a:lnTo>
                    <a:pt x="6" y="263"/>
                  </a:lnTo>
                  <a:lnTo>
                    <a:pt x="4" y="256"/>
                  </a:lnTo>
                  <a:lnTo>
                    <a:pt x="2" y="249"/>
                  </a:lnTo>
                  <a:lnTo>
                    <a:pt x="0" y="241"/>
                  </a:lnTo>
                  <a:lnTo>
                    <a:pt x="0" y="237"/>
                  </a:lnTo>
                  <a:lnTo>
                    <a:pt x="2" y="231"/>
                  </a:lnTo>
                  <a:lnTo>
                    <a:pt x="5" y="225"/>
                  </a:lnTo>
                  <a:lnTo>
                    <a:pt x="9" y="219"/>
                  </a:lnTo>
                  <a:lnTo>
                    <a:pt x="36" y="191"/>
                  </a:lnTo>
                  <a:lnTo>
                    <a:pt x="55" y="175"/>
                  </a:lnTo>
                  <a:lnTo>
                    <a:pt x="60" y="168"/>
                  </a:lnTo>
                  <a:lnTo>
                    <a:pt x="63" y="166"/>
                  </a:lnTo>
                  <a:lnTo>
                    <a:pt x="64" y="162"/>
                  </a:lnTo>
                  <a:lnTo>
                    <a:pt x="69" y="153"/>
                  </a:lnTo>
                  <a:lnTo>
                    <a:pt x="71" y="148"/>
                  </a:lnTo>
                  <a:lnTo>
                    <a:pt x="74" y="145"/>
                  </a:lnTo>
                  <a:lnTo>
                    <a:pt x="79" y="142"/>
                  </a:lnTo>
                  <a:lnTo>
                    <a:pt x="82" y="140"/>
                  </a:lnTo>
                  <a:lnTo>
                    <a:pt x="94" y="138"/>
                  </a:lnTo>
                  <a:lnTo>
                    <a:pt x="101" y="135"/>
                  </a:lnTo>
                  <a:lnTo>
                    <a:pt x="109" y="131"/>
                  </a:lnTo>
                  <a:lnTo>
                    <a:pt x="117" y="126"/>
                  </a:lnTo>
                  <a:lnTo>
                    <a:pt x="119" y="123"/>
                  </a:lnTo>
                  <a:lnTo>
                    <a:pt x="122" y="120"/>
                  </a:lnTo>
                  <a:lnTo>
                    <a:pt x="124" y="116"/>
                  </a:lnTo>
                  <a:lnTo>
                    <a:pt x="125" y="112"/>
                  </a:lnTo>
                  <a:lnTo>
                    <a:pt x="127" y="107"/>
                  </a:lnTo>
                  <a:lnTo>
                    <a:pt x="127" y="100"/>
                  </a:lnTo>
                  <a:lnTo>
                    <a:pt x="127" y="94"/>
                  </a:lnTo>
                  <a:lnTo>
                    <a:pt x="126" y="86"/>
                  </a:lnTo>
                  <a:lnTo>
                    <a:pt x="121" y="63"/>
                  </a:lnTo>
                  <a:lnTo>
                    <a:pt x="121" y="60"/>
                  </a:lnTo>
                  <a:lnTo>
                    <a:pt x="122" y="54"/>
                  </a:lnTo>
                  <a:lnTo>
                    <a:pt x="125" y="48"/>
                  </a:lnTo>
                  <a:lnTo>
                    <a:pt x="130" y="45"/>
                  </a:lnTo>
                  <a:lnTo>
                    <a:pt x="141" y="39"/>
                  </a:lnTo>
                  <a:lnTo>
                    <a:pt x="143" y="37"/>
                  </a:lnTo>
                  <a:lnTo>
                    <a:pt x="145" y="35"/>
                  </a:lnTo>
                  <a:lnTo>
                    <a:pt x="147" y="31"/>
                  </a:lnTo>
                  <a:lnTo>
                    <a:pt x="147" y="25"/>
                  </a:lnTo>
                  <a:lnTo>
                    <a:pt x="147" y="2"/>
                  </a:lnTo>
                  <a:lnTo>
                    <a:pt x="193" y="31"/>
                  </a:lnTo>
                  <a:lnTo>
                    <a:pt x="206" y="38"/>
                  </a:lnTo>
                  <a:lnTo>
                    <a:pt x="215" y="41"/>
                  </a:lnTo>
                  <a:lnTo>
                    <a:pt x="230" y="46"/>
                  </a:lnTo>
                  <a:lnTo>
                    <a:pt x="274" y="48"/>
                  </a:lnTo>
                  <a:lnTo>
                    <a:pt x="666" y="6"/>
                  </a:lnTo>
                  <a:lnTo>
                    <a:pt x="687" y="0"/>
                  </a:lnTo>
                  <a:lnTo>
                    <a:pt x="634" y="430"/>
                  </a:lnTo>
                  <a:lnTo>
                    <a:pt x="634" y="430"/>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291" name="Freeform 7">
              <a:extLst>
                <a:ext uri="{FF2B5EF4-FFF2-40B4-BE49-F238E27FC236}"/>
              </a:extLst>
            </p:cNvPr>
            <p:cNvSpPr>
              <a:spLocks/>
            </p:cNvSpPr>
            <p:nvPr/>
          </p:nvSpPr>
          <p:spPr bwMode="auto">
            <a:xfrm>
              <a:off x="3663950" y="3259138"/>
              <a:ext cx="1679575" cy="2403474"/>
            </a:xfrm>
            <a:custGeom>
              <a:avLst/>
              <a:gdLst>
                <a:gd name="T0" fmla="*/ 493 w 1058"/>
                <a:gd name="T1" fmla="*/ 1507 h 1514"/>
                <a:gd name="T2" fmla="*/ 357 w 1058"/>
                <a:gd name="T3" fmla="*/ 1406 h 1514"/>
                <a:gd name="T4" fmla="*/ 327 w 1058"/>
                <a:gd name="T5" fmla="*/ 1353 h 1514"/>
                <a:gd name="T6" fmla="*/ 349 w 1058"/>
                <a:gd name="T7" fmla="*/ 1292 h 1514"/>
                <a:gd name="T8" fmla="*/ 332 w 1058"/>
                <a:gd name="T9" fmla="*/ 1262 h 1514"/>
                <a:gd name="T10" fmla="*/ 239 w 1058"/>
                <a:gd name="T11" fmla="*/ 1141 h 1514"/>
                <a:gd name="T12" fmla="*/ 243 w 1058"/>
                <a:gd name="T13" fmla="*/ 1101 h 1514"/>
                <a:gd name="T14" fmla="*/ 246 w 1058"/>
                <a:gd name="T15" fmla="*/ 1052 h 1514"/>
                <a:gd name="T16" fmla="*/ 256 w 1058"/>
                <a:gd name="T17" fmla="*/ 1031 h 1514"/>
                <a:gd name="T18" fmla="*/ 252 w 1058"/>
                <a:gd name="T19" fmla="*/ 932 h 1514"/>
                <a:gd name="T20" fmla="*/ 220 w 1058"/>
                <a:gd name="T21" fmla="*/ 922 h 1514"/>
                <a:gd name="T22" fmla="*/ 181 w 1058"/>
                <a:gd name="T23" fmla="*/ 926 h 1514"/>
                <a:gd name="T24" fmla="*/ 169 w 1058"/>
                <a:gd name="T25" fmla="*/ 903 h 1514"/>
                <a:gd name="T26" fmla="*/ 170 w 1058"/>
                <a:gd name="T27" fmla="*/ 866 h 1514"/>
                <a:gd name="T28" fmla="*/ 113 w 1058"/>
                <a:gd name="T29" fmla="*/ 855 h 1514"/>
                <a:gd name="T30" fmla="*/ 71 w 1058"/>
                <a:gd name="T31" fmla="*/ 849 h 1514"/>
                <a:gd name="T32" fmla="*/ 36 w 1058"/>
                <a:gd name="T33" fmla="*/ 763 h 1514"/>
                <a:gd name="T34" fmla="*/ 15 w 1058"/>
                <a:gd name="T35" fmla="*/ 711 h 1514"/>
                <a:gd name="T36" fmla="*/ 1 w 1058"/>
                <a:gd name="T37" fmla="*/ 697 h 1514"/>
                <a:gd name="T38" fmla="*/ 6 w 1058"/>
                <a:gd name="T39" fmla="*/ 605 h 1514"/>
                <a:gd name="T40" fmla="*/ 4 w 1058"/>
                <a:gd name="T41" fmla="*/ 583 h 1514"/>
                <a:gd name="T42" fmla="*/ 19 w 1058"/>
                <a:gd name="T43" fmla="*/ 560 h 1514"/>
                <a:gd name="T44" fmla="*/ 36 w 1058"/>
                <a:gd name="T45" fmla="*/ 520 h 1514"/>
                <a:gd name="T46" fmla="*/ 71 w 1058"/>
                <a:gd name="T47" fmla="*/ 523 h 1514"/>
                <a:gd name="T48" fmla="*/ 152 w 1058"/>
                <a:gd name="T49" fmla="*/ 529 h 1514"/>
                <a:gd name="T50" fmla="*/ 184 w 1058"/>
                <a:gd name="T51" fmla="*/ 530 h 1514"/>
                <a:gd name="T52" fmla="*/ 192 w 1058"/>
                <a:gd name="T53" fmla="*/ 506 h 1514"/>
                <a:gd name="T54" fmla="*/ 189 w 1058"/>
                <a:gd name="T55" fmla="*/ 481 h 1514"/>
                <a:gd name="T56" fmla="*/ 285 w 1058"/>
                <a:gd name="T57" fmla="*/ 425 h 1514"/>
                <a:gd name="T58" fmla="*/ 320 w 1058"/>
                <a:gd name="T59" fmla="*/ 399 h 1514"/>
                <a:gd name="T60" fmla="*/ 339 w 1058"/>
                <a:gd name="T61" fmla="*/ 370 h 1514"/>
                <a:gd name="T62" fmla="*/ 360 w 1058"/>
                <a:gd name="T63" fmla="*/ 365 h 1514"/>
                <a:gd name="T64" fmla="*/ 458 w 1058"/>
                <a:gd name="T65" fmla="*/ 366 h 1514"/>
                <a:gd name="T66" fmla="*/ 462 w 1058"/>
                <a:gd name="T67" fmla="*/ 345 h 1514"/>
                <a:gd name="T68" fmla="*/ 450 w 1058"/>
                <a:gd name="T69" fmla="*/ 309 h 1514"/>
                <a:gd name="T70" fmla="*/ 439 w 1058"/>
                <a:gd name="T71" fmla="*/ 271 h 1514"/>
                <a:gd name="T72" fmla="*/ 403 w 1058"/>
                <a:gd name="T73" fmla="*/ 219 h 1514"/>
                <a:gd name="T74" fmla="*/ 403 w 1058"/>
                <a:gd name="T75" fmla="*/ 171 h 1514"/>
                <a:gd name="T76" fmla="*/ 421 w 1058"/>
                <a:gd name="T77" fmla="*/ 157 h 1514"/>
                <a:gd name="T78" fmla="*/ 452 w 1058"/>
                <a:gd name="T79" fmla="*/ 122 h 1514"/>
                <a:gd name="T80" fmla="*/ 476 w 1058"/>
                <a:gd name="T81" fmla="*/ 110 h 1514"/>
                <a:gd name="T82" fmla="*/ 479 w 1058"/>
                <a:gd name="T83" fmla="*/ 94 h 1514"/>
                <a:gd name="T84" fmla="*/ 469 w 1058"/>
                <a:gd name="T85" fmla="*/ 74 h 1514"/>
                <a:gd name="T86" fmla="*/ 440 w 1058"/>
                <a:gd name="T87" fmla="*/ 50 h 1514"/>
                <a:gd name="T88" fmla="*/ 446 w 1058"/>
                <a:gd name="T89" fmla="*/ 27 h 1514"/>
                <a:gd name="T90" fmla="*/ 472 w 1058"/>
                <a:gd name="T91" fmla="*/ 3 h 1514"/>
                <a:gd name="T92" fmla="*/ 490 w 1058"/>
                <a:gd name="T93" fmla="*/ 14 h 1514"/>
                <a:gd name="T94" fmla="*/ 520 w 1058"/>
                <a:gd name="T95" fmla="*/ 12 h 1514"/>
                <a:gd name="T96" fmla="*/ 539 w 1058"/>
                <a:gd name="T97" fmla="*/ 48 h 1514"/>
                <a:gd name="T98" fmla="*/ 614 w 1058"/>
                <a:gd name="T99" fmla="*/ 88 h 1514"/>
                <a:gd name="T100" fmla="*/ 651 w 1058"/>
                <a:gd name="T101" fmla="*/ 122 h 1514"/>
                <a:gd name="T102" fmla="*/ 704 w 1058"/>
                <a:gd name="T103" fmla="*/ 132 h 1514"/>
                <a:gd name="T104" fmla="*/ 771 w 1058"/>
                <a:gd name="T105" fmla="*/ 173 h 1514"/>
                <a:gd name="T106" fmla="*/ 812 w 1058"/>
                <a:gd name="T107" fmla="*/ 172 h 1514"/>
                <a:gd name="T108" fmla="*/ 854 w 1058"/>
                <a:gd name="T109" fmla="*/ 214 h 1514"/>
                <a:gd name="T110" fmla="*/ 916 w 1058"/>
                <a:gd name="T111" fmla="*/ 246 h 1514"/>
                <a:gd name="T112" fmla="*/ 924 w 1058"/>
                <a:gd name="T113" fmla="*/ 515 h 1514"/>
                <a:gd name="T114" fmla="*/ 1038 w 1058"/>
                <a:gd name="T115" fmla="*/ 617 h 1514"/>
                <a:gd name="T116" fmla="*/ 1058 w 1058"/>
                <a:gd name="T117" fmla="*/ 721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8" h="1514">
                  <a:moveTo>
                    <a:pt x="965" y="1466"/>
                  </a:moveTo>
                  <a:lnTo>
                    <a:pt x="944" y="1472"/>
                  </a:lnTo>
                  <a:lnTo>
                    <a:pt x="552" y="1514"/>
                  </a:lnTo>
                  <a:lnTo>
                    <a:pt x="508" y="1512"/>
                  </a:lnTo>
                  <a:lnTo>
                    <a:pt x="493" y="1507"/>
                  </a:lnTo>
                  <a:lnTo>
                    <a:pt x="484" y="1504"/>
                  </a:lnTo>
                  <a:lnTo>
                    <a:pt x="471" y="1497"/>
                  </a:lnTo>
                  <a:lnTo>
                    <a:pt x="425" y="1468"/>
                  </a:lnTo>
                  <a:lnTo>
                    <a:pt x="422" y="1467"/>
                  </a:lnTo>
                  <a:lnTo>
                    <a:pt x="357" y="1406"/>
                  </a:lnTo>
                  <a:lnTo>
                    <a:pt x="340" y="1378"/>
                  </a:lnTo>
                  <a:lnTo>
                    <a:pt x="331" y="1367"/>
                  </a:lnTo>
                  <a:lnTo>
                    <a:pt x="327" y="1363"/>
                  </a:lnTo>
                  <a:lnTo>
                    <a:pt x="327" y="1357"/>
                  </a:lnTo>
                  <a:lnTo>
                    <a:pt x="327" y="1353"/>
                  </a:lnTo>
                  <a:lnTo>
                    <a:pt x="334" y="1322"/>
                  </a:lnTo>
                  <a:lnTo>
                    <a:pt x="336" y="1315"/>
                  </a:lnTo>
                  <a:lnTo>
                    <a:pt x="347" y="1299"/>
                  </a:lnTo>
                  <a:lnTo>
                    <a:pt x="348" y="1297"/>
                  </a:lnTo>
                  <a:lnTo>
                    <a:pt x="349" y="1292"/>
                  </a:lnTo>
                  <a:lnTo>
                    <a:pt x="350" y="1289"/>
                  </a:lnTo>
                  <a:lnTo>
                    <a:pt x="349" y="1285"/>
                  </a:lnTo>
                  <a:lnTo>
                    <a:pt x="348" y="1282"/>
                  </a:lnTo>
                  <a:lnTo>
                    <a:pt x="346" y="1277"/>
                  </a:lnTo>
                  <a:lnTo>
                    <a:pt x="332" y="1262"/>
                  </a:lnTo>
                  <a:lnTo>
                    <a:pt x="322" y="1248"/>
                  </a:lnTo>
                  <a:lnTo>
                    <a:pt x="317" y="1239"/>
                  </a:lnTo>
                  <a:lnTo>
                    <a:pt x="307" y="1229"/>
                  </a:lnTo>
                  <a:lnTo>
                    <a:pt x="283" y="1207"/>
                  </a:lnTo>
                  <a:lnTo>
                    <a:pt x="239" y="1141"/>
                  </a:lnTo>
                  <a:lnTo>
                    <a:pt x="237" y="1138"/>
                  </a:lnTo>
                  <a:lnTo>
                    <a:pt x="237" y="1134"/>
                  </a:lnTo>
                  <a:lnTo>
                    <a:pt x="236" y="1130"/>
                  </a:lnTo>
                  <a:lnTo>
                    <a:pt x="237" y="1126"/>
                  </a:lnTo>
                  <a:lnTo>
                    <a:pt x="243" y="1101"/>
                  </a:lnTo>
                  <a:lnTo>
                    <a:pt x="245" y="1093"/>
                  </a:lnTo>
                  <a:lnTo>
                    <a:pt x="242" y="1063"/>
                  </a:lnTo>
                  <a:lnTo>
                    <a:pt x="243" y="1059"/>
                  </a:lnTo>
                  <a:lnTo>
                    <a:pt x="244" y="1055"/>
                  </a:lnTo>
                  <a:lnTo>
                    <a:pt x="246" y="1052"/>
                  </a:lnTo>
                  <a:lnTo>
                    <a:pt x="251" y="1045"/>
                  </a:lnTo>
                  <a:lnTo>
                    <a:pt x="253" y="1041"/>
                  </a:lnTo>
                  <a:lnTo>
                    <a:pt x="255" y="1038"/>
                  </a:lnTo>
                  <a:lnTo>
                    <a:pt x="256" y="1034"/>
                  </a:lnTo>
                  <a:lnTo>
                    <a:pt x="256" y="1031"/>
                  </a:lnTo>
                  <a:lnTo>
                    <a:pt x="256" y="1027"/>
                  </a:lnTo>
                  <a:lnTo>
                    <a:pt x="248" y="966"/>
                  </a:lnTo>
                  <a:lnTo>
                    <a:pt x="248" y="959"/>
                  </a:lnTo>
                  <a:lnTo>
                    <a:pt x="252" y="933"/>
                  </a:lnTo>
                  <a:lnTo>
                    <a:pt x="252" y="932"/>
                  </a:lnTo>
                  <a:lnTo>
                    <a:pt x="250" y="928"/>
                  </a:lnTo>
                  <a:lnTo>
                    <a:pt x="246" y="927"/>
                  </a:lnTo>
                  <a:lnTo>
                    <a:pt x="243" y="926"/>
                  </a:lnTo>
                  <a:lnTo>
                    <a:pt x="223" y="922"/>
                  </a:lnTo>
                  <a:lnTo>
                    <a:pt x="220" y="922"/>
                  </a:lnTo>
                  <a:lnTo>
                    <a:pt x="216" y="923"/>
                  </a:lnTo>
                  <a:lnTo>
                    <a:pt x="196" y="928"/>
                  </a:lnTo>
                  <a:lnTo>
                    <a:pt x="192" y="928"/>
                  </a:lnTo>
                  <a:lnTo>
                    <a:pt x="188" y="928"/>
                  </a:lnTo>
                  <a:lnTo>
                    <a:pt x="181" y="926"/>
                  </a:lnTo>
                  <a:lnTo>
                    <a:pt x="177" y="923"/>
                  </a:lnTo>
                  <a:lnTo>
                    <a:pt x="174" y="919"/>
                  </a:lnTo>
                  <a:lnTo>
                    <a:pt x="170" y="913"/>
                  </a:lnTo>
                  <a:lnTo>
                    <a:pt x="169" y="909"/>
                  </a:lnTo>
                  <a:lnTo>
                    <a:pt x="169" y="903"/>
                  </a:lnTo>
                  <a:lnTo>
                    <a:pt x="170" y="886"/>
                  </a:lnTo>
                  <a:lnTo>
                    <a:pt x="172" y="877"/>
                  </a:lnTo>
                  <a:lnTo>
                    <a:pt x="173" y="874"/>
                  </a:lnTo>
                  <a:lnTo>
                    <a:pt x="172" y="871"/>
                  </a:lnTo>
                  <a:lnTo>
                    <a:pt x="170" y="866"/>
                  </a:lnTo>
                  <a:lnTo>
                    <a:pt x="165" y="863"/>
                  </a:lnTo>
                  <a:lnTo>
                    <a:pt x="162" y="861"/>
                  </a:lnTo>
                  <a:lnTo>
                    <a:pt x="157" y="859"/>
                  </a:lnTo>
                  <a:lnTo>
                    <a:pt x="149" y="857"/>
                  </a:lnTo>
                  <a:lnTo>
                    <a:pt x="113" y="855"/>
                  </a:lnTo>
                  <a:lnTo>
                    <a:pt x="87" y="855"/>
                  </a:lnTo>
                  <a:lnTo>
                    <a:pt x="81" y="854"/>
                  </a:lnTo>
                  <a:lnTo>
                    <a:pt x="78" y="853"/>
                  </a:lnTo>
                  <a:lnTo>
                    <a:pt x="74" y="851"/>
                  </a:lnTo>
                  <a:lnTo>
                    <a:pt x="71" y="849"/>
                  </a:lnTo>
                  <a:lnTo>
                    <a:pt x="67" y="846"/>
                  </a:lnTo>
                  <a:lnTo>
                    <a:pt x="64" y="843"/>
                  </a:lnTo>
                  <a:lnTo>
                    <a:pt x="63" y="841"/>
                  </a:lnTo>
                  <a:lnTo>
                    <a:pt x="41" y="789"/>
                  </a:lnTo>
                  <a:lnTo>
                    <a:pt x="36" y="763"/>
                  </a:lnTo>
                  <a:lnTo>
                    <a:pt x="35" y="758"/>
                  </a:lnTo>
                  <a:lnTo>
                    <a:pt x="31" y="749"/>
                  </a:lnTo>
                  <a:lnTo>
                    <a:pt x="22" y="720"/>
                  </a:lnTo>
                  <a:lnTo>
                    <a:pt x="19" y="714"/>
                  </a:lnTo>
                  <a:lnTo>
                    <a:pt x="15" y="711"/>
                  </a:lnTo>
                  <a:lnTo>
                    <a:pt x="11" y="708"/>
                  </a:lnTo>
                  <a:lnTo>
                    <a:pt x="5" y="705"/>
                  </a:lnTo>
                  <a:lnTo>
                    <a:pt x="4" y="703"/>
                  </a:lnTo>
                  <a:lnTo>
                    <a:pt x="2" y="700"/>
                  </a:lnTo>
                  <a:lnTo>
                    <a:pt x="1" y="697"/>
                  </a:lnTo>
                  <a:lnTo>
                    <a:pt x="0" y="684"/>
                  </a:lnTo>
                  <a:lnTo>
                    <a:pt x="2" y="667"/>
                  </a:lnTo>
                  <a:lnTo>
                    <a:pt x="1" y="651"/>
                  </a:lnTo>
                  <a:lnTo>
                    <a:pt x="4" y="619"/>
                  </a:lnTo>
                  <a:lnTo>
                    <a:pt x="6" y="605"/>
                  </a:lnTo>
                  <a:lnTo>
                    <a:pt x="7" y="598"/>
                  </a:lnTo>
                  <a:lnTo>
                    <a:pt x="6" y="594"/>
                  </a:lnTo>
                  <a:lnTo>
                    <a:pt x="4" y="588"/>
                  </a:lnTo>
                  <a:lnTo>
                    <a:pt x="4" y="586"/>
                  </a:lnTo>
                  <a:lnTo>
                    <a:pt x="4" y="583"/>
                  </a:lnTo>
                  <a:lnTo>
                    <a:pt x="5" y="581"/>
                  </a:lnTo>
                  <a:lnTo>
                    <a:pt x="8" y="576"/>
                  </a:lnTo>
                  <a:lnTo>
                    <a:pt x="15" y="566"/>
                  </a:lnTo>
                  <a:lnTo>
                    <a:pt x="16" y="566"/>
                  </a:lnTo>
                  <a:lnTo>
                    <a:pt x="19" y="560"/>
                  </a:lnTo>
                  <a:lnTo>
                    <a:pt x="20" y="552"/>
                  </a:lnTo>
                  <a:lnTo>
                    <a:pt x="20" y="545"/>
                  </a:lnTo>
                  <a:lnTo>
                    <a:pt x="23" y="538"/>
                  </a:lnTo>
                  <a:lnTo>
                    <a:pt x="34" y="522"/>
                  </a:lnTo>
                  <a:lnTo>
                    <a:pt x="36" y="520"/>
                  </a:lnTo>
                  <a:lnTo>
                    <a:pt x="41" y="516"/>
                  </a:lnTo>
                  <a:lnTo>
                    <a:pt x="45" y="514"/>
                  </a:lnTo>
                  <a:lnTo>
                    <a:pt x="49" y="514"/>
                  </a:lnTo>
                  <a:lnTo>
                    <a:pt x="52" y="515"/>
                  </a:lnTo>
                  <a:lnTo>
                    <a:pt x="71" y="523"/>
                  </a:lnTo>
                  <a:lnTo>
                    <a:pt x="78" y="526"/>
                  </a:lnTo>
                  <a:lnTo>
                    <a:pt x="89" y="529"/>
                  </a:lnTo>
                  <a:lnTo>
                    <a:pt x="120" y="532"/>
                  </a:lnTo>
                  <a:lnTo>
                    <a:pt x="128" y="532"/>
                  </a:lnTo>
                  <a:lnTo>
                    <a:pt x="152" y="529"/>
                  </a:lnTo>
                  <a:lnTo>
                    <a:pt x="160" y="529"/>
                  </a:lnTo>
                  <a:lnTo>
                    <a:pt x="173" y="532"/>
                  </a:lnTo>
                  <a:lnTo>
                    <a:pt x="177" y="532"/>
                  </a:lnTo>
                  <a:lnTo>
                    <a:pt x="179" y="531"/>
                  </a:lnTo>
                  <a:lnTo>
                    <a:pt x="184" y="530"/>
                  </a:lnTo>
                  <a:lnTo>
                    <a:pt x="188" y="526"/>
                  </a:lnTo>
                  <a:lnTo>
                    <a:pt x="192" y="522"/>
                  </a:lnTo>
                  <a:lnTo>
                    <a:pt x="193" y="515"/>
                  </a:lnTo>
                  <a:lnTo>
                    <a:pt x="194" y="510"/>
                  </a:lnTo>
                  <a:lnTo>
                    <a:pt x="192" y="506"/>
                  </a:lnTo>
                  <a:lnTo>
                    <a:pt x="188" y="498"/>
                  </a:lnTo>
                  <a:lnTo>
                    <a:pt x="186" y="494"/>
                  </a:lnTo>
                  <a:lnTo>
                    <a:pt x="186" y="491"/>
                  </a:lnTo>
                  <a:lnTo>
                    <a:pt x="186" y="486"/>
                  </a:lnTo>
                  <a:lnTo>
                    <a:pt x="189" y="481"/>
                  </a:lnTo>
                  <a:lnTo>
                    <a:pt x="206" y="459"/>
                  </a:lnTo>
                  <a:lnTo>
                    <a:pt x="222" y="443"/>
                  </a:lnTo>
                  <a:lnTo>
                    <a:pt x="225" y="440"/>
                  </a:lnTo>
                  <a:lnTo>
                    <a:pt x="229" y="439"/>
                  </a:lnTo>
                  <a:lnTo>
                    <a:pt x="285" y="425"/>
                  </a:lnTo>
                  <a:lnTo>
                    <a:pt x="292" y="422"/>
                  </a:lnTo>
                  <a:lnTo>
                    <a:pt x="296" y="419"/>
                  </a:lnTo>
                  <a:lnTo>
                    <a:pt x="305" y="410"/>
                  </a:lnTo>
                  <a:lnTo>
                    <a:pt x="317" y="402"/>
                  </a:lnTo>
                  <a:lnTo>
                    <a:pt x="320" y="399"/>
                  </a:lnTo>
                  <a:lnTo>
                    <a:pt x="324" y="393"/>
                  </a:lnTo>
                  <a:lnTo>
                    <a:pt x="329" y="381"/>
                  </a:lnTo>
                  <a:lnTo>
                    <a:pt x="335" y="375"/>
                  </a:lnTo>
                  <a:lnTo>
                    <a:pt x="337" y="372"/>
                  </a:lnTo>
                  <a:lnTo>
                    <a:pt x="339" y="370"/>
                  </a:lnTo>
                  <a:lnTo>
                    <a:pt x="342" y="369"/>
                  </a:lnTo>
                  <a:lnTo>
                    <a:pt x="345" y="367"/>
                  </a:lnTo>
                  <a:lnTo>
                    <a:pt x="349" y="366"/>
                  </a:lnTo>
                  <a:lnTo>
                    <a:pt x="352" y="365"/>
                  </a:lnTo>
                  <a:lnTo>
                    <a:pt x="360" y="365"/>
                  </a:lnTo>
                  <a:lnTo>
                    <a:pt x="396" y="370"/>
                  </a:lnTo>
                  <a:lnTo>
                    <a:pt x="436" y="367"/>
                  </a:lnTo>
                  <a:lnTo>
                    <a:pt x="451" y="368"/>
                  </a:lnTo>
                  <a:lnTo>
                    <a:pt x="455" y="368"/>
                  </a:lnTo>
                  <a:lnTo>
                    <a:pt x="458" y="366"/>
                  </a:lnTo>
                  <a:lnTo>
                    <a:pt x="460" y="363"/>
                  </a:lnTo>
                  <a:lnTo>
                    <a:pt x="461" y="360"/>
                  </a:lnTo>
                  <a:lnTo>
                    <a:pt x="462" y="356"/>
                  </a:lnTo>
                  <a:lnTo>
                    <a:pt x="462" y="351"/>
                  </a:lnTo>
                  <a:lnTo>
                    <a:pt x="462" y="345"/>
                  </a:lnTo>
                  <a:lnTo>
                    <a:pt x="460" y="333"/>
                  </a:lnTo>
                  <a:lnTo>
                    <a:pt x="458" y="327"/>
                  </a:lnTo>
                  <a:lnTo>
                    <a:pt x="456" y="321"/>
                  </a:lnTo>
                  <a:lnTo>
                    <a:pt x="451" y="313"/>
                  </a:lnTo>
                  <a:lnTo>
                    <a:pt x="450" y="309"/>
                  </a:lnTo>
                  <a:lnTo>
                    <a:pt x="451" y="303"/>
                  </a:lnTo>
                  <a:lnTo>
                    <a:pt x="453" y="294"/>
                  </a:lnTo>
                  <a:lnTo>
                    <a:pt x="452" y="288"/>
                  </a:lnTo>
                  <a:lnTo>
                    <a:pt x="452" y="288"/>
                  </a:lnTo>
                  <a:lnTo>
                    <a:pt x="439" y="271"/>
                  </a:lnTo>
                  <a:lnTo>
                    <a:pt x="425" y="246"/>
                  </a:lnTo>
                  <a:lnTo>
                    <a:pt x="420" y="241"/>
                  </a:lnTo>
                  <a:lnTo>
                    <a:pt x="407" y="227"/>
                  </a:lnTo>
                  <a:lnTo>
                    <a:pt x="404" y="224"/>
                  </a:lnTo>
                  <a:lnTo>
                    <a:pt x="403" y="219"/>
                  </a:lnTo>
                  <a:lnTo>
                    <a:pt x="402" y="216"/>
                  </a:lnTo>
                  <a:lnTo>
                    <a:pt x="402" y="212"/>
                  </a:lnTo>
                  <a:lnTo>
                    <a:pt x="405" y="187"/>
                  </a:lnTo>
                  <a:lnTo>
                    <a:pt x="405" y="180"/>
                  </a:lnTo>
                  <a:lnTo>
                    <a:pt x="403" y="171"/>
                  </a:lnTo>
                  <a:lnTo>
                    <a:pt x="404" y="166"/>
                  </a:lnTo>
                  <a:lnTo>
                    <a:pt x="407" y="163"/>
                  </a:lnTo>
                  <a:lnTo>
                    <a:pt x="410" y="160"/>
                  </a:lnTo>
                  <a:lnTo>
                    <a:pt x="415" y="159"/>
                  </a:lnTo>
                  <a:lnTo>
                    <a:pt x="421" y="157"/>
                  </a:lnTo>
                  <a:lnTo>
                    <a:pt x="424" y="157"/>
                  </a:lnTo>
                  <a:lnTo>
                    <a:pt x="426" y="154"/>
                  </a:lnTo>
                  <a:lnTo>
                    <a:pt x="439" y="136"/>
                  </a:lnTo>
                  <a:lnTo>
                    <a:pt x="445" y="129"/>
                  </a:lnTo>
                  <a:lnTo>
                    <a:pt x="452" y="122"/>
                  </a:lnTo>
                  <a:lnTo>
                    <a:pt x="456" y="119"/>
                  </a:lnTo>
                  <a:lnTo>
                    <a:pt x="461" y="117"/>
                  </a:lnTo>
                  <a:lnTo>
                    <a:pt x="469" y="113"/>
                  </a:lnTo>
                  <a:lnTo>
                    <a:pt x="472" y="111"/>
                  </a:lnTo>
                  <a:lnTo>
                    <a:pt x="476" y="110"/>
                  </a:lnTo>
                  <a:lnTo>
                    <a:pt x="478" y="106"/>
                  </a:lnTo>
                  <a:lnTo>
                    <a:pt x="479" y="103"/>
                  </a:lnTo>
                  <a:lnTo>
                    <a:pt x="480" y="101"/>
                  </a:lnTo>
                  <a:lnTo>
                    <a:pt x="480" y="97"/>
                  </a:lnTo>
                  <a:lnTo>
                    <a:pt x="479" y="94"/>
                  </a:lnTo>
                  <a:lnTo>
                    <a:pt x="478" y="90"/>
                  </a:lnTo>
                  <a:lnTo>
                    <a:pt x="478" y="86"/>
                  </a:lnTo>
                  <a:lnTo>
                    <a:pt x="475" y="82"/>
                  </a:lnTo>
                  <a:lnTo>
                    <a:pt x="472" y="78"/>
                  </a:lnTo>
                  <a:lnTo>
                    <a:pt x="469" y="74"/>
                  </a:lnTo>
                  <a:lnTo>
                    <a:pt x="462" y="69"/>
                  </a:lnTo>
                  <a:lnTo>
                    <a:pt x="455" y="64"/>
                  </a:lnTo>
                  <a:lnTo>
                    <a:pt x="444" y="58"/>
                  </a:lnTo>
                  <a:lnTo>
                    <a:pt x="442" y="57"/>
                  </a:lnTo>
                  <a:lnTo>
                    <a:pt x="440" y="50"/>
                  </a:lnTo>
                  <a:lnTo>
                    <a:pt x="440" y="46"/>
                  </a:lnTo>
                  <a:lnTo>
                    <a:pt x="440" y="42"/>
                  </a:lnTo>
                  <a:lnTo>
                    <a:pt x="441" y="38"/>
                  </a:lnTo>
                  <a:lnTo>
                    <a:pt x="443" y="32"/>
                  </a:lnTo>
                  <a:lnTo>
                    <a:pt x="446" y="27"/>
                  </a:lnTo>
                  <a:lnTo>
                    <a:pt x="450" y="19"/>
                  </a:lnTo>
                  <a:lnTo>
                    <a:pt x="455" y="13"/>
                  </a:lnTo>
                  <a:lnTo>
                    <a:pt x="460" y="8"/>
                  </a:lnTo>
                  <a:lnTo>
                    <a:pt x="463" y="6"/>
                  </a:lnTo>
                  <a:lnTo>
                    <a:pt x="472" y="3"/>
                  </a:lnTo>
                  <a:lnTo>
                    <a:pt x="476" y="5"/>
                  </a:lnTo>
                  <a:lnTo>
                    <a:pt x="479" y="10"/>
                  </a:lnTo>
                  <a:lnTo>
                    <a:pt x="482" y="12"/>
                  </a:lnTo>
                  <a:lnTo>
                    <a:pt x="485" y="14"/>
                  </a:lnTo>
                  <a:lnTo>
                    <a:pt x="490" y="14"/>
                  </a:lnTo>
                  <a:lnTo>
                    <a:pt x="493" y="12"/>
                  </a:lnTo>
                  <a:lnTo>
                    <a:pt x="497" y="10"/>
                  </a:lnTo>
                  <a:lnTo>
                    <a:pt x="504" y="0"/>
                  </a:lnTo>
                  <a:lnTo>
                    <a:pt x="506" y="1"/>
                  </a:lnTo>
                  <a:lnTo>
                    <a:pt x="520" y="12"/>
                  </a:lnTo>
                  <a:lnTo>
                    <a:pt x="527" y="19"/>
                  </a:lnTo>
                  <a:lnTo>
                    <a:pt x="531" y="22"/>
                  </a:lnTo>
                  <a:lnTo>
                    <a:pt x="532" y="27"/>
                  </a:lnTo>
                  <a:lnTo>
                    <a:pt x="537" y="43"/>
                  </a:lnTo>
                  <a:lnTo>
                    <a:pt x="539" y="48"/>
                  </a:lnTo>
                  <a:lnTo>
                    <a:pt x="543" y="53"/>
                  </a:lnTo>
                  <a:lnTo>
                    <a:pt x="546" y="57"/>
                  </a:lnTo>
                  <a:lnTo>
                    <a:pt x="594" y="85"/>
                  </a:lnTo>
                  <a:lnTo>
                    <a:pt x="602" y="87"/>
                  </a:lnTo>
                  <a:lnTo>
                    <a:pt x="614" y="88"/>
                  </a:lnTo>
                  <a:lnTo>
                    <a:pt x="618" y="88"/>
                  </a:lnTo>
                  <a:lnTo>
                    <a:pt x="621" y="90"/>
                  </a:lnTo>
                  <a:lnTo>
                    <a:pt x="625" y="94"/>
                  </a:lnTo>
                  <a:lnTo>
                    <a:pt x="636" y="106"/>
                  </a:lnTo>
                  <a:lnTo>
                    <a:pt x="651" y="122"/>
                  </a:lnTo>
                  <a:lnTo>
                    <a:pt x="659" y="126"/>
                  </a:lnTo>
                  <a:lnTo>
                    <a:pt x="662" y="128"/>
                  </a:lnTo>
                  <a:lnTo>
                    <a:pt x="669" y="130"/>
                  </a:lnTo>
                  <a:lnTo>
                    <a:pt x="696" y="131"/>
                  </a:lnTo>
                  <a:lnTo>
                    <a:pt x="704" y="132"/>
                  </a:lnTo>
                  <a:lnTo>
                    <a:pt x="711" y="134"/>
                  </a:lnTo>
                  <a:lnTo>
                    <a:pt x="722" y="141"/>
                  </a:lnTo>
                  <a:lnTo>
                    <a:pt x="764" y="171"/>
                  </a:lnTo>
                  <a:lnTo>
                    <a:pt x="767" y="172"/>
                  </a:lnTo>
                  <a:lnTo>
                    <a:pt x="771" y="173"/>
                  </a:lnTo>
                  <a:lnTo>
                    <a:pt x="775" y="174"/>
                  </a:lnTo>
                  <a:lnTo>
                    <a:pt x="779" y="174"/>
                  </a:lnTo>
                  <a:lnTo>
                    <a:pt x="804" y="170"/>
                  </a:lnTo>
                  <a:lnTo>
                    <a:pt x="808" y="170"/>
                  </a:lnTo>
                  <a:lnTo>
                    <a:pt x="812" y="172"/>
                  </a:lnTo>
                  <a:lnTo>
                    <a:pt x="816" y="173"/>
                  </a:lnTo>
                  <a:lnTo>
                    <a:pt x="843" y="201"/>
                  </a:lnTo>
                  <a:lnTo>
                    <a:pt x="847" y="208"/>
                  </a:lnTo>
                  <a:lnTo>
                    <a:pt x="851" y="211"/>
                  </a:lnTo>
                  <a:lnTo>
                    <a:pt x="854" y="214"/>
                  </a:lnTo>
                  <a:lnTo>
                    <a:pt x="908" y="235"/>
                  </a:lnTo>
                  <a:lnTo>
                    <a:pt x="910" y="237"/>
                  </a:lnTo>
                  <a:lnTo>
                    <a:pt x="912" y="239"/>
                  </a:lnTo>
                  <a:lnTo>
                    <a:pt x="914" y="242"/>
                  </a:lnTo>
                  <a:lnTo>
                    <a:pt x="916" y="246"/>
                  </a:lnTo>
                  <a:lnTo>
                    <a:pt x="917" y="249"/>
                  </a:lnTo>
                  <a:lnTo>
                    <a:pt x="918" y="256"/>
                  </a:lnTo>
                  <a:lnTo>
                    <a:pt x="922" y="505"/>
                  </a:lnTo>
                  <a:lnTo>
                    <a:pt x="923" y="513"/>
                  </a:lnTo>
                  <a:lnTo>
                    <a:pt x="924" y="515"/>
                  </a:lnTo>
                  <a:lnTo>
                    <a:pt x="927" y="520"/>
                  </a:lnTo>
                  <a:lnTo>
                    <a:pt x="930" y="522"/>
                  </a:lnTo>
                  <a:lnTo>
                    <a:pt x="990" y="566"/>
                  </a:lnTo>
                  <a:lnTo>
                    <a:pt x="1031" y="608"/>
                  </a:lnTo>
                  <a:lnTo>
                    <a:pt x="1038" y="617"/>
                  </a:lnTo>
                  <a:lnTo>
                    <a:pt x="1045" y="629"/>
                  </a:lnTo>
                  <a:lnTo>
                    <a:pt x="1052" y="645"/>
                  </a:lnTo>
                  <a:lnTo>
                    <a:pt x="1057" y="658"/>
                  </a:lnTo>
                  <a:lnTo>
                    <a:pt x="1058" y="681"/>
                  </a:lnTo>
                  <a:lnTo>
                    <a:pt x="1058" y="721"/>
                  </a:lnTo>
                  <a:lnTo>
                    <a:pt x="1010" y="1113"/>
                  </a:lnTo>
                  <a:lnTo>
                    <a:pt x="965" y="1466"/>
                  </a:lnTo>
                  <a:lnTo>
                    <a:pt x="965" y="1466"/>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292" name="Freeform 8">
              <a:extLst>
                <a:ext uri="{FF2B5EF4-FFF2-40B4-BE49-F238E27FC236}"/>
              </a:extLst>
            </p:cNvPr>
            <p:cNvSpPr>
              <a:spLocks noEditPoints="1"/>
            </p:cNvSpPr>
            <p:nvPr/>
          </p:nvSpPr>
          <p:spPr bwMode="auto">
            <a:xfrm>
              <a:off x="4449763" y="2786063"/>
              <a:ext cx="2841625" cy="3482975"/>
            </a:xfrm>
            <a:custGeom>
              <a:avLst/>
              <a:gdLst>
                <a:gd name="T0" fmla="*/ 774 w 1790"/>
                <a:gd name="T1" fmla="*/ 342 h 2194"/>
                <a:gd name="T2" fmla="*/ 764 w 1790"/>
                <a:gd name="T3" fmla="*/ 335 h 2194"/>
                <a:gd name="T4" fmla="*/ 774 w 1790"/>
                <a:gd name="T5" fmla="*/ 333 h 2194"/>
                <a:gd name="T6" fmla="*/ 536 w 1790"/>
                <a:gd name="T7" fmla="*/ 906 h 2194"/>
                <a:gd name="T8" fmla="*/ 417 w 1790"/>
                <a:gd name="T9" fmla="*/ 537 h 2194"/>
                <a:gd name="T10" fmla="*/ 284 w 1790"/>
                <a:gd name="T11" fmla="*/ 472 h 2194"/>
                <a:gd name="T12" fmla="*/ 164 w 1790"/>
                <a:gd name="T13" fmla="*/ 424 h 2194"/>
                <a:gd name="T14" fmla="*/ 44 w 1790"/>
                <a:gd name="T15" fmla="*/ 346 h 2194"/>
                <a:gd name="T16" fmla="*/ 0 w 1790"/>
                <a:gd name="T17" fmla="*/ 281 h 2194"/>
                <a:gd name="T18" fmla="*/ 145 w 1790"/>
                <a:gd name="T19" fmla="*/ 50 h 2194"/>
                <a:gd name="T20" fmla="*/ 438 w 1790"/>
                <a:gd name="T21" fmla="*/ 67 h 2194"/>
                <a:gd name="T22" fmla="*/ 589 w 1790"/>
                <a:gd name="T23" fmla="*/ 111 h 2194"/>
                <a:gd name="T24" fmla="*/ 597 w 1790"/>
                <a:gd name="T25" fmla="*/ 135 h 2194"/>
                <a:gd name="T26" fmla="*/ 617 w 1790"/>
                <a:gd name="T27" fmla="*/ 171 h 2194"/>
                <a:gd name="T28" fmla="*/ 632 w 1790"/>
                <a:gd name="T29" fmla="*/ 205 h 2194"/>
                <a:gd name="T30" fmla="*/ 637 w 1790"/>
                <a:gd name="T31" fmla="*/ 214 h 2194"/>
                <a:gd name="T32" fmla="*/ 659 w 1790"/>
                <a:gd name="T33" fmla="*/ 249 h 2194"/>
                <a:gd name="T34" fmla="*/ 655 w 1790"/>
                <a:gd name="T35" fmla="*/ 249 h 2194"/>
                <a:gd name="T36" fmla="*/ 644 w 1790"/>
                <a:gd name="T37" fmla="*/ 257 h 2194"/>
                <a:gd name="T38" fmla="*/ 653 w 1790"/>
                <a:gd name="T39" fmla="*/ 267 h 2194"/>
                <a:gd name="T40" fmla="*/ 659 w 1790"/>
                <a:gd name="T41" fmla="*/ 274 h 2194"/>
                <a:gd name="T42" fmla="*/ 660 w 1790"/>
                <a:gd name="T43" fmla="*/ 282 h 2194"/>
                <a:gd name="T44" fmla="*/ 664 w 1790"/>
                <a:gd name="T45" fmla="*/ 286 h 2194"/>
                <a:gd name="T46" fmla="*/ 692 w 1790"/>
                <a:gd name="T47" fmla="*/ 296 h 2194"/>
                <a:gd name="T48" fmla="*/ 717 w 1790"/>
                <a:gd name="T49" fmla="*/ 295 h 2194"/>
                <a:gd name="T50" fmla="*/ 729 w 1790"/>
                <a:gd name="T51" fmla="*/ 313 h 2194"/>
                <a:gd name="T52" fmla="*/ 701 w 1790"/>
                <a:gd name="T53" fmla="*/ 316 h 2194"/>
                <a:gd name="T54" fmla="*/ 724 w 1790"/>
                <a:gd name="T55" fmla="*/ 320 h 2194"/>
                <a:gd name="T56" fmla="*/ 725 w 1790"/>
                <a:gd name="T57" fmla="*/ 332 h 2194"/>
                <a:gd name="T58" fmla="*/ 736 w 1790"/>
                <a:gd name="T59" fmla="*/ 363 h 2194"/>
                <a:gd name="T60" fmla="*/ 748 w 1790"/>
                <a:gd name="T61" fmla="*/ 364 h 2194"/>
                <a:gd name="T62" fmla="*/ 752 w 1790"/>
                <a:gd name="T63" fmla="*/ 367 h 2194"/>
                <a:gd name="T64" fmla="*/ 765 w 1790"/>
                <a:gd name="T65" fmla="*/ 363 h 2194"/>
                <a:gd name="T66" fmla="*/ 776 w 1790"/>
                <a:gd name="T67" fmla="*/ 380 h 2194"/>
                <a:gd name="T68" fmla="*/ 826 w 1790"/>
                <a:gd name="T69" fmla="*/ 424 h 2194"/>
                <a:gd name="T70" fmla="*/ 867 w 1790"/>
                <a:gd name="T71" fmla="*/ 460 h 2194"/>
                <a:gd name="T72" fmla="*/ 846 w 1790"/>
                <a:gd name="T73" fmla="*/ 462 h 2194"/>
                <a:gd name="T74" fmla="*/ 882 w 1790"/>
                <a:gd name="T75" fmla="*/ 517 h 2194"/>
                <a:gd name="T76" fmla="*/ 874 w 1790"/>
                <a:gd name="T77" fmla="*/ 567 h 2194"/>
                <a:gd name="T78" fmla="*/ 860 w 1790"/>
                <a:gd name="T79" fmla="*/ 561 h 2194"/>
                <a:gd name="T80" fmla="*/ 846 w 1790"/>
                <a:gd name="T81" fmla="*/ 565 h 2194"/>
                <a:gd name="T82" fmla="*/ 849 w 1790"/>
                <a:gd name="T83" fmla="*/ 586 h 2194"/>
                <a:gd name="T84" fmla="*/ 864 w 1790"/>
                <a:gd name="T85" fmla="*/ 588 h 2194"/>
                <a:gd name="T86" fmla="*/ 890 w 1790"/>
                <a:gd name="T87" fmla="*/ 654 h 2194"/>
                <a:gd name="T88" fmla="*/ 872 w 1790"/>
                <a:gd name="T89" fmla="*/ 642 h 2194"/>
                <a:gd name="T90" fmla="*/ 909 w 1790"/>
                <a:gd name="T91" fmla="*/ 677 h 2194"/>
                <a:gd name="T92" fmla="*/ 931 w 1790"/>
                <a:gd name="T93" fmla="*/ 703 h 2194"/>
                <a:gd name="T94" fmla="*/ 939 w 1790"/>
                <a:gd name="T95" fmla="*/ 742 h 2194"/>
                <a:gd name="T96" fmla="*/ 966 w 1790"/>
                <a:gd name="T97" fmla="*/ 790 h 2194"/>
                <a:gd name="T98" fmla="*/ 1003 w 1790"/>
                <a:gd name="T99" fmla="*/ 848 h 2194"/>
                <a:gd name="T100" fmla="*/ 1066 w 1790"/>
                <a:gd name="T101" fmla="*/ 843 h 2194"/>
                <a:gd name="T102" fmla="*/ 1075 w 1790"/>
                <a:gd name="T103" fmla="*/ 850 h 2194"/>
                <a:gd name="T104" fmla="*/ 1096 w 1790"/>
                <a:gd name="T105" fmla="*/ 847 h 2194"/>
                <a:gd name="T106" fmla="*/ 1081 w 1790"/>
                <a:gd name="T107" fmla="*/ 866 h 2194"/>
                <a:gd name="T108" fmla="*/ 1061 w 1790"/>
                <a:gd name="T109" fmla="*/ 894 h 2194"/>
                <a:gd name="T110" fmla="*/ 1097 w 1790"/>
                <a:gd name="T111" fmla="*/ 901 h 2194"/>
                <a:gd name="T112" fmla="*/ 1219 w 1790"/>
                <a:gd name="T113" fmla="*/ 1079 h 2194"/>
                <a:gd name="T114" fmla="*/ 1655 w 1790"/>
                <a:gd name="T115" fmla="*/ 1201 h 2194"/>
                <a:gd name="T116" fmla="*/ 1760 w 1790"/>
                <a:gd name="T117" fmla="*/ 1421 h 2194"/>
                <a:gd name="T118" fmla="*/ 1398 w 1790"/>
                <a:gd name="T119" fmla="*/ 1781 h 2194"/>
                <a:gd name="T120" fmla="*/ 884 w 1790"/>
                <a:gd name="T121" fmla="*/ 1901 h 2194"/>
                <a:gd name="T122" fmla="*/ 486 w 1790"/>
                <a:gd name="T123" fmla="*/ 2077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0" h="2194">
                  <a:moveTo>
                    <a:pt x="774" y="333"/>
                  </a:moveTo>
                  <a:lnTo>
                    <a:pt x="778" y="333"/>
                  </a:lnTo>
                  <a:lnTo>
                    <a:pt x="796" y="339"/>
                  </a:lnTo>
                  <a:lnTo>
                    <a:pt x="792" y="340"/>
                  </a:lnTo>
                  <a:lnTo>
                    <a:pt x="789" y="339"/>
                  </a:lnTo>
                  <a:lnTo>
                    <a:pt x="788" y="338"/>
                  </a:lnTo>
                  <a:lnTo>
                    <a:pt x="784" y="337"/>
                  </a:lnTo>
                  <a:lnTo>
                    <a:pt x="781" y="338"/>
                  </a:lnTo>
                  <a:lnTo>
                    <a:pt x="779" y="339"/>
                  </a:lnTo>
                  <a:lnTo>
                    <a:pt x="777" y="341"/>
                  </a:lnTo>
                  <a:lnTo>
                    <a:pt x="774" y="342"/>
                  </a:lnTo>
                  <a:lnTo>
                    <a:pt x="773" y="341"/>
                  </a:lnTo>
                  <a:lnTo>
                    <a:pt x="773" y="341"/>
                  </a:lnTo>
                  <a:lnTo>
                    <a:pt x="770" y="340"/>
                  </a:lnTo>
                  <a:lnTo>
                    <a:pt x="770" y="339"/>
                  </a:lnTo>
                  <a:lnTo>
                    <a:pt x="773" y="338"/>
                  </a:lnTo>
                  <a:lnTo>
                    <a:pt x="773" y="337"/>
                  </a:lnTo>
                  <a:lnTo>
                    <a:pt x="772" y="335"/>
                  </a:lnTo>
                  <a:lnTo>
                    <a:pt x="771" y="334"/>
                  </a:lnTo>
                  <a:lnTo>
                    <a:pt x="769" y="333"/>
                  </a:lnTo>
                  <a:lnTo>
                    <a:pt x="767" y="333"/>
                  </a:lnTo>
                  <a:lnTo>
                    <a:pt x="764" y="335"/>
                  </a:lnTo>
                  <a:lnTo>
                    <a:pt x="761" y="335"/>
                  </a:lnTo>
                  <a:lnTo>
                    <a:pt x="759" y="338"/>
                  </a:lnTo>
                  <a:lnTo>
                    <a:pt x="758" y="341"/>
                  </a:lnTo>
                  <a:lnTo>
                    <a:pt x="756" y="344"/>
                  </a:lnTo>
                  <a:lnTo>
                    <a:pt x="756" y="339"/>
                  </a:lnTo>
                  <a:lnTo>
                    <a:pt x="759" y="334"/>
                  </a:lnTo>
                  <a:lnTo>
                    <a:pt x="764" y="331"/>
                  </a:lnTo>
                  <a:lnTo>
                    <a:pt x="769" y="330"/>
                  </a:lnTo>
                  <a:lnTo>
                    <a:pt x="771" y="330"/>
                  </a:lnTo>
                  <a:lnTo>
                    <a:pt x="772" y="331"/>
                  </a:lnTo>
                  <a:lnTo>
                    <a:pt x="774" y="333"/>
                  </a:lnTo>
                  <a:lnTo>
                    <a:pt x="774" y="333"/>
                  </a:lnTo>
                  <a:close/>
                  <a:moveTo>
                    <a:pt x="417" y="2194"/>
                  </a:moveTo>
                  <a:lnTo>
                    <a:pt x="470" y="1764"/>
                  </a:lnTo>
                  <a:lnTo>
                    <a:pt x="515" y="1411"/>
                  </a:lnTo>
                  <a:lnTo>
                    <a:pt x="563" y="1019"/>
                  </a:lnTo>
                  <a:lnTo>
                    <a:pt x="563" y="979"/>
                  </a:lnTo>
                  <a:lnTo>
                    <a:pt x="562" y="956"/>
                  </a:lnTo>
                  <a:lnTo>
                    <a:pt x="557" y="943"/>
                  </a:lnTo>
                  <a:lnTo>
                    <a:pt x="550" y="927"/>
                  </a:lnTo>
                  <a:lnTo>
                    <a:pt x="543" y="915"/>
                  </a:lnTo>
                  <a:lnTo>
                    <a:pt x="536" y="906"/>
                  </a:lnTo>
                  <a:lnTo>
                    <a:pt x="495" y="864"/>
                  </a:lnTo>
                  <a:lnTo>
                    <a:pt x="435" y="820"/>
                  </a:lnTo>
                  <a:lnTo>
                    <a:pt x="432" y="818"/>
                  </a:lnTo>
                  <a:lnTo>
                    <a:pt x="429" y="813"/>
                  </a:lnTo>
                  <a:lnTo>
                    <a:pt x="428" y="811"/>
                  </a:lnTo>
                  <a:lnTo>
                    <a:pt x="427" y="803"/>
                  </a:lnTo>
                  <a:lnTo>
                    <a:pt x="423" y="554"/>
                  </a:lnTo>
                  <a:lnTo>
                    <a:pt x="422" y="547"/>
                  </a:lnTo>
                  <a:lnTo>
                    <a:pt x="421" y="544"/>
                  </a:lnTo>
                  <a:lnTo>
                    <a:pt x="419" y="540"/>
                  </a:lnTo>
                  <a:lnTo>
                    <a:pt x="417" y="537"/>
                  </a:lnTo>
                  <a:lnTo>
                    <a:pt x="415" y="535"/>
                  </a:lnTo>
                  <a:lnTo>
                    <a:pt x="413" y="533"/>
                  </a:lnTo>
                  <a:lnTo>
                    <a:pt x="359" y="512"/>
                  </a:lnTo>
                  <a:lnTo>
                    <a:pt x="356" y="509"/>
                  </a:lnTo>
                  <a:lnTo>
                    <a:pt x="352" y="506"/>
                  </a:lnTo>
                  <a:lnTo>
                    <a:pt x="348" y="499"/>
                  </a:lnTo>
                  <a:lnTo>
                    <a:pt x="321" y="471"/>
                  </a:lnTo>
                  <a:lnTo>
                    <a:pt x="317" y="470"/>
                  </a:lnTo>
                  <a:lnTo>
                    <a:pt x="313" y="468"/>
                  </a:lnTo>
                  <a:lnTo>
                    <a:pt x="309" y="468"/>
                  </a:lnTo>
                  <a:lnTo>
                    <a:pt x="284" y="472"/>
                  </a:lnTo>
                  <a:lnTo>
                    <a:pt x="280" y="472"/>
                  </a:lnTo>
                  <a:lnTo>
                    <a:pt x="276" y="471"/>
                  </a:lnTo>
                  <a:lnTo>
                    <a:pt x="272" y="470"/>
                  </a:lnTo>
                  <a:lnTo>
                    <a:pt x="269" y="469"/>
                  </a:lnTo>
                  <a:lnTo>
                    <a:pt x="227" y="439"/>
                  </a:lnTo>
                  <a:lnTo>
                    <a:pt x="216" y="432"/>
                  </a:lnTo>
                  <a:lnTo>
                    <a:pt x="209" y="430"/>
                  </a:lnTo>
                  <a:lnTo>
                    <a:pt x="201" y="429"/>
                  </a:lnTo>
                  <a:lnTo>
                    <a:pt x="174" y="428"/>
                  </a:lnTo>
                  <a:lnTo>
                    <a:pt x="167" y="426"/>
                  </a:lnTo>
                  <a:lnTo>
                    <a:pt x="164" y="424"/>
                  </a:lnTo>
                  <a:lnTo>
                    <a:pt x="156" y="420"/>
                  </a:lnTo>
                  <a:lnTo>
                    <a:pt x="141" y="404"/>
                  </a:lnTo>
                  <a:lnTo>
                    <a:pt x="130" y="392"/>
                  </a:lnTo>
                  <a:lnTo>
                    <a:pt x="126" y="388"/>
                  </a:lnTo>
                  <a:lnTo>
                    <a:pt x="123" y="386"/>
                  </a:lnTo>
                  <a:lnTo>
                    <a:pt x="119" y="386"/>
                  </a:lnTo>
                  <a:lnTo>
                    <a:pt x="107" y="385"/>
                  </a:lnTo>
                  <a:lnTo>
                    <a:pt x="99" y="383"/>
                  </a:lnTo>
                  <a:lnTo>
                    <a:pt x="51" y="355"/>
                  </a:lnTo>
                  <a:lnTo>
                    <a:pt x="48" y="351"/>
                  </a:lnTo>
                  <a:lnTo>
                    <a:pt x="44" y="346"/>
                  </a:lnTo>
                  <a:lnTo>
                    <a:pt x="42" y="341"/>
                  </a:lnTo>
                  <a:lnTo>
                    <a:pt x="37" y="325"/>
                  </a:lnTo>
                  <a:lnTo>
                    <a:pt x="36" y="320"/>
                  </a:lnTo>
                  <a:lnTo>
                    <a:pt x="32" y="317"/>
                  </a:lnTo>
                  <a:lnTo>
                    <a:pt x="25" y="310"/>
                  </a:lnTo>
                  <a:lnTo>
                    <a:pt x="11" y="299"/>
                  </a:lnTo>
                  <a:lnTo>
                    <a:pt x="9" y="298"/>
                  </a:lnTo>
                  <a:lnTo>
                    <a:pt x="7" y="295"/>
                  </a:lnTo>
                  <a:lnTo>
                    <a:pt x="3" y="289"/>
                  </a:lnTo>
                  <a:lnTo>
                    <a:pt x="1" y="286"/>
                  </a:lnTo>
                  <a:lnTo>
                    <a:pt x="0" y="281"/>
                  </a:lnTo>
                  <a:lnTo>
                    <a:pt x="0" y="279"/>
                  </a:lnTo>
                  <a:lnTo>
                    <a:pt x="1" y="275"/>
                  </a:lnTo>
                  <a:lnTo>
                    <a:pt x="2" y="270"/>
                  </a:lnTo>
                  <a:lnTo>
                    <a:pt x="6" y="259"/>
                  </a:lnTo>
                  <a:lnTo>
                    <a:pt x="10" y="252"/>
                  </a:lnTo>
                  <a:lnTo>
                    <a:pt x="38" y="219"/>
                  </a:lnTo>
                  <a:lnTo>
                    <a:pt x="46" y="206"/>
                  </a:lnTo>
                  <a:lnTo>
                    <a:pt x="105" y="95"/>
                  </a:lnTo>
                  <a:lnTo>
                    <a:pt x="115" y="80"/>
                  </a:lnTo>
                  <a:lnTo>
                    <a:pt x="128" y="65"/>
                  </a:lnTo>
                  <a:lnTo>
                    <a:pt x="145" y="50"/>
                  </a:lnTo>
                  <a:lnTo>
                    <a:pt x="168" y="36"/>
                  </a:lnTo>
                  <a:lnTo>
                    <a:pt x="247" y="6"/>
                  </a:lnTo>
                  <a:lnTo>
                    <a:pt x="249" y="4"/>
                  </a:lnTo>
                  <a:lnTo>
                    <a:pt x="267" y="0"/>
                  </a:lnTo>
                  <a:lnTo>
                    <a:pt x="305" y="5"/>
                  </a:lnTo>
                  <a:lnTo>
                    <a:pt x="342" y="10"/>
                  </a:lnTo>
                  <a:lnTo>
                    <a:pt x="409" y="19"/>
                  </a:lnTo>
                  <a:lnTo>
                    <a:pt x="418" y="20"/>
                  </a:lnTo>
                  <a:lnTo>
                    <a:pt x="428" y="37"/>
                  </a:lnTo>
                  <a:lnTo>
                    <a:pt x="437" y="63"/>
                  </a:lnTo>
                  <a:lnTo>
                    <a:pt x="438" y="67"/>
                  </a:lnTo>
                  <a:lnTo>
                    <a:pt x="439" y="78"/>
                  </a:lnTo>
                  <a:lnTo>
                    <a:pt x="441" y="83"/>
                  </a:lnTo>
                  <a:lnTo>
                    <a:pt x="442" y="89"/>
                  </a:lnTo>
                  <a:lnTo>
                    <a:pt x="445" y="93"/>
                  </a:lnTo>
                  <a:lnTo>
                    <a:pt x="449" y="97"/>
                  </a:lnTo>
                  <a:lnTo>
                    <a:pt x="452" y="100"/>
                  </a:lnTo>
                  <a:lnTo>
                    <a:pt x="456" y="103"/>
                  </a:lnTo>
                  <a:lnTo>
                    <a:pt x="457" y="108"/>
                  </a:lnTo>
                  <a:lnTo>
                    <a:pt x="525" y="107"/>
                  </a:lnTo>
                  <a:lnTo>
                    <a:pt x="585" y="106"/>
                  </a:lnTo>
                  <a:lnTo>
                    <a:pt x="589" y="111"/>
                  </a:lnTo>
                  <a:lnTo>
                    <a:pt x="592" y="112"/>
                  </a:lnTo>
                  <a:lnTo>
                    <a:pt x="595" y="114"/>
                  </a:lnTo>
                  <a:lnTo>
                    <a:pt x="596" y="116"/>
                  </a:lnTo>
                  <a:lnTo>
                    <a:pt x="598" y="124"/>
                  </a:lnTo>
                  <a:lnTo>
                    <a:pt x="598" y="130"/>
                  </a:lnTo>
                  <a:lnTo>
                    <a:pt x="596" y="135"/>
                  </a:lnTo>
                  <a:lnTo>
                    <a:pt x="593" y="134"/>
                  </a:lnTo>
                  <a:lnTo>
                    <a:pt x="592" y="135"/>
                  </a:lnTo>
                  <a:lnTo>
                    <a:pt x="592" y="135"/>
                  </a:lnTo>
                  <a:lnTo>
                    <a:pt x="594" y="136"/>
                  </a:lnTo>
                  <a:lnTo>
                    <a:pt x="597" y="135"/>
                  </a:lnTo>
                  <a:lnTo>
                    <a:pt x="600" y="134"/>
                  </a:lnTo>
                  <a:lnTo>
                    <a:pt x="600" y="130"/>
                  </a:lnTo>
                  <a:lnTo>
                    <a:pt x="602" y="132"/>
                  </a:lnTo>
                  <a:lnTo>
                    <a:pt x="602" y="134"/>
                  </a:lnTo>
                  <a:lnTo>
                    <a:pt x="600" y="137"/>
                  </a:lnTo>
                  <a:lnTo>
                    <a:pt x="600" y="142"/>
                  </a:lnTo>
                  <a:lnTo>
                    <a:pt x="599" y="144"/>
                  </a:lnTo>
                  <a:lnTo>
                    <a:pt x="600" y="149"/>
                  </a:lnTo>
                  <a:lnTo>
                    <a:pt x="602" y="153"/>
                  </a:lnTo>
                  <a:lnTo>
                    <a:pt x="616" y="168"/>
                  </a:lnTo>
                  <a:lnTo>
                    <a:pt x="617" y="171"/>
                  </a:lnTo>
                  <a:lnTo>
                    <a:pt x="615" y="174"/>
                  </a:lnTo>
                  <a:lnTo>
                    <a:pt x="614" y="178"/>
                  </a:lnTo>
                  <a:lnTo>
                    <a:pt x="613" y="181"/>
                  </a:lnTo>
                  <a:lnTo>
                    <a:pt x="615" y="185"/>
                  </a:lnTo>
                  <a:lnTo>
                    <a:pt x="616" y="188"/>
                  </a:lnTo>
                  <a:lnTo>
                    <a:pt x="622" y="196"/>
                  </a:lnTo>
                  <a:lnTo>
                    <a:pt x="623" y="197"/>
                  </a:lnTo>
                  <a:lnTo>
                    <a:pt x="622" y="201"/>
                  </a:lnTo>
                  <a:lnTo>
                    <a:pt x="624" y="203"/>
                  </a:lnTo>
                  <a:lnTo>
                    <a:pt x="630" y="205"/>
                  </a:lnTo>
                  <a:lnTo>
                    <a:pt x="632" y="205"/>
                  </a:lnTo>
                  <a:lnTo>
                    <a:pt x="638" y="205"/>
                  </a:lnTo>
                  <a:lnTo>
                    <a:pt x="639" y="205"/>
                  </a:lnTo>
                  <a:lnTo>
                    <a:pt x="643" y="207"/>
                  </a:lnTo>
                  <a:lnTo>
                    <a:pt x="645" y="208"/>
                  </a:lnTo>
                  <a:lnTo>
                    <a:pt x="645" y="208"/>
                  </a:lnTo>
                  <a:lnTo>
                    <a:pt x="645" y="210"/>
                  </a:lnTo>
                  <a:lnTo>
                    <a:pt x="644" y="211"/>
                  </a:lnTo>
                  <a:lnTo>
                    <a:pt x="643" y="212"/>
                  </a:lnTo>
                  <a:lnTo>
                    <a:pt x="640" y="211"/>
                  </a:lnTo>
                  <a:lnTo>
                    <a:pt x="638" y="213"/>
                  </a:lnTo>
                  <a:lnTo>
                    <a:pt x="637" y="214"/>
                  </a:lnTo>
                  <a:lnTo>
                    <a:pt x="638" y="217"/>
                  </a:lnTo>
                  <a:lnTo>
                    <a:pt x="638" y="219"/>
                  </a:lnTo>
                  <a:lnTo>
                    <a:pt x="642" y="223"/>
                  </a:lnTo>
                  <a:lnTo>
                    <a:pt x="646" y="226"/>
                  </a:lnTo>
                  <a:lnTo>
                    <a:pt x="649" y="227"/>
                  </a:lnTo>
                  <a:lnTo>
                    <a:pt x="649" y="228"/>
                  </a:lnTo>
                  <a:lnTo>
                    <a:pt x="653" y="234"/>
                  </a:lnTo>
                  <a:lnTo>
                    <a:pt x="660" y="241"/>
                  </a:lnTo>
                  <a:lnTo>
                    <a:pt x="660" y="242"/>
                  </a:lnTo>
                  <a:lnTo>
                    <a:pt x="659" y="246"/>
                  </a:lnTo>
                  <a:lnTo>
                    <a:pt x="659" y="249"/>
                  </a:lnTo>
                  <a:lnTo>
                    <a:pt x="659" y="250"/>
                  </a:lnTo>
                  <a:lnTo>
                    <a:pt x="660" y="252"/>
                  </a:lnTo>
                  <a:lnTo>
                    <a:pt x="659" y="253"/>
                  </a:lnTo>
                  <a:lnTo>
                    <a:pt x="658" y="256"/>
                  </a:lnTo>
                  <a:lnTo>
                    <a:pt x="655" y="259"/>
                  </a:lnTo>
                  <a:lnTo>
                    <a:pt x="653" y="261"/>
                  </a:lnTo>
                  <a:lnTo>
                    <a:pt x="654" y="259"/>
                  </a:lnTo>
                  <a:lnTo>
                    <a:pt x="654" y="257"/>
                  </a:lnTo>
                  <a:lnTo>
                    <a:pt x="654" y="252"/>
                  </a:lnTo>
                  <a:lnTo>
                    <a:pt x="654" y="250"/>
                  </a:lnTo>
                  <a:lnTo>
                    <a:pt x="655" y="249"/>
                  </a:lnTo>
                  <a:lnTo>
                    <a:pt x="656" y="247"/>
                  </a:lnTo>
                  <a:lnTo>
                    <a:pt x="655" y="244"/>
                  </a:lnTo>
                  <a:lnTo>
                    <a:pt x="653" y="247"/>
                  </a:lnTo>
                  <a:lnTo>
                    <a:pt x="650" y="254"/>
                  </a:lnTo>
                  <a:lnTo>
                    <a:pt x="647" y="256"/>
                  </a:lnTo>
                  <a:lnTo>
                    <a:pt x="651" y="248"/>
                  </a:lnTo>
                  <a:lnTo>
                    <a:pt x="651" y="245"/>
                  </a:lnTo>
                  <a:lnTo>
                    <a:pt x="650" y="242"/>
                  </a:lnTo>
                  <a:lnTo>
                    <a:pt x="648" y="242"/>
                  </a:lnTo>
                  <a:lnTo>
                    <a:pt x="647" y="245"/>
                  </a:lnTo>
                  <a:lnTo>
                    <a:pt x="644" y="257"/>
                  </a:lnTo>
                  <a:lnTo>
                    <a:pt x="644" y="261"/>
                  </a:lnTo>
                  <a:lnTo>
                    <a:pt x="643" y="263"/>
                  </a:lnTo>
                  <a:lnTo>
                    <a:pt x="643" y="264"/>
                  </a:lnTo>
                  <a:lnTo>
                    <a:pt x="645" y="264"/>
                  </a:lnTo>
                  <a:lnTo>
                    <a:pt x="646" y="263"/>
                  </a:lnTo>
                  <a:lnTo>
                    <a:pt x="647" y="259"/>
                  </a:lnTo>
                  <a:lnTo>
                    <a:pt x="648" y="258"/>
                  </a:lnTo>
                  <a:lnTo>
                    <a:pt x="648" y="266"/>
                  </a:lnTo>
                  <a:lnTo>
                    <a:pt x="649" y="269"/>
                  </a:lnTo>
                  <a:lnTo>
                    <a:pt x="651" y="268"/>
                  </a:lnTo>
                  <a:lnTo>
                    <a:pt x="653" y="267"/>
                  </a:lnTo>
                  <a:lnTo>
                    <a:pt x="653" y="264"/>
                  </a:lnTo>
                  <a:lnTo>
                    <a:pt x="654" y="267"/>
                  </a:lnTo>
                  <a:lnTo>
                    <a:pt x="654" y="270"/>
                  </a:lnTo>
                  <a:lnTo>
                    <a:pt x="654" y="272"/>
                  </a:lnTo>
                  <a:lnTo>
                    <a:pt x="656" y="273"/>
                  </a:lnTo>
                  <a:lnTo>
                    <a:pt x="658" y="272"/>
                  </a:lnTo>
                  <a:lnTo>
                    <a:pt x="659" y="271"/>
                  </a:lnTo>
                  <a:lnTo>
                    <a:pt x="660" y="269"/>
                  </a:lnTo>
                  <a:lnTo>
                    <a:pt x="660" y="272"/>
                  </a:lnTo>
                  <a:lnTo>
                    <a:pt x="660" y="273"/>
                  </a:lnTo>
                  <a:lnTo>
                    <a:pt x="659" y="274"/>
                  </a:lnTo>
                  <a:lnTo>
                    <a:pt x="660" y="276"/>
                  </a:lnTo>
                  <a:lnTo>
                    <a:pt x="660" y="277"/>
                  </a:lnTo>
                  <a:lnTo>
                    <a:pt x="659" y="278"/>
                  </a:lnTo>
                  <a:lnTo>
                    <a:pt x="657" y="278"/>
                  </a:lnTo>
                  <a:lnTo>
                    <a:pt x="659" y="283"/>
                  </a:lnTo>
                  <a:lnTo>
                    <a:pt x="655" y="280"/>
                  </a:lnTo>
                  <a:lnTo>
                    <a:pt x="653" y="281"/>
                  </a:lnTo>
                  <a:lnTo>
                    <a:pt x="652" y="283"/>
                  </a:lnTo>
                  <a:lnTo>
                    <a:pt x="655" y="284"/>
                  </a:lnTo>
                  <a:lnTo>
                    <a:pt x="659" y="284"/>
                  </a:lnTo>
                  <a:lnTo>
                    <a:pt x="660" y="282"/>
                  </a:lnTo>
                  <a:lnTo>
                    <a:pt x="662" y="279"/>
                  </a:lnTo>
                  <a:lnTo>
                    <a:pt x="663" y="279"/>
                  </a:lnTo>
                  <a:lnTo>
                    <a:pt x="664" y="282"/>
                  </a:lnTo>
                  <a:lnTo>
                    <a:pt x="662" y="284"/>
                  </a:lnTo>
                  <a:lnTo>
                    <a:pt x="662" y="287"/>
                  </a:lnTo>
                  <a:lnTo>
                    <a:pt x="662" y="291"/>
                  </a:lnTo>
                  <a:lnTo>
                    <a:pt x="666" y="291"/>
                  </a:lnTo>
                  <a:lnTo>
                    <a:pt x="667" y="289"/>
                  </a:lnTo>
                  <a:lnTo>
                    <a:pt x="666" y="288"/>
                  </a:lnTo>
                  <a:lnTo>
                    <a:pt x="665" y="287"/>
                  </a:lnTo>
                  <a:lnTo>
                    <a:pt x="664" y="286"/>
                  </a:lnTo>
                  <a:lnTo>
                    <a:pt x="666" y="284"/>
                  </a:lnTo>
                  <a:lnTo>
                    <a:pt x="668" y="283"/>
                  </a:lnTo>
                  <a:lnTo>
                    <a:pt x="671" y="282"/>
                  </a:lnTo>
                  <a:lnTo>
                    <a:pt x="675" y="281"/>
                  </a:lnTo>
                  <a:lnTo>
                    <a:pt x="677" y="282"/>
                  </a:lnTo>
                  <a:lnTo>
                    <a:pt x="683" y="288"/>
                  </a:lnTo>
                  <a:lnTo>
                    <a:pt x="689" y="291"/>
                  </a:lnTo>
                  <a:lnTo>
                    <a:pt x="690" y="294"/>
                  </a:lnTo>
                  <a:lnTo>
                    <a:pt x="687" y="296"/>
                  </a:lnTo>
                  <a:lnTo>
                    <a:pt x="690" y="297"/>
                  </a:lnTo>
                  <a:lnTo>
                    <a:pt x="692" y="296"/>
                  </a:lnTo>
                  <a:lnTo>
                    <a:pt x="693" y="295"/>
                  </a:lnTo>
                  <a:lnTo>
                    <a:pt x="692" y="293"/>
                  </a:lnTo>
                  <a:lnTo>
                    <a:pt x="695" y="295"/>
                  </a:lnTo>
                  <a:lnTo>
                    <a:pt x="698" y="295"/>
                  </a:lnTo>
                  <a:lnTo>
                    <a:pt x="705" y="296"/>
                  </a:lnTo>
                  <a:lnTo>
                    <a:pt x="706" y="295"/>
                  </a:lnTo>
                  <a:lnTo>
                    <a:pt x="708" y="294"/>
                  </a:lnTo>
                  <a:lnTo>
                    <a:pt x="710" y="293"/>
                  </a:lnTo>
                  <a:lnTo>
                    <a:pt x="712" y="294"/>
                  </a:lnTo>
                  <a:lnTo>
                    <a:pt x="715" y="295"/>
                  </a:lnTo>
                  <a:lnTo>
                    <a:pt x="717" y="295"/>
                  </a:lnTo>
                  <a:lnTo>
                    <a:pt x="721" y="295"/>
                  </a:lnTo>
                  <a:lnTo>
                    <a:pt x="722" y="298"/>
                  </a:lnTo>
                  <a:lnTo>
                    <a:pt x="727" y="303"/>
                  </a:lnTo>
                  <a:lnTo>
                    <a:pt x="728" y="305"/>
                  </a:lnTo>
                  <a:lnTo>
                    <a:pt x="730" y="306"/>
                  </a:lnTo>
                  <a:lnTo>
                    <a:pt x="731" y="308"/>
                  </a:lnTo>
                  <a:lnTo>
                    <a:pt x="731" y="309"/>
                  </a:lnTo>
                  <a:lnTo>
                    <a:pt x="732" y="312"/>
                  </a:lnTo>
                  <a:lnTo>
                    <a:pt x="732" y="314"/>
                  </a:lnTo>
                  <a:lnTo>
                    <a:pt x="730" y="314"/>
                  </a:lnTo>
                  <a:lnTo>
                    <a:pt x="729" y="313"/>
                  </a:lnTo>
                  <a:lnTo>
                    <a:pt x="728" y="311"/>
                  </a:lnTo>
                  <a:lnTo>
                    <a:pt x="729" y="309"/>
                  </a:lnTo>
                  <a:lnTo>
                    <a:pt x="728" y="309"/>
                  </a:lnTo>
                  <a:lnTo>
                    <a:pt x="724" y="313"/>
                  </a:lnTo>
                  <a:lnTo>
                    <a:pt x="715" y="312"/>
                  </a:lnTo>
                  <a:lnTo>
                    <a:pt x="712" y="316"/>
                  </a:lnTo>
                  <a:lnTo>
                    <a:pt x="710" y="316"/>
                  </a:lnTo>
                  <a:lnTo>
                    <a:pt x="709" y="312"/>
                  </a:lnTo>
                  <a:lnTo>
                    <a:pt x="706" y="312"/>
                  </a:lnTo>
                  <a:lnTo>
                    <a:pt x="700" y="316"/>
                  </a:lnTo>
                  <a:lnTo>
                    <a:pt x="701" y="316"/>
                  </a:lnTo>
                  <a:lnTo>
                    <a:pt x="705" y="318"/>
                  </a:lnTo>
                  <a:lnTo>
                    <a:pt x="707" y="318"/>
                  </a:lnTo>
                  <a:lnTo>
                    <a:pt x="711" y="321"/>
                  </a:lnTo>
                  <a:lnTo>
                    <a:pt x="713" y="322"/>
                  </a:lnTo>
                  <a:lnTo>
                    <a:pt x="714" y="324"/>
                  </a:lnTo>
                  <a:lnTo>
                    <a:pt x="715" y="324"/>
                  </a:lnTo>
                  <a:lnTo>
                    <a:pt x="719" y="321"/>
                  </a:lnTo>
                  <a:lnTo>
                    <a:pt x="720" y="319"/>
                  </a:lnTo>
                  <a:lnTo>
                    <a:pt x="721" y="318"/>
                  </a:lnTo>
                  <a:lnTo>
                    <a:pt x="722" y="319"/>
                  </a:lnTo>
                  <a:lnTo>
                    <a:pt x="724" y="320"/>
                  </a:lnTo>
                  <a:lnTo>
                    <a:pt x="723" y="323"/>
                  </a:lnTo>
                  <a:lnTo>
                    <a:pt x="721" y="325"/>
                  </a:lnTo>
                  <a:lnTo>
                    <a:pt x="720" y="325"/>
                  </a:lnTo>
                  <a:lnTo>
                    <a:pt x="719" y="327"/>
                  </a:lnTo>
                  <a:lnTo>
                    <a:pt x="718" y="329"/>
                  </a:lnTo>
                  <a:lnTo>
                    <a:pt x="718" y="333"/>
                  </a:lnTo>
                  <a:lnTo>
                    <a:pt x="717" y="336"/>
                  </a:lnTo>
                  <a:lnTo>
                    <a:pt x="719" y="335"/>
                  </a:lnTo>
                  <a:lnTo>
                    <a:pt x="721" y="334"/>
                  </a:lnTo>
                  <a:lnTo>
                    <a:pt x="723" y="333"/>
                  </a:lnTo>
                  <a:lnTo>
                    <a:pt x="725" y="332"/>
                  </a:lnTo>
                  <a:lnTo>
                    <a:pt x="727" y="331"/>
                  </a:lnTo>
                  <a:lnTo>
                    <a:pt x="729" y="332"/>
                  </a:lnTo>
                  <a:lnTo>
                    <a:pt x="732" y="333"/>
                  </a:lnTo>
                  <a:lnTo>
                    <a:pt x="731" y="337"/>
                  </a:lnTo>
                  <a:lnTo>
                    <a:pt x="731" y="341"/>
                  </a:lnTo>
                  <a:lnTo>
                    <a:pt x="733" y="344"/>
                  </a:lnTo>
                  <a:lnTo>
                    <a:pt x="733" y="348"/>
                  </a:lnTo>
                  <a:lnTo>
                    <a:pt x="733" y="356"/>
                  </a:lnTo>
                  <a:lnTo>
                    <a:pt x="734" y="360"/>
                  </a:lnTo>
                  <a:lnTo>
                    <a:pt x="736" y="359"/>
                  </a:lnTo>
                  <a:lnTo>
                    <a:pt x="736" y="363"/>
                  </a:lnTo>
                  <a:lnTo>
                    <a:pt x="738" y="364"/>
                  </a:lnTo>
                  <a:lnTo>
                    <a:pt x="740" y="363"/>
                  </a:lnTo>
                  <a:lnTo>
                    <a:pt x="742" y="362"/>
                  </a:lnTo>
                  <a:lnTo>
                    <a:pt x="741" y="359"/>
                  </a:lnTo>
                  <a:lnTo>
                    <a:pt x="742" y="357"/>
                  </a:lnTo>
                  <a:lnTo>
                    <a:pt x="744" y="357"/>
                  </a:lnTo>
                  <a:lnTo>
                    <a:pt x="747" y="359"/>
                  </a:lnTo>
                  <a:lnTo>
                    <a:pt x="748" y="358"/>
                  </a:lnTo>
                  <a:lnTo>
                    <a:pt x="749" y="360"/>
                  </a:lnTo>
                  <a:lnTo>
                    <a:pt x="749" y="362"/>
                  </a:lnTo>
                  <a:lnTo>
                    <a:pt x="748" y="364"/>
                  </a:lnTo>
                  <a:lnTo>
                    <a:pt x="747" y="367"/>
                  </a:lnTo>
                  <a:lnTo>
                    <a:pt x="747" y="368"/>
                  </a:lnTo>
                  <a:lnTo>
                    <a:pt x="745" y="369"/>
                  </a:lnTo>
                  <a:lnTo>
                    <a:pt x="743" y="369"/>
                  </a:lnTo>
                  <a:lnTo>
                    <a:pt x="742" y="369"/>
                  </a:lnTo>
                  <a:lnTo>
                    <a:pt x="743" y="371"/>
                  </a:lnTo>
                  <a:lnTo>
                    <a:pt x="747" y="371"/>
                  </a:lnTo>
                  <a:lnTo>
                    <a:pt x="748" y="373"/>
                  </a:lnTo>
                  <a:lnTo>
                    <a:pt x="750" y="372"/>
                  </a:lnTo>
                  <a:lnTo>
                    <a:pt x="751" y="371"/>
                  </a:lnTo>
                  <a:lnTo>
                    <a:pt x="752" y="367"/>
                  </a:lnTo>
                  <a:lnTo>
                    <a:pt x="753" y="368"/>
                  </a:lnTo>
                  <a:lnTo>
                    <a:pt x="754" y="369"/>
                  </a:lnTo>
                  <a:lnTo>
                    <a:pt x="752" y="371"/>
                  </a:lnTo>
                  <a:lnTo>
                    <a:pt x="754" y="372"/>
                  </a:lnTo>
                  <a:lnTo>
                    <a:pt x="758" y="371"/>
                  </a:lnTo>
                  <a:lnTo>
                    <a:pt x="760" y="371"/>
                  </a:lnTo>
                  <a:lnTo>
                    <a:pt x="765" y="373"/>
                  </a:lnTo>
                  <a:lnTo>
                    <a:pt x="768" y="373"/>
                  </a:lnTo>
                  <a:lnTo>
                    <a:pt x="763" y="369"/>
                  </a:lnTo>
                  <a:lnTo>
                    <a:pt x="762" y="365"/>
                  </a:lnTo>
                  <a:lnTo>
                    <a:pt x="765" y="363"/>
                  </a:lnTo>
                  <a:lnTo>
                    <a:pt x="766" y="363"/>
                  </a:lnTo>
                  <a:lnTo>
                    <a:pt x="770" y="365"/>
                  </a:lnTo>
                  <a:lnTo>
                    <a:pt x="771" y="366"/>
                  </a:lnTo>
                  <a:lnTo>
                    <a:pt x="773" y="365"/>
                  </a:lnTo>
                  <a:lnTo>
                    <a:pt x="775" y="362"/>
                  </a:lnTo>
                  <a:lnTo>
                    <a:pt x="775" y="365"/>
                  </a:lnTo>
                  <a:lnTo>
                    <a:pt x="773" y="370"/>
                  </a:lnTo>
                  <a:lnTo>
                    <a:pt x="773" y="372"/>
                  </a:lnTo>
                  <a:lnTo>
                    <a:pt x="774" y="377"/>
                  </a:lnTo>
                  <a:lnTo>
                    <a:pt x="775" y="379"/>
                  </a:lnTo>
                  <a:lnTo>
                    <a:pt x="776" y="380"/>
                  </a:lnTo>
                  <a:lnTo>
                    <a:pt x="780" y="381"/>
                  </a:lnTo>
                  <a:lnTo>
                    <a:pt x="782" y="385"/>
                  </a:lnTo>
                  <a:lnTo>
                    <a:pt x="792" y="401"/>
                  </a:lnTo>
                  <a:lnTo>
                    <a:pt x="797" y="406"/>
                  </a:lnTo>
                  <a:lnTo>
                    <a:pt x="798" y="408"/>
                  </a:lnTo>
                  <a:lnTo>
                    <a:pt x="803" y="409"/>
                  </a:lnTo>
                  <a:lnTo>
                    <a:pt x="805" y="411"/>
                  </a:lnTo>
                  <a:lnTo>
                    <a:pt x="807" y="413"/>
                  </a:lnTo>
                  <a:lnTo>
                    <a:pt x="809" y="415"/>
                  </a:lnTo>
                  <a:lnTo>
                    <a:pt x="819" y="420"/>
                  </a:lnTo>
                  <a:lnTo>
                    <a:pt x="826" y="424"/>
                  </a:lnTo>
                  <a:lnTo>
                    <a:pt x="830" y="425"/>
                  </a:lnTo>
                  <a:lnTo>
                    <a:pt x="833" y="424"/>
                  </a:lnTo>
                  <a:lnTo>
                    <a:pt x="838" y="425"/>
                  </a:lnTo>
                  <a:lnTo>
                    <a:pt x="842" y="428"/>
                  </a:lnTo>
                  <a:lnTo>
                    <a:pt x="848" y="433"/>
                  </a:lnTo>
                  <a:lnTo>
                    <a:pt x="856" y="445"/>
                  </a:lnTo>
                  <a:lnTo>
                    <a:pt x="859" y="450"/>
                  </a:lnTo>
                  <a:lnTo>
                    <a:pt x="871" y="459"/>
                  </a:lnTo>
                  <a:lnTo>
                    <a:pt x="874" y="462"/>
                  </a:lnTo>
                  <a:lnTo>
                    <a:pt x="874" y="466"/>
                  </a:lnTo>
                  <a:lnTo>
                    <a:pt x="867" y="460"/>
                  </a:lnTo>
                  <a:lnTo>
                    <a:pt x="863" y="457"/>
                  </a:lnTo>
                  <a:lnTo>
                    <a:pt x="854" y="455"/>
                  </a:lnTo>
                  <a:lnTo>
                    <a:pt x="851" y="455"/>
                  </a:lnTo>
                  <a:lnTo>
                    <a:pt x="849" y="453"/>
                  </a:lnTo>
                  <a:lnTo>
                    <a:pt x="849" y="446"/>
                  </a:lnTo>
                  <a:lnTo>
                    <a:pt x="847" y="447"/>
                  </a:lnTo>
                  <a:lnTo>
                    <a:pt x="846" y="450"/>
                  </a:lnTo>
                  <a:lnTo>
                    <a:pt x="844" y="454"/>
                  </a:lnTo>
                  <a:lnTo>
                    <a:pt x="844" y="458"/>
                  </a:lnTo>
                  <a:lnTo>
                    <a:pt x="845" y="460"/>
                  </a:lnTo>
                  <a:lnTo>
                    <a:pt x="846" y="462"/>
                  </a:lnTo>
                  <a:lnTo>
                    <a:pt x="848" y="463"/>
                  </a:lnTo>
                  <a:lnTo>
                    <a:pt x="849" y="464"/>
                  </a:lnTo>
                  <a:lnTo>
                    <a:pt x="848" y="476"/>
                  </a:lnTo>
                  <a:lnTo>
                    <a:pt x="848" y="479"/>
                  </a:lnTo>
                  <a:lnTo>
                    <a:pt x="853" y="493"/>
                  </a:lnTo>
                  <a:lnTo>
                    <a:pt x="855" y="496"/>
                  </a:lnTo>
                  <a:lnTo>
                    <a:pt x="857" y="500"/>
                  </a:lnTo>
                  <a:lnTo>
                    <a:pt x="860" y="501"/>
                  </a:lnTo>
                  <a:lnTo>
                    <a:pt x="874" y="506"/>
                  </a:lnTo>
                  <a:lnTo>
                    <a:pt x="879" y="510"/>
                  </a:lnTo>
                  <a:lnTo>
                    <a:pt x="882" y="517"/>
                  </a:lnTo>
                  <a:lnTo>
                    <a:pt x="884" y="525"/>
                  </a:lnTo>
                  <a:lnTo>
                    <a:pt x="883" y="546"/>
                  </a:lnTo>
                  <a:lnTo>
                    <a:pt x="883" y="550"/>
                  </a:lnTo>
                  <a:lnTo>
                    <a:pt x="881" y="554"/>
                  </a:lnTo>
                  <a:lnTo>
                    <a:pt x="878" y="556"/>
                  </a:lnTo>
                  <a:lnTo>
                    <a:pt x="878" y="554"/>
                  </a:lnTo>
                  <a:lnTo>
                    <a:pt x="877" y="553"/>
                  </a:lnTo>
                  <a:lnTo>
                    <a:pt x="874" y="553"/>
                  </a:lnTo>
                  <a:lnTo>
                    <a:pt x="873" y="554"/>
                  </a:lnTo>
                  <a:lnTo>
                    <a:pt x="874" y="560"/>
                  </a:lnTo>
                  <a:lnTo>
                    <a:pt x="874" y="567"/>
                  </a:lnTo>
                  <a:lnTo>
                    <a:pt x="872" y="574"/>
                  </a:lnTo>
                  <a:lnTo>
                    <a:pt x="871" y="579"/>
                  </a:lnTo>
                  <a:lnTo>
                    <a:pt x="869" y="577"/>
                  </a:lnTo>
                  <a:lnTo>
                    <a:pt x="868" y="575"/>
                  </a:lnTo>
                  <a:lnTo>
                    <a:pt x="868" y="572"/>
                  </a:lnTo>
                  <a:lnTo>
                    <a:pt x="867" y="569"/>
                  </a:lnTo>
                  <a:lnTo>
                    <a:pt x="866" y="567"/>
                  </a:lnTo>
                  <a:lnTo>
                    <a:pt x="864" y="565"/>
                  </a:lnTo>
                  <a:lnTo>
                    <a:pt x="864" y="564"/>
                  </a:lnTo>
                  <a:lnTo>
                    <a:pt x="861" y="561"/>
                  </a:lnTo>
                  <a:lnTo>
                    <a:pt x="860" y="561"/>
                  </a:lnTo>
                  <a:lnTo>
                    <a:pt x="859" y="556"/>
                  </a:lnTo>
                  <a:lnTo>
                    <a:pt x="858" y="554"/>
                  </a:lnTo>
                  <a:lnTo>
                    <a:pt x="856" y="552"/>
                  </a:lnTo>
                  <a:lnTo>
                    <a:pt x="855" y="549"/>
                  </a:lnTo>
                  <a:lnTo>
                    <a:pt x="853" y="548"/>
                  </a:lnTo>
                  <a:lnTo>
                    <a:pt x="851" y="549"/>
                  </a:lnTo>
                  <a:lnTo>
                    <a:pt x="847" y="558"/>
                  </a:lnTo>
                  <a:lnTo>
                    <a:pt x="845" y="559"/>
                  </a:lnTo>
                  <a:lnTo>
                    <a:pt x="843" y="560"/>
                  </a:lnTo>
                  <a:lnTo>
                    <a:pt x="844" y="562"/>
                  </a:lnTo>
                  <a:lnTo>
                    <a:pt x="846" y="565"/>
                  </a:lnTo>
                  <a:lnTo>
                    <a:pt x="847" y="566"/>
                  </a:lnTo>
                  <a:lnTo>
                    <a:pt x="848" y="567"/>
                  </a:lnTo>
                  <a:lnTo>
                    <a:pt x="849" y="570"/>
                  </a:lnTo>
                  <a:lnTo>
                    <a:pt x="849" y="572"/>
                  </a:lnTo>
                  <a:lnTo>
                    <a:pt x="846" y="573"/>
                  </a:lnTo>
                  <a:lnTo>
                    <a:pt x="846" y="575"/>
                  </a:lnTo>
                  <a:lnTo>
                    <a:pt x="846" y="577"/>
                  </a:lnTo>
                  <a:lnTo>
                    <a:pt x="847" y="580"/>
                  </a:lnTo>
                  <a:lnTo>
                    <a:pt x="847" y="583"/>
                  </a:lnTo>
                  <a:lnTo>
                    <a:pt x="846" y="585"/>
                  </a:lnTo>
                  <a:lnTo>
                    <a:pt x="849" y="586"/>
                  </a:lnTo>
                  <a:lnTo>
                    <a:pt x="851" y="585"/>
                  </a:lnTo>
                  <a:lnTo>
                    <a:pt x="852" y="583"/>
                  </a:lnTo>
                  <a:lnTo>
                    <a:pt x="851" y="579"/>
                  </a:lnTo>
                  <a:lnTo>
                    <a:pt x="853" y="580"/>
                  </a:lnTo>
                  <a:lnTo>
                    <a:pt x="854" y="581"/>
                  </a:lnTo>
                  <a:lnTo>
                    <a:pt x="856" y="583"/>
                  </a:lnTo>
                  <a:lnTo>
                    <a:pt x="856" y="584"/>
                  </a:lnTo>
                  <a:lnTo>
                    <a:pt x="858" y="584"/>
                  </a:lnTo>
                  <a:lnTo>
                    <a:pt x="858" y="586"/>
                  </a:lnTo>
                  <a:lnTo>
                    <a:pt x="860" y="587"/>
                  </a:lnTo>
                  <a:lnTo>
                    <a:pt x="864" y="588"/>
                  </a:lnTo>
                  <a:lnTo>
                    <a:pt x="866" y="591"/>
                  </a:lnTo>
                  <a:lnTo>
                    <a:pt x="867" y="593"/>
                  </a:lnTo>
                  <a:lnTo>
                    <a:pt x="869" y="597"/>
                  </a:lnTo>
                  <a:lnTo>
                    <a:pt x="869" y="599"/>
                  </a:lnTo>
                  <a:lnTo>
                    <a:pt x="865" y="602"/>
                  </a:lnTo>
                  <a:lnTo>
                    <a:pt x="867" y="611"/>
                  </a:lnTo>
                  <a:lnTo>
                    <a:pt x="871" y="620"/>
                  </a:lnTo>
                  <a:lnTo>
                    <a:pt x="874" y="627"/>
                  </a:lnTo>
                  <a:lnTo>
                    <a:pt x="885" y="638"/>
                  </a:lnTo>
                  <a:lnTo>
                    <a:pt x="888" y="645"/>
                  </a:lnTo>
                  <a:lnTo>
                    <a:pt x="890" y="654"/>
                  </a:lnTo>
                  <a:lnTo>
                    <a:pt x="889" y="654"/>
                  </a:lnTo>
                  <a:lnTo>
                    <a:pt x="886" y="645"/>
                  </a:lnTo>
                  <a:lnTo>
                    <a:pt x="885" y="645"/>
                  </a:lnTo>
                  <a:lnTo>
                    <a:pt x="883" y="644"/>
                  </a:lnTo>
                  <a:lnTo>
                    <a:pt x="881" y="643"/>
                  </a:lnTo>
                  <a:lnTo>
                    <a:pt x="879" y="641"/>
                  </a:lnTo>
                  <a:lnTo>
                    <a:pt x="877" y="638"/>
                  </a:lnTo>
                  <a:lnTo>
                    <a:pt x="874" y="636"/>
                  </a:lnTo>
                  <a:lnTo>
                    <a:pt x="871" y="636"/>
                  </a:lnTo>
                  <a:lnTo>
                    <a:pt x="871" y="639"/>
                  </a:lnTo>
                  <a:lnTo>
                    <a:pt x="872" y="642"/>
                  </a:lnTo>
                  <a:lnTo>
                    <a:pt x="877" y="645"/>
                  </a:lnTo>
                  <a:lnTo>
                    <a:pt x="878" y="647"/>
                  </a:lnTo>
                  <a:lnTo>
                    <a:pt x="879" y="645"/>
                  </a:lnTo>
                  <a:lnTo>
                    <a:pt x="880" y="645"/>
                  </a:lnTo>
                  <a:lnTo>
                    <a:pt x="886" y="658"/>
                  </a:lnTo>
                  <a:lnTo>
                    <a:pt x="906" y="683"/>
                  </a:lnTo>
                  <a:lnTo>
                    <a:pt x="909" y="686"/>
                  </a:lnTo>
                  <a:lnTo>
                    <a:pt x="909" y="683"/>
                  </a:lnTo>
                  <a:lnTo>
                    <a:pt x="909" y="681"/>
                  </a:lnTo>
                  <a:lnTo>
                    <a:pt x="908" y="678"/>
                  </a:lnTo>
                  <a:lnTo>
                    <a:pt x="909" y="677"/>
                  </a:lnTo>
                  <a:lnTo>
                    <a:pt x="911" y="676"/>
                  </a:lnTo>
                  <a:lnTo>
                    <a:pt x="912" y="677"/>
                  </a:lnTo>
                  <a:lnTo>
                    <a:pt x="913" y="681"/>
                  </a:lnTo>
                  <a:lnTo>
                    <a:pt x="915" y="683"/>
                  </a:lnTo>
                  <a:lnTo>
                    <a:pt x="916" y="685"/>
                  </a:lnTo>
                  <a:lnTo>
                    <a:pt x="919" y="687"/>
                  </a:lnTo>
                  <a:lnTo>
                    <a:pt x="924" y="689"/>
                  </a:lnTo>
                  <a:lnTo>
                    <a:pt x="926" y="691"/>
                  </a:lnTo>
                  <a:lnTo>
                    <a:pt x="930" y="699"/>
                  </a:lnTo>
                  <a:lnTo>
                    <a:pt x="928" y="700"/>
                  </a:lnTo>
                  <a:lnTo>
                    <a:pt x="931" y="703"/>
                  </a:lnTo>
                  <a:lnTo>
                    <a:pt x="932" y="708"/>
                  </a:lnTo>
                  <a:lnTo>
                    <a:pt x="934" y="714"/>
                  </a:lnTo>
                  <a:lnTo>
                    <a:pt x="935" y="717"/>
                  </a:lnTo>
                  <a:lnTo>
                    <a:pt x="935" y="720"/>
                  </a:lnTo>
                  <a:lnTo>
                    <a:pt x="934" y="724"/>
                  </a:lnTo>
                  <a:lnTo>
                    <a:pt x="934" y="726"/>
                  </a:lnTo>
                  <a:lnTo>
                    <a:pt x="934" y="729"/>
                  </a:lnTo>
                  <a:lnTo>
                    <a:pt x="936" y="731"/>
                  </a:lnTo>
                  <a:lnTo>
                    <a:pt x="937" y="735"/>
                  </a:lnTo>
                  <a:lnTo>
                    <a:pt x="939" y="739"/>
                  </a:lnTo>
                  <a:lnTo>
                    <a:pt x="939" y="742"/>
                  </a:lnTo>
                  <a:lnTo>
                    <a:pt x="939" y="750"/>
                  </a:lnTo>
                  <a:lnTo>
                    <a:pt x="939" y="758"/>
                  </a:lnTo>
                  <a:lnTo>
                    <a:pt x="941" y="761"/>
                  </a:lnTo>
                  <a:lnTo>
                    <a:pt x="943" y="764"/>
                  </a:lnTo>
                  <a:lnTo>
                    <a:pt x="945" y="760"/>
                  </a:lnTo>
                  <a:lnTo>
                    <a:pt x="948" y="764"/>
                  </a:lnTo>
                  <a:lnTo>
                    <a:pt x="954" y="770"/>
                  </a:lnTo>
                  <a:lnTo>
                    <a:pt x="955" y="773"/>
                  </a:lnTo>
                  <a:lnTo>
                    <a:pt x="958" y="775"/>
                  </a:lnTo>
                  <a:lnTo>
                    <a:pt x="961" y="788"/>
                  </a:lnTo>
                  <a:lnTo>
                    <a:pt x="966" y="790"/>
                  </a:lnTo>
                  <a:lnTo>
                    <a:pt x="969" y="794"/>
                  </a:lnTo>
                  <a:lnTo>
                    <a:pt x="970" y="801"/>
                  </a:lnTo>
                  <a:lnTo>
                    <a:pt x="970" y="813"/>
                  </a:lnTo>
                  <a:lnTo>
                    <a:pt x="971" y="814"/>
                  </a:lnTo>
                  <a:lnTo>
                    <a:pt x="973" y="818"/>
                  </a:lnTo>
                  <a:lnTo>
                    <a:pt x="975" y="820"/>
                  </a:lnTo>
                  <a:lnTo>
                    <a:pt x="977" y="822"/>
                  </a:lnTo>
                  <a:lnTo>
                    <a:pt x="979" y="822"/>
                  </a:lnTo>
                  <a:lnTo>
                    <a:pt x="983" y="819"/>
                  </a:lnTo>
                  <a:lnTo>
                    <a:pt x="994" y="839"/>
                  </a:lnTo>
                  <a:lnTo>
                    <a:pt x="1003" y="848"/>
                  </a:lnTo>
                  <a:lnTo>
                    <a:pt x="1011" y="851"/>
                  </a:lnTo>
                  <a:lnTo>
                    <a:pt x="1021" y="853"/>
                  </a:lnTo>
                  <a:lnTo>
                    <a:pt x="1030" y="853"/>
                  </a:lnTo>
                  <a:lnTo>
                    <a:pt x="1039" y="850"/>
                  </a:lnTo>
                  <a:lnTo>
                    <a:pt x="1051" y="841"/>
                  </a:lnTo>
                  <a:lnTo>
                    <a:pt x="1051" y="843"/>
                  </a:lnTo>
                  <a:lnTo>
                    <a:pt x="1059" y="841"/>
                  </a:lnTo>
                  <a:lnTo>
                    <a:pt x="1061" y="843"/>
                  </a:lnTo>
                  <a:lnTo>
                    <a:pt x="1063" y="844"/>
                  </a:lnTo>
                  <a:lnTo>
                    <a:pt x="1064" y="845"/>
                  </a:lnTo>
                  <a:lnTo>
                    <a:pt x="1066" y="843"/>
                  </a:lnTo>
                  <a:lnTo>
                    <a:pt x="1067" y="845"/>
                  </a:lnTo>
                  <a:lnTo>
                    <a:pt x="1066" y="847"/>
                  </a:lnTo>
                  <a:lnTo>
                    <a:pt x="1065" y="848"/>
                  </a:lnTo>
                  <a:lnTo>
                    <a:pt x="1063" y="850"/>
                  </a:lnTo>
                  <a:lnTo>
                    <a:pt x="1063" y="851"/>
                  </a:lnTo>
                  <a:lnTo>
                    <a:pt x="1065" y="854"/>
                  </a:lnTo>
                  <a:lnTo>
                    <a:pt x="1064" y="860"/>
                  </a:lnTo>
                  <a:lnTo>
                    <a:pt x="1065" y="861"/>
                  </a:lnTo>
                  <a:lnTo>
                    <a:pt x="1068" y="860"/>
                  </a:lnTo>
                  <a:lnTo>
                    <a:pt x="1070" y="858"/>
                  </a:lnTo>
                  <a:lnTo>
                    <a:pt x="1075" y="850"/>
                  </a:lnTo>
                  <a:lnTo>
                    <a:pt x="1077" y="848"/>
                  </a:lnTo>
                  <a:lnTo>
                    <a:pt x="1080" y="846"/>
                  </a:lnTo>
                  <a:lnTo>
                    <a:pt x="1081" y="844"/>
                  </a:lnTo>
                  <a:lnTo>
                    <a:pt x="1081" y="840"/>
                  </a:lnTo>
                  <a:lnTo>
                    <a:pt x="1083" y="841"/>
                  </a:lnTo>
                  <a:lnTo>
                    <a:pt x="1086" y="842"/>
                  </a:lnTo>
                  <a:lnTo>
                    <a:pt x="1089" y="842"/>
                  </a:lnTo>
                  <a:lnTo>
                    <a:pt x="1089" y="844"/>
                  </a:lnTo>
                  <a:lnTo>
                    <a:pt x="1091" y="847"/>
                  </a:lnTo>
                  <a:lnTo>
                    <a:pt x="1093" y="847"/>
                  </a:lnTo>
                  <a:lnTo>
                    <a:pt x="1096" y="847"/>
                  </a:lnTo>
                  <a:lnTo>
                    <a:pt x="1098" y="849"/>
                  </a:lnTo>
                  <a:lnTo>
                    <a:pt x="1098" y="850"/>
                  </a:lnTo>
                  <a:lnTo>
                    <a:pt x="1095" y="851"/>
                  </a:lnTo>
                  <a:lnTo>
                    <a:pt x="1091" y="852"/>
                  </a:lnTo>
                  <a:lnTo>
                    <a:pt x="1089" y="854"/>
                  </a:lnTo>
                  <a:lnTo>
                    <a:pt x="1088" y="857"/>
                  </a:lnTo>
                  <a:lnTo>
                    <a:pt x="1087" y="857"/>
                  </a:lnTo>
                  <a:lnTo>
                    <a:pt x="1083" y="861"/>
                  </a:lnTo>
                  <a:lnTo>
                    <a:pt x="1082" y="863"/>
                  </a:lnTo>
                  <a:lnTo>
                    <a:pt x="1082" y="866"/>
                  </a:lnTo>
                  <a:lnTo>
                    <a:pt x="1081" y="866"/>
                  </a:lnTo>
                  <a:lnTo>
                    <a:pt x="1071" y="874"/>
                  </a:lnTo>
                  <a:lnTo>
                    <a:pt x="1068" y="877"/>
                  </a:lnTo>
                  <a:lnTo>
                    <a:pt x="1067" y="880"/>
                  </a:lnTo>
                  <a:lnTo>
                    <a:pt x="1066" y="881"/>
                  </a:lnTo>
                  <a:lnTo>
                    <a:pt x="1066" y="883"/>
                  </a:lnTo>
                  <a:lnTo>
                    <a:pt x="1065" y="888"/>
                  </a:lnTo>
                  <a:lnTo>
                    <a:pt x="1065" y="889"/>
                  </a:lnTo>
                  <a:lnTo>
                    <a:pt x="1065" y="892"/>
                  </a:lnTo>
                  <a:lnTo>
                    <a:pt x="1064" y="893"/>
                  </a:lnTo>
                  <a:lnTo>
                    <a:pt x="1062" y="893"/>
                  </a:lnTo>
                  <a:lnTo>
                    <a:pt x="1061" y="894"/>
                  </a:lnTo>
                  <a:lnTo>
                    <a:pt x="1061" y="897"/>
                  </a:lnTo>
                  <a:lnTo>
                    <a:pt x="1061" y="899"/>
                  </a:lnTo>
                  <a:lnTo>
                    <a:pt x="1062" y="900"/>
                  </a:lnTo>
                  <a:lnTo>
                    <a:pt x="1072" y="901"/>
                  </a:lnTo>
                  <a:lnTo>
                    <a:pt x="1076" y="900"/>
                  </a:lnTo>
                  <a:lnTo>
                    <a:pt x="1078" y="899"/>
                  </a:lnTo>
                  <a:lnTo>
                    <a:pt x="1080" y="897"/>
                  </a:lnTo>
                  <a:lnTo>
                    <a:pt x="1081" y="897"/>
                  </a:lnTo>
                  <a:lnTo>
                    <a:pt x="1083" y="897"/>
                  </a:lnTo>
                  <a:lnTo>
                    <a:pt x="1095" y="899"/>
                  </a:lnTo>
                  <a:lnTo>
                    <a:pt x="1097" y="901"/>
                  </a:lnTo>
                  <a:lnTo>
                    <a:pt x="1103" y="907"/>
                  </a:lnTo>
                  <a:lnTo>
                    <a:pt x="1110" y="909"/>
                  </a:lnTo>
                  <a:lnTo>
                    <a:pt x="1111" y="916"/>
                  </a:lnTo>
                  <a:lnTo>
                    <a:pt x="1111" y="920"/>
                  </a:lnTo>
                  <a:lnTo>
                    <a:pt x="1111" y="933"/>
                  </a:lnTo>
                  <a:lnTo>
                    <a:pt x="1112" y="937"/>
                  </a:lnTo>
                  <a:lnTo>
                    <a:pt x="1114" y="942"/>
                  </a:lnTo>
                  <a:lnTo>
                    <a:pt x="1150" y="988"/>
                  </a:lnTo>
                  <a:lnTo>
                    <a:pt x="1176" y="1022"/>
                  </a:lnTo>
                  <a:lnTo>
                    <a:pt x="1185" y="1034"/>
                  </a:lnTo>
                  <a:lnTo>
                    <a:pt x="1219" y="1079"/>
                  </a:lnTo>
                  <a:lnTo>
                    <a:pt x="1237" y="1102"/>
                  </a:lnTo>
                  <a:lnTo>
                    <a:pt x="1263" y="1136"/>
                  </a:lnTo>
                  <a:lnTo>
                    <a:pt x="1272" y="1148"/>
                  </a:lnTo>
                  <a:lnTo>
                    <a:pt x="1275" y="1150"/>
                  </a:lnTo>
                  <a:lnTo>
                    <a:pt x="1279" y="1152"/>
                  </a:lnTo>
                  <a:lnTo>
                    <a:pt x="1353" y="1161"/>
                  </a:lnTo>
                  <a:lnTo>
                    <a:pt x="1469" y="1177"/>
                  </a:lnTo>
                  <a:lnTo>
                    <a:pt x="1539" y="1186"/>
                  </a:lnTo>
                  <a:lnTo>
                    <a:pt x="1586" y="1193"/>
                  </a:lnTo>
                  <a:lnTo>
                    <a:pt x="1609" y="1195"/>
                  </a:lnTo>
                  <a:lnTo>
                    <a:pt x="1655" y="1201"/>
                  </a:lnTo>
                  <a:lnTo>
                    <a:pt x="1701" y="1208"/>
                  </a:lnTo>
                  <a:lnTo>
                    <a:pt x="1704" y="1208"/>
                  </a:lnTo>
                  <a:lnTo>
                    <a:pt x="1714" y="1193"/>
                  </a:lnTo>
                  <a:lnTo>
                    <a:pt x="1739" y="1233"/>
                  </a:lnTo>
                  <a:lnTo>
                    <a:pt x="1766" y="1278"/>
                  </a:lnTo>
                  <a:lnTo>
                    <a:pt x="1789" y="1316"/>
                  </a:lnTo>
                  <a:lnTo>
                    <a:pt x="1790" y="1320"/>
                  </a:lnTo>
                  <a:lnTo>
                    <a:pt x="1790" y="1324"/>
                  </a:lnTo>
                  <a:lnTo>
                    <a:pt x="1783" y="1347"/>
                  </a:lnTo>
                  <a:lnTo>
                    <a:pt x="1774" y="1376"/>
                  </a:lnTo>
                  <a:lnTo>
                    <a:pt x="1760" y="1421"/>
                  </a:lnTo>
                  <a:lnTo>
                    <a:pt x="1744" y="1476"/>
                  </a:lnTo>
                  <a:lnTo>
                    <a:pt x="1734" y="1506"/>
                  </a:lnTo>
                  <a:lnTo>
                    <a:pt x="1708" y="1590"/>
                  </a:lnTo>
                  <a:lnTo>
                    <a:pt x="1694" y="1635"/>
                  </a:lnTo>
                  <a:lnTo>
                    <a:pt x="1690" y="1650"/>
                  </a:lnTo>
                  <a:lnTo>
                    <a:pt x="1680" y="1681"/>
                  </a:lnTo>
                  <a:lnTo>
                    <a:pt x="1626" y="1700"/>
                  </a:lnTo>
                  <a:lnTo>
                    <a:pt x="1541" y="1730"/>
                  </a:lnTo>
                  <a:lnTo>
                    <a:pt x="1483" y="1750"/>
                  </a:lnTo>
                  <a:lnTo>
                    <a:pt x="1455" y="1761"/>
                  </a:lnTo>
                  <a:lnTo>
                    <a:pt x="1398" y="1781"/>
                  </a:lnTo>
                  <a:lnTo>
                    <a:pt x="1368" y="1791"/>
                  </a:lnTo>
                  <a:lnTo>
                    <a:pt x="1311" y="1811"/>
                  </a:lnTo>
                  <a:lnTo>
                    <a:pt x="1283" y="1822"/>
                  </a:lnTo>
                  <a:lnTo>
                    <a:pt x="1225" y="1841"/>
                  </a:lnTo>
                  <a:lnTo>
                    <a:pt x="1197" y="1852"/>
                  </a:lnTo>
                  <a:lnTo>
                    <a:pt x="1178" y="1858"/>
                  </a:lnTo>
                  <a:lnTo>
                    <a:pt x="1098" y="1870"/>
                  </a:lnTo>
                  <a:lnTo>
                    <a:pt x="991" y="1886"/>
                  </a:lnTo>
                  <a:lnTo>
                    <a:pt x="964" y="1889"/>
                  </a:lnTo>
                  <a:lnTo>
                    <a:pt x="938" y="1893"/>
                  </a:lnTo>
                  <a:lnTo>
                    <a:pt x="884" y="1901"/>
                  </a:lnTo>
                  <a:lnTo>
                    <a:pt x="857" y="1904"/>
                  </a:lnTo>
                  <a:lnTo>
                    <a:pt x="723" y="1924"/>
                  </a:lnTo>
                  <a:lnTo>
                    <a:pt x="701" y="1926"/>
                  </a:lnTo>
                  <a:lnTo>
                    <a:pt x="686" y="1932"/>
                  </a:lnTo>
                  <a:lnTo>
                    <a:pt x="654" y="1948"/>
                  </a:lnTo>
                  <a:lnTo>
                    <a:pt x="593" y="1979"/>
                  </a:lnTo>
                  <a:lnTo>
                    <a:pt x="544" y="2006"/>
                  </a:lnTo>
                  <a:lnTo>
                    <a:pt x="540" y="2008"/>
                  </a:lnTo>
                  <a:lnTo>
                    <a:pt x="526" y="2024"/>
                  </a:lnTo>
                  <a:lnTo>
                    <a:pt x="511" y="2044"/>
                  </a:lnTo>
                  <a:lnTo>
                    <a:pt x="486" y="2077"/>
                  </a:lnTo>
                  <a:lnTo>
                    <a:pt x="444" y="2129"/>
                  </a:lnTo>
                  <a:lnTo>
                    <a:pt x="442" y="2135"/>
                  </a:lnTo>
                  <a:lnTo>
                    <a:pt x="422" y="2188"/>
                  </a:lnTo>
                  <a:lnTo>
                    <a:pt x="417" y="2194"/>
                  </a:lnTo>
                  <a:lnTo>
                    <a:pt x="417" y="2194"/>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293" name="Freeform 9">
              <a:extLst>
                <a:ext uri="{FF2B5EF4-FFF2-40B4-BE49-F238E27FC236}"/>
              </a:extLst>
            </p:cNvPr>
            <p:cNvSpPr>
              <a:spLocks/>
            </p:cNvSpPr>
            <p:nvPr/>
          </p:nvSpPr>
          <p:spPr bwMode="auto">
            <a:xfrm>
              <a:off x="2284413" y="3302000"/>
              <a:ext cx="1411288" cy="1439863"/>
            </a:xfrm>
            <a:custGeom>
              <a:avLst/>
              <a:gdLst>
                <a:gd name="T0" fmla="*/ 504 w 889"/>
                <a:gd name="T1" fmla="*/ 179 h 907"/>
                <a:gd name="T2" fmla="*/ 526 w 889"/>
                <a:gd name="T3" fmla="*/ 196 h 907"/>
                <a:gd name="T4" fmla="*/ 531 w 889"/>
                <a:gd name="T5" fmla="*/ 320 h 907"/>
                <a:gd name="T6" fmla="*/ 546 w 889"/>
                <a:gd name="T7" fmla="*/ 389 h 907"/>
                <a:gd name="T8" fmla="*/ 638 w 889"/>
                <a:gd name="T9" fmla="*/ 371 h 907"/>
                <a:gd name="T10" fmla="*/ 674 w 889"/>
                <a:gd name="T11" fmla="*/ 340 h 907"/>
                <a:gd name="T12" fmla="*/ 808 w 889"/>
                <a:gd name="T13" fmla="*/ 357 h 907"/>
                <a:gd name="T14" fmla="*/ 818 w 889"/>
                <a:gd name="T15" fmla="*/ 433 h 907"/>
                <a:gd name="T16" fmla="*/ 866 w 889"/>
                <a:gd name="T17" fmla="*/ 494 h 907"/>
                <a:gd name="T18" fmla="*/ 884 w 889"/>
                <a:gd name="T19" fmla="*/ 539 h 907"/>
                <a:gd name="T20" fmla="*/ 875 w 889"/>
                <a:gd name="T21" fmla="*/ 578 h 907"/>
                <a:gd name="T22" fmla="*/ 829 w 889"/>
                <a:gd name="T23" fmla="*/ 645 h 907"/>
                <a:gd name="T24" fmla="*/ 830 w 889"/>
                <a:gd name="T25" fmla="*/ 690 h 907"/>
                <a:gd name="T26" fmla="*/ 752 w 889"/>
                <a:gd name="T27" fmla="*/ 745 h 907"/>
                <a:gd name="T28" fmla="*/ 776 w 889"/>
                <a:gd name="T29" fmla="*/ 780 h 907"/>
                <a:gd name="T30" fmla="*/ 654 w 889"/>
                <a:gd name="T31" fmla="*/ 884 h 907"/>
                <a:gd name="T32" fmla="*/ 583 w 889"/>
                <a:gd name="T33" fmla="*/ 903 h 907"/>
                <a:gd name="T34" fmla="*/ 550 w 889"/>
                <a:gd name="T35" fmla="*/ 899 h 907"/>
                <a:gd name="T36" fmla="*/ 547 w 889"/>
                <a:gd name="T37" fmla="*/ 862 h 907"/>
                <a:gd name="T38" fmla="*/ 519 w 889"/>
                <a:gd name="T39" fmla="*/ 839 h 907"/>
                <a:gd name="T40" fmla="*/ 524 w 889"/>
                <a:gd name="T41" fmla="*/ 787 h 907"/>
                <a:gd name="T42" fmla="*/ 446 w 889"/>
                <a:gd name="T43" fmla="*/ 790 h 907"/>
                <a:gd name="T44" fmla="*/ 402 w 889"/>
                <a:gd name="T45" fmla="*/ 781 h 907"/>
                <a:gd name="T46" fmla="*/ 349 w 889"/>
                <a:gd name="T47" fmla="*/ 732 h 907"/>
                <a:gd name="T48" fmla="*/ 305 w 889"/>
                <a:gd name="T49" fmla="*/ 716 h 907"/>
                <a:gd name="T50" fmla="*/ 303 w 889"/>
                <a:gd name="T51" fmla="*/ 717 h 907"/>
                <a:gd name="T52" fmla="*/ 281 w 889"/>
                <a:gd name="T53" fmla="*/ 675 h 907"/>
                <a:gd name="T54" fmla="*/ 267 w 889"/>
                <a:gd name="T55" fmla="*/ 657 h 907"/>
                <a:gd name="T56" fmla="*/ 244 w 889"/>
                <a:gd name="T57" fmla="*/ 640 h 907"/>
                <a:gd name="T58" fmla="*/ 217 w 889"/>
                <a:gd name="T59" fmla="*/ 618 h 907"/>
                <a:gd name="T60" fmla="*/ 197 w 889"/>
                <a:gd name="T61" fmla="*/ 602 h 907"/>
                <a:gd name="T62" fmla="*/ 194 w 889"/>
                <a:gd name="T63" fmla="*/ 592 h 907"/>
                <a:gd name="T64" fmla="*/ 187 w 889"/>
                <a:gd name="T65" fmla="*/ 602 h 907"/>
                <a:gd name="T66" fmla="*/ 156 w 889"/>
                <a:gd name="T67" fmla="*/ 582 h 907"/>
                <a:gd name="T68" fmla="*/ 135 w 889"/>
                <a:gd name="T69" fmla="*/ 586 h 907"/>
                <a:gd name="T70" fmla="*/ 106 w 889"/>
                <a:gd name="T71" fmla="*/ 557 h 907"/>
                <a:gd name="T72" fmla="*/ 103 w 889"/>
                <a:gd name="T73" fmla="*/ 519 h 907"/>
                <a:gd name="T74" fmla="*/ 139 w 889"/>
                <a:gd name="T75" fmla="*/ 505 h 907"/>
                <a:gd name="T76" fmla="*/ 171 w 889"/>
                <a:gd name="T77" fmla="*/ 486 h 907"/>
                <a:gd name="T78" fmla="*/ 204 w 889"/>
                <a:gd name="T79" fmla="*/ 470 h 907"/>
                <a:gd name="T80" fmla="*/ 188 w 889"/>
                <a:gd name="T81" fmla="*/ 356 h 907"/>
                <a:gd name="T82" fmla="*/ 163 w 889"/>
                <a:gd name="T83" fmla="*/ 301 h 907"/>
                <a:gd name="T84" fmla="*/ 98 w 889"/>
                <a:gd name="T85" fmla="*/ 240 h 907"/>
                <a:gd name="T86" fmla="*/ 75 w 889"/>
                <a:gd name="T87" fmla="*/ 226 h 907"/>
                <a:gd name="T88" fmla="*/ 80 w 889"/>
                <a:gd name="T89" fmla="*/ 163 h 907"/>
                <a:gd name="T90" fmla="*/ 45 w 889"/>
                <a:gd name="T91" fmla="*/ 135 h 907"/>
                <a:gd name="T92" fmla="*/ 37 w 889"/>
                <a:gd name="T93" fmla="*/ 77 h 907"/>
                <a:gd name="T94" fmla="*/ 22 w 889"/>
                <a:gd name="T95" fmla="*/ 39 h 907"/>
                <a:gd name="T96" fmla="*/ 4 w 889"/>
                <a:gd name="T97" fmla="*/ 30 h 907"/>
                <a:gd name="T98" fmla="*/ 105 w 889"/>
                <a:gd name="T99" fmla="*/ 15 h 907"/>
                <a:gd name="T100" fmla="*/ 165 w 889"/>
                <a:gd name="T101" fmla="*/ 0 h 907"/>
                <a:gd name="T102" fmla="*/ 197 w 889"/>
                <a:gd name="T103" fmla="*/ 59 h 907"/>
                <a:gd name="T104" fmla="*/ 239 w 889"/>
                <a:gd name="T105" fmla="*/ 72 h 907"/>
                <a:gd name="T106" fmla="*/ 257 w 889"/>
                <a:gd name="T107" fmla="*/ 102 h 907"/>
                <a:gd name="T108" fmla="*/ 288 w 889"/>
                <a:gd name="T109" fmla="*/ 96 h 907"/>
                <a:gd name="T110" fmla="*/ 327 w 889"/>
                <a:gd name="T111" fmla="*/ 100 h 907"/>
                <a:gd name="T112" fmla="*/ 339 w 889"/>
                <a:gd name="T113" fmla="*/ 102 h 907"/>
                <a:gd name="T114" fmla="*/ 491 w 889"/>
                <a:gd name="T115" fmla="*/ 12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9" h="907">
                  <a:moveTo>
                    <a:pt x="508" y="138"/>
                  </a:moveTo>
                  <a:lnTo>
                    <a:pt x="511" y="146"/>
                  </a:lnTo>
                  <a:lnTo>
                    <a:pt x="511" y="150"/>
                  </a:lnTo>
                  <a:lnTo>
                    <a:pt x="511" y="154"/>
                  </a:lnTo>
                  <a:lnTo>
                    <a:pt x="511" y="159"/>
                  </a:lnTo>
                  <a:lnTo>
                    <a:pt x="510" y="166"/>
                  </a:lnTo>
                  <a:lnTo>
                    <a:pt x="510" y="168"/>
                  </a:lnTo>
                  <a:lnTo>
                    <a:pt x="504" y="179"/>
                  </a:lnTo>
                  <a:lnTo>
                    <a:pt x="501" y="184"/>
                  </a:lnTo>
                  <a:lnTo>
                    <a:pt x="502" y="189"/>
                  </a:lnTo>
                  <a:lnTo>
                    <a:pt x="504" y="193"/>
                  </a:lnTo>
                  <a:lnTo>
                    <a:pt x="506" y="196"/>
                  </a:lnTo>
                  <a:lnTo>
                    <a:pt x="510" y="198"/>
                  </a:lnTo>
                  <a:lnTo>
                    <a:pt x="514" y="198"/>
                  </a:lnTo>
                  <a:lnTo>
                    <a:pt x="522" y="196"/>
                  </a:lnTo>
                  <a:lnTo>
                    <a:pt x="526" y="196"/>
                  </a:lnTo>
                  <a:lnTo>
                    <a:pt x="529" y="199"/>
                  </a:lnTo>
                  <a:lnTo>
                    <a:pt x="531" y="203"/>
                  </a:lnTo>
                  <a:lnTo>
                    <a:pt x="532" y="207"/>
                  </a:lnTo>
                  <a:lnTo>
                    <a:pt x="522" y="270"/>
                  </a:lnTo>
                  <a:lnTo>
                    <a:pt x="522" y="275"/>
                  </a:lnTo>
                  <a:lnTo>
                    <a:pt x="523" y="280"/>
                  </a:lnTo>
                  <a:lnTo>
                    <a:pt x="528" y="300"/>
                  </a:lnTo>
                  <a:lnTo>
                    <a:pt x="531" y="320"/>
                  </a:lnTo>
                  <a:lnTo>
                    <a:pt x="529" y="368"/>
                  </a:lnTo>
                  <a:lnTo>
                    <a:pt x="531" y="373"/>
                  </a:lnTo>
                  <a:lnTo>
                    <a:pt x="533" y="378"/>
                  </a:lnTo>
                  <a:lnTo>
                    <a:pt x="534" y="381"/>
                  </a:lnTo>
                  <a:lnTo>
                    <a:pt x="537" y="384"/>
                  </a:lnTo>
                  <a:lnTo>
                    <a:pt x="540" y="386"/>
                  </a:lnTo>
                  <a:lnTo>
                    <a:pt x="542" y="387"/>
                  </a:lnTo>
                  <a:lnTo>
                    <a:pt x="546" y="389"/>
                  </a:lnTo>
                  <a:lnTo>
                    <a:pt x="549" y="389"/>
                  </a:lnTo>
                  <a:lnTo>
                    <a:pt x="554" y="389"/>
                  </a:lnTo>
                  <a:lnTo>
                    <a:pt x="557" y="389"/>
                  </a:lnTo>
                  <a:lnTo>
                    <a:pt x="599" y="373"/>
                  </a:lnTo>
                  <a:lnTo>
                    <a:pt x="608" y="372"/>
                  </a:lnTo>
                  <a:lnTo>
                    <a:pt x="627" y="373"/>
                  </a:lnTo>
                  <a:lnTo>
                    <a:pt x="634" y="372"/>
                  </a:lnTo>
                  <a:lnTo>
                    <a:pt x="638" y="371"/>
                  </a:lnTo>
                  <a:lnTo>
                    <a:pt x="641" y="370"/>
                  </a:lnTo>
                  <a:lnTo>
                    <a:pt x="644" y="369"/>
                  </a:lnTo>
                  <a:lnTo>
                    <a:pt x="647" y="367"/>
                  </a:lnTo>
                  <a:lnTo>
                    <a:pt x="650" y="366"/>
                  </a:lnTo>
                  <a:lnTo>
                    <a:pt x="653" y="362"/>
                  </a:lnTo>
                  <a:lnTo>
                    <a:pt x="665" y="346"/>
                  </a:lnTo>
                  <a:lnTo>
                    <a:pt x="669" y="343"/>
                  </a:lnTo>
                  <a:lnTo>
                    <a:pt x="674" y="340"/>
                  </a:lnTo>
                  <a:lnTo>
                    <a:pt x="679" y="338"/>
                  </a:lnTo>
                  <a:lnTo>
                    <a:pt x="685" y="337"/>
                  </a:lnTo>
                  <a:lnTo>
                    <a:pt x="713" y="335"/>
                  </a:lnTo>
                  <a:lnTo>
                    <a:pt x="760" y="343"/>
                  </a:lnTo>
                  <a:lnTo>
                    <a:pt x="775" y="347"/>
                  </a:lnTo>
                  <a:lnTo>
                    <a:pt x="778" y="349"/>
                  </a:lnTo>
                  <a:lnTo>
                    <a:pt x="800" y="354"/>
                  </a:lnTo>
                  <a:lnTo>
                    <a:pt x="808" y="357"/>
                  </a:lnTo>
                  <a:lnTo>
                    <a:pt x="811" y="358"/>
                  </a:lnTo>
                  <a:lnTo>
                    <a:pt x="813" y="363"/>
                  </a:lnTo>
                  <a:lnTo>
                    <a:pt x="815" y="367"/>
                  </a:lnTo>
                  <a:lnTo>
                    <a:pt x="815" y="372"/>
                  </a:lnTo>
                  <a:lnTo>
                    <a:pt x="813" y="419"/>
                  </a:lnTo>
                  <a:lnTo>
                    <a:pt x="813" y="424"/>
                  </a:lnTo>
                  <a:lnTo>
                    <a:pt x="814" y="427"/>
                  </a:lnTo>
                  <a:lnTo>
                    <a:pt x="818" y="433"/>
                  </a:lnTo>
                  <a:lnTo>
                    <a:pt x="821" y="436"/>
                  </a:lnTo>
                  <a:lnTo>
                    <a:pt x="826" y="438"/>
                  </a:lnTo>
                  <a:lnTo>
                    <a:pt x="847" y="444"/>
                  </a:lnTo>
                  <a:lnTo>
                    <a:pt x="850" y="445"/>
                  </a:lnTo>
                  <a:lnTo>
                    <a:pt x="852" y="447"/>
                  </a:lnTo>
                  <a:lnTo>
                    <a:pt x="855" y="452"/>
                  </a:lnTo>
                  <a:lnTo>
                    <a:pt x="858" y="459"/>
                  </a:lnTo>
                  <a:lnTo>
                    <a:pt x="866" y="494"/>
                  </a:lnTo>
                  <a:lnTo>
                    <a:pt x="870" y="502"/>
                  </a:lnTo>
                  <a:lnTo>
                    <a:pt x="872" y="505"/>
                  </a:lnTo>
                  <a:lnTo>
                    <a:pt x="874" y="508"/>
                  </a:lnTo>
                  <a:lnTo>
                    <a:pt x="889" y="518"/>
                  </a:lnTo>
                  <a:lnTo>
                    <a:pt x="889" y="525"/>
                  </a:lnTo>
                  <a:lnTo>
                    <a:pt x="888" y="533"/>
                  </a:lnTo>
                  <a:lnTo>
                    <a:pt x="885" y="539"/>
                  </a:lnTo>
                  <a:lnTo>
                    <a:pt x="884" y="539"/>
                  </a:lnTo>
                  <a:lnTo>
                    <a:pt x="877" y="549"/>
                  </a:lnTo>
                  <a:lnTo>
                    <a:pt x="874" y="554"/>
                  </a:lnTo>
                  <a:lnTo>
                    <a:pt x="873" y="556"/>
                  </a:lnTo>
                  <a:lnTo>
                    <a:pt x="873" y="559"/>
                  </a:lnTo>
                  <a:lnTo>
                    <a:pt x="873" y="561"/>
                  </a:lnTo>
                  <a:lnTo>
                    <a:pt x="875" y="567"/>
                  </a:lnTo>
                  <a:lnTo>
                    <a:pt x="876" y="571"/>
                  </a:lnTo>
                  <a:lnTo>
                    <a:pt x="875" y="578"/>
                  </a:lnTo>
                  <a:lnTo>
                    <a:pt x="873" y="592"/>
                  </a:lnTo>
                  <a:lnTo>
                    <a:pt x="870" y="624"/>
                  </a:lnTo>
                  <a:lnTo>
                    <a:pt x="871" y="640"/>
                  </a:lnTo>
                  <a:lnTo>
                    <a:pt x="849" y="637"/>
                  </a:lnTo>
                  <a:lnTo>
                    <a:pt x="838" y="638"/>
                  </a:lnTo>
                  <a:lnTo>
                    <a:pt x="835" y="640"/>
                  </a:lnTo>
                  <a:lnTo>
                    <a:pt x="831" y="641"/>
                  </a:lnTo>
                  <a:lnTo>
                    <a:pt x="829" y="645"/>
                  </a:lnTo>
                  <a:lnTo>
                    <a:pt x="828" y="648"/>
                  </a:lnTo>
                  <a:lnTo>
                    <a:pt x="828" y="653"/>
                  </a:lnTo>
                  <a:lnTo>
                    <a:pt x="833" y="664"/>
                  </a:lnTo>
                  <a:lnTo>
                    <a:pt x="834" y="669"/>
                  </a:lnTo>
                  <a:lnTo>
                    <a:pt x="834" y="672"/>
                  </a:lnTo>
                  <a:lnTo>
                    <a:pt x="834" y="680"/>
                  </a:lnTo>
                  <a:lnTo>
                    <a:pt x="833" y="686"/>
                  </a:lnTo>
                  <a:lnTo>
                    <a:pt x="830" y="690"/>
                  </a:lnTo>
                  <a:lnTo>
                    <a:pt x="826" y="697"/>
                  </a:lnTo>
                  <a:lnTo>
                    <a:pt x="821" y="701"/>
                  </a:lnTo>
                  <a:lnTo>
                    <a:pt x="818" y="704"/>
                  </a:lnTo>
                  <a:lnTo>
                    <a:pt x="788" y="717"/>
                  </a:lnTo>
                  <a:lnTo>
                    <a:pt x="766" y="730"/>
                  </a:lnTo>
                  <a:lnTo>
                    <a:pt x="759" y="735"/>
                  </a:lnTo>
                  <a:lnTo>
                    <a:pt x="753" y="740"/>
                  </a:lnTo>
                  <a:lnTo>
                    <a:pt x="752" y="745"/>
                  </a:lnTo>
                  <a:lnTo>
                    <a:pt x="753" y="749"/>
                  </a:lnTo>
                  <a:lnTo>
                    <a:pt x="756" y="752"/>
                  </a:lnTo>
                  <a:lnTo>
                    <a:pt x="760" y="754"/>
                  </a:lnTo>
                  <a:lnTo>
                    <a:pt x="778" y="765"/>
                  </a:lnTo>
                  <a:lnTo>
                    <a:pt x="781" y="768"/>
                  </a:lnTo>
                  <a:lnTo>
                    <a:pt x="782" y="771"/>
                  </a:lnTo>
                  <a:lnTo>
                    <a:pt x="780" y="777"/>
                  </a:lnTo>
                  <a:lnTo>
                    <a:pt x="776" y="780"/>
                  </a:lnTo>
                  <a:lnTo>
                    <a:pt x="773" y="783"/>
                  </a:lnTo>
                  <a:lnTo>
                    <a:pt x="753" y="790"/>
                  </a:lnTo>
                  <a:lnTo>
                    <a:pt x="749" y="792"/>
                  </a:lnTo>
                  <a:lnTo>
                    <a:pt x="744" y="797"/>
                  </a:lnTo>
                  <a:lnTo>
                    <a:pt x="720" y="820"/>
                  </a:lnTo>
                  <a:lnTo>
                    <a:pt x="672" y="858"/>
                  </a:lnTo>
                  <a:lnTo>
                    <a:pt x="666" y="866"/>
                  </a:lnTo>
                  <a:lnTo>
                    <a:pt x="654" y="884"/>
                  </a:lnTo>
                  <a:lnTo>
                    <a:pt x="649" y="889"/>
                  </a:lnTo>
                  <a:lnTo>
                    <a:pt x="646" y="891"/>
                  </a:lnTo>
                  <a:lnTo>
                    <a:pt x="642" y="891"/>
                  </a:lnTo>
                  <a:lnTo>
                    <a:pt x="616" y="884"/>
                  </a:lnTo>
                  <a:lnTo>
                    <a:pt x="612" y="883"/>
                  </a:lnTo>
                  <a:lnTo>
                    <a:pt x="607" y="884"/>
                  </a:lnTo>
                  <a:lnTo>
                    <a:pt x="600" y="888"/>
                  </a:lnTo>
                  <a:lnTo>
                    <a:pt x="583" y="903"/>
                  </a:lnTo>
                  <a:lnTo>
                    <a:pt x="579" y="905"/>
                  </a:lnTo>
                  <a:lnTo>
                    <a:pt x="574" y="907"/>
                  </a:lnTo>
                  <a:lnTo>
                    <a:pt x="571" y="907"/>
                  </a:lnTo>
                  <a:lnTo>
                    <a:pt x="567" y="907"/>
                  </a:lnTo>
                  <a:lnTo>
                    <a:pt x="556" y="905"/>
                  </a:lnTo>
                  <a:lnTo>
                    <a:pt x="556" y="905"/>
                  </a:lnTo>
                  <a:lnTo>
                    <a:pt x="552" y="903"/>
                  </a:lnTo>
                  <a:lnTo>
                    <a:pt x="550" y="899"/>
                  </a:lnTo>
                  <a:lnTo>
                    <a:pt x="549" y="896"/>
                  </a:lnTo>
                  <a:lnTo>
                    <a:pt x="549" y="892"/>
                  </a:lnTo>
                  <a:lnTo>
                    <a:pt x="551" y="885"/>
                  </a:lnTo>
                  <a:lnTo>
                    <a:pt x="552" y="877"/>
                  </a:lnTo>
                  <a:lnTo>
                    <a:pt x="552" y="873"/>
                  </a:lnTo>
                  <a:lnTo>
                    <a:pt x="551" y="869"/>
                  </a:lnTo>
                  <a:lnTo>
                    <a:pt x="549" y="866"/>
                  </a:lnTo>
                  <a:lnTo>
                    <a:pt x="547" y="862"/>
                  </a:lnTo>
                  <a:lnTo>
                    <a:pt x="544" y="859"/>
                  </a:lnTo>
                  <a:lnTo>
                    <a:pt x="541" y="857"/>
                  </a:lnTo>
                  <a:lnTo>
                    <a:pt x="536" y="854"/>
                  </a:lnTo>
                  <a:lnTo>
                    <a:pt x="525" y="851"/>
                  </a:lnTo>
                  <a:lnTo>
                    <a:pt x="521" y="850"/>
                  </a:lnTo>
                  <a:lnTo>
                    <a:pt x="519" y="846"/>
                  </a:lnTo>
                  <a:lnTo>
                    <a:pt x="519" y="843"/>
                  </a:lnTo>
                  <a:lnTo>
                    <a:pt x="519" y="839"/>
                  </a:lnTo>
                  <a:lnTo>
                    <a:pt x="529" y="817"/>
                  </a:lnTo>
                  <a:lnTo>
                    <a:pt x="529" y="815"/>
                  </a:lnTo>
                  <a:lnTo>
                    <a:pt x="531" y="806"/>
                  </a:lnTo>
                  <a:lnTo>
                    <a:pt x="531" y="800"/>
                  </a:lnTo>
                  <a:lnTo>
                    <a:pt x="530" y="797"/>
                  </a:lnTo>
                  <a:lnTo>
                    <a:pt x="529" y="793"/>
                  </a:lnTo>
                  <a:lnTo>
                    <a:pt x="527" y="790"/>
                  </a:lnTo>
                  <a:lnTo>
                    <a:pt x="524" y="787"/>
                  </a:lnTo>
                  <a:lnTo>
                    <a:pt x="520" y="786"/>
                  </a:lnTo>
                  <a:lnTo>
                    <a:pt x="517" y="786"/>
                  </a:lnTo>
                  <a:lnTo>
                    <a:pt x="501" y="788"/>
                  </a:lnTo>
                  <a:lnTo>
                    <a:pt x="466" y="799"/>
                  </a:lnTo>
                  <a:lnTo>
                    <a:pt x="452" y="801"/>
                  </a:lnTo>
                  <a:lnTo>
                    <a:pt x="449" y="800"/>
                  </a:lnTo>
                  <a:lnTo>
                    <a:pt x="447" y="797"/>
                  </a:lnTo>
                  <a:lnTo>
                    <a:pt x="446" y="790"/>
                  </a:lnTo>
                  <a:lnTo>
                    <a:pt x="445" y="786"/>
                  </a:lnTo>
                  <a:lnTo>
                    <a:pt x="444" y="783"/>
                  </a:lnTo>
                  <a:lnTo>
                    <a:pt x="441" y="781"/>
                  </a:lnTo>
                  <a:lnTo>
                    <a:pt x="436" y="781"/>
                  </a:lnTo>
                  <a:lnTo>
                    <a:pt x="418" y="785"/>
                  </a:lnTo>
                  <a:lnTo>
                    <a:pt x="411" y="785"/>
                  </a:lnTo>
                  <a:lnTo>
                    <a:pt x="406" y="784"/>
                  </a:lnTo>
                  <a:lnTo>
                    <a:pt x="402" y="781"/>
                  </a:lnTo>
                  <a:lnTo>
                    <a:pt x="398" y="777"/>
                  </a:lnTo>
                  <a:lnTo>
                    <a:pt x="384" y="762"/>
                  </a:lnTo>
                  <a:lnTo>
                    <a:pt x="371" y="750"/>
                  </a:lnTo>
                  <a:lnTo>
                    <a:pt x="369" y="747"/>
                  </a:lnTo>
                  <a:lnTo>
                    <a:pt x="362" y="737"/>
                  </a:lnTo>
                  <a:lnTo>
                    <a:pt x="359" y="733"/>
                  </a:lnTo>
                  <a:lnTo>
                    <a:pt x="354" y="731"/>
                  </a:lnTo>
                  <a:lnTo>
                    <a:pt x="349" y="732"/>
                  </a:lnTo>
                  <a:lnTo>
                    <a:pt x="338" y="735"/>
                  </a:lnTo>
                  <a:lnTo>
                    <a:pt x="316" y="737"/>
                  </a:lnTo>
                  <a:lnTo>
                    <a:pt x="312" y="738"/>
                  </a:lnTo>
                  <a:lnTo>
                    <a:pt x="310" y="729"/>
                  </a:lnTo>
                  <a:lnTo>
                    <a:pt x="309" y="724"/>
                  </a:lnTo>
                  <a:lnTo>
                    <a:pt x="309" y="721"/>
                  </a:lnTo>
                  <a:lnTo>
                    <a:pt x="307" y="718"/>
                  </a:lnTo>
                  <a:lnTo>
                    <a:pt x="305" y="716"/>
                  </a:lnTo>
                  <a:lnTo>
                    <a:pt x="305" y="713"/>
                  </a:lnTo>
                  <a:lnTo>
                    <a:pt x="304" y="710"/>
                  </a:lnTo>
                  <a:lnTo>
                    <a:pt x="301" y="712"/>
                  </a:lnTo>
                  <a:lnTo>
                    <a:pt x="299" y="711"/>
                  </a:lnTo>
                  <a:lnTo>
                    <a:pt x="298" y="711"/>
                  </a:lnTo>
                  <a:lnTo>
                    <a:pt x="298" y="714"/>
                  </a:lnTo>
                  <a:lnTo>
                    <a:pt x="300" y="716"/>
                  </a:lnTo>
                  <a:lnTo>
                    <a:pt x="303" y="717"/>
                  </a:lnTo>
                  <a:lnTo>
                    <a:pt x="303" y="719"/>
                  </a:lnTo>
                  <a:lnTo>
                    <a:pt x="298" y="718"/>
                  </a:lnTo>
                  <a:lnTo>
                    <a:pt x="294" y="715"/>
                  </a:lnTo>
                  <a:lnTo>
                    <a:pt x="294" y="706"/>
                  </a:lnTo>
                  <a:lnTo>
                    <a:pt x="286" y="696"/>
                  </a:lnTo>
                  <a:lnTo>
                    <a:pt x="283" y="684"/>
                  </a:lnTo>
                  <a:lnTo>
                    <a:pt x="282" y="679"/>
                  </a:lnTo>
                  <a:lnTo>
                    <a:pt x="281" y="675"/>
                  </a:lnTo>
                  <a:lnTo>
                    <a:pt x="279" y="671"/>
                  </a:lnTo>
                  <a:lnTo>
                    <a:pt x="277" y="668"/>
                  </a:lnTo>
                  <a:lnTo>
                    <a:pt x="275" y="666"/>
                  </a:lnTo>
                  <a:lnTo>
                    <a:pt x="273" y="666"/>
                  </a:lnTo>
                  <a:lnTo>
                    <a:pt x="271" y="665"/>
                  </a:lnTo>
                  <a:lnTo>
                    <a:pt x="270" y="663"/>
                  </a:lnTo>
                  <a:lnTo>
                    <a:pt x="268" y="661"/>
                  </a:lnTo>
                  <a:lnTo>
                    <a:pt x="267" y="657"/>
                  </a:lnTo>
                  <a:lnTo>
                    <a:pt x="265" y="655"/>
                  </a:lnTo>
                  <a:lnTo>
                    <a:pt x="259" y="654"/>
                  </a:lnTo>
                  <a:lnTo>
                    <a:pt x="257" y="652"/>
                  </a:lnTo>
                  <a:lnTo>
                    <a:pt x="256" y="650"/>
                  </a:lnTo>
                  <a:lnTo>
                    <a:pt x="254" y="648"/>
                  </a:lnTo>
                  <a:lnTo>
                    <a:pt x="251" y="644"/>
                  </a:lnTo>
                  <a:lnTo>
                    <a:pt x="247" y="641"/>
                  </a:lnTo>
                  <a:lnTo>
                    <a:pt x="244" y="640"/>
                  </a:lnTo>
                  <a:lnTo>
                    <a:pt x="241" y="640"/>
                  </a:lnTo>
                  <a:lnTo>
                    <a:pt x="237" y="637"/>
                  </a:lnTo>
                  <a:lnTo>
                    <a:pt x="235" y="635"/>
                  </a:lnTo>
                  <a:lnTo>
                    <a:pt x="232" y="632"/>
                  </a:lnTo>
                  <a:lnTo>
                    <a:pt x="228" y="628"/>
                  </a:lnTo>
                  <a:lnTo>
                    <a:pt x="225" y="625"/>
                  </a:lnTo>
                  <a:lnTo>
                    <a:pt x="222" y="623"/>
                  </a:lnTo>
                  <a:lnTo>
                    <a:pt x="217" y="618"/>
                  </a:lnTo>
                  <a:lnTo>
                    <a:pt x="215" y="617"/>
                  </a:lnTo>
                  <a:lnTo>
                    <a:pt x="211" y="618"/>
                  </a:lnTo>
                  <a:lnTo>
                    <a:pt x="208" y="617"/>
                  </a:lnTo>
                  <a:lnTo>
                    <a:pt x="205" y="614"/>
                  </a:lnTo>
                  <a:lnTo>
                    <a:pt x="198" y="610"/>
                  </a:lnTo>
                  <a:lnTo>
                    <a:pt x="193" y="606"/>
                  </a:lnTo>
                  <a:lnTo>
                    <a:pt x="194" y="603"/>
                  </a:lnTo>
                  <a:lnTo>
                    <a:pt x="197" y="602"/>
                  </a:lnTo>
                  <a:lnTo>
                    <a:pt x="201" y="601"/>
                  </a:lnTo>
                  <a:lnTo>
                    <a:pt x="199" y="599"/>
                  </a:lnTo>
                  <a:lnTo>
                    <a:pt x="197" y="600"/>
                  </a:lnTo>
                  <a:lnTo>
                    <a:pt x="194" y="602"/>
                  </a:lnTo>
                  <a:lnTo>
                    <a:pt x="193" y="599"/>
                  </a:lnTo>
                  <a:lnTo>
                    <a:pt x="195" y="596"/>
                  </a:lnTo>
                  <a:lnTo>
                    <a:pt x="195" y="593"/>
                  </a:lnTo>
                  <a:lnTo>
                    <a:pt x="194" y="592"/>
                  </a:lnTo>
                  <a:lnTo>
                    <a:pt x="192" y="594"/>
                  </a:lnTo>
                  <a:lnTo>
                    <a:pt x="190" y="594"/>
                  </a:lnTo>
                  <a:lnTo>
                    <a:pt x="189" y="595"/>
                  </a:lnTo>
                  <a:lnTo>
                    <a:pt x="190" y="597"/>
                  </a:lnTo>
                  <a:lnTo>
                    <a:pt x="191" y="599"/>
                  </a:lnTo>
                  <a:lnTo>
                    <a:pt x="191" y="602"/>
                  </a:lnTo>
                  <a:lnTo>
                    <a:pt x="190" y="603"/>
                  </a:lnTo>
                  <a:lnTo>
                    <a:pt x="187" y="602"/>
                  </a:lnTo>
                  <a:lnTo>
                    <a:pt x="181" y="603"/>
                  </a:lnTo>
                  <a:lnTo>
                    <a:pt x="174" y="598"/>
                  </a:lnTo>
                  <a:lnTo>
                    <a:pt x="172" y="595"/>
                  </a:lnTo>
                  <a:lnTo>
                    <a:pt x="165" y="590"/>
                  </a:lnTo>
                  <a:lnTo>
                    <a:pt x="164" y="587"/>
                  </a:lnTo>
                  <a:lnTo>
                    <a:pt x="161" y="585"/>
                  </a:lnTo>
                  <a:lnTo>
                    <a:pt x="158" y="584"/>
                  </a:lnTo>
                  <a:lnTo>
                    <a:pt x="156" y="582"/>
                  </a:lnTo>
                  <a:lnTo>
                    <a:pt x="153" y="579"/>
                  </a:lnTo>
                  <a:lnTo>
                    <a:pt x="150" y="578"/>
                  </a:lnTo>
                  <a:lnTo>
                    <a:pt x="146" y="578"/>
                  </a:lnTo>
                  <a:lnTo>
                    <a:pt x="144" y="578"/>
                  </a:lnTo>
                  <a:lnTo>
                    <a:pt x="142" y="579"/>
                  </a:lnTo>
                  <a:lnTo>
                    <a:pt x="141" y="582"/>
                  </a:lnTo>
                  <a:lnTo>
                    <a:pt x="142" y="586"/>
                  </a:lnTo>
                  <a:lnTo>
                    <a:pt x="135" y="586"/>
                  </a:lnTo>
                  <a:lnTo>
                    <a:pt x="133" y="583"/>
                  </a:lnTo>
                  <a:lnTo>
                    <a:pt x="128" y="580"/>
                  </a:lnTo>
                  <a:lnTo>
                    <a:pt x="124" y="582"/>
                  </a:lnTo>
                  <a:lnTo>
                    <a:pt x="120" y="578"/>
                  </a:lnTo>
                  <a:lnTo>
                    <a:pt x="118" y="574"/>
                  </a:lnTo>
                  <a:lnTo>
                    <a:pt x="114" y="569"/>
                  </a:lnTo>
                  <a:lnTo>
                    <a:pt x="108" y="564"/>
                  </a:lnTo>
                  <a:lnTo>
                    <a:pt x="106" y="557"/>
                  </a:lnTo>
                  <a:lnTo>
                    <a:pt x="108" y="554"/>
                  </a:lnTo>
                  <a:lnTo>
                    <a:pt x="109" y="554"/>
                  </a:lnTo>
                  <a:lnTo>
                    <a:pt x="112" y="556"/>
                  </a:lnTo>
                  <a:lnTo>
                    <a:pt x="114" y="553"/>
                  </a:lnTo>
                  <a:lnTo>
                    <a:pt x="112" y="549"/>
                  </a:lnTo>
                  <a:lnTo>
                    <a:pt x="100" y="532"/>
                  </a:lnTo>
                  <a:lnTo>
                    <a:pt x="101" y="531"/>
                  </a:lnTo>
                  <a:lnTo>
                    <a:pt x="103" y="519"/>
                  </a:lnTo>
                  <a:lnTo>
                    <a:pt x="104" y="517"/>
                  </a:lnTo>
                  <a:lnTo>
                    <a:pt x="106" y="513"/>
                  </a:lnTo>
                  <a:lnTo>
                    <a:pt x="109" y="511"/>
                  </a:lnTo>
                  <a:lnTo>
                    <a:pt x="112" y="509"/>
                  </a:lnTo>
                  <a:lnTo>
                    <a:pt x="115" y="508"/>
                  </a:lnTo>
                  <a:lnTo>
                    <a:pt x="129" y="508"/>
                  </a:lnTo>
                  <a:lnTo>
                    <a:pt x="135" y="507"/>
                  </a:lnTo>
                  <a:lnTo>
                    <a:pt x="139" y="505"/>
                  </a:lnTo>
                  <a:lnTo>
                    <a:pt x="143" y="504"/>
                  </a:lnTo>
                  <a:lnTo>
                    <a:pt x="148" y="502"/>
                  </a:lnTo>
                  <a:lnTo>
                    <a:pt x="151" y="497"/>
                  </a:lnTo>
                  <a:lnTo>
                    <a:pt x="156" y="492"/>
                  </a:lnTo>
                  <a:lnTo>
                    <a:pt x="159" y="488"/>
                  </a:lnTo>
                  <a:lnTo>
                    <a:pt x="164" y="486"/>
                  </a:lnTo>
                  <a:lnTo>
                    <a:pt x="167" y="485"/>
                  </a:lnTo>
                  <a:lnTo>
                    <a:pt x="171" y="486"/>
                  </a:lnTo>
                  <a:lnTo>
                    <a:pt x="178" y="487"/>
                  </a:lnTo>
                  <a:lnTo>
                    <a:pt x="187" y="487"/>
                  </a:lnTo>
                  <a:lnTo>
                    <a:pt x="190" y="486"/>
                  </a:lnTo>
                  <a:lnTo>
                    <a:pt x="195" y="484"/>
                  </a:lnTo>
                  <a:lnTo>
                    <a:pt x="198" y="481"/>
                  </a:lnTo>
                  <a:lnTo>
                    <a:pt x="202" y="477"/>
                  </a:lnTo>
                  <a:lnTo>
                    <a:pt x="203" y="473"/>
                  </a:lnTo>
                  <a:lnTo>
                    <a:pt x="204" y="470"/>
                  </a:lnTo>
                  <a:lnTo>
                    <a:pt x="202" y="410"/>
                  </a:lnTo>
                  <a:lnTo>
                    <a:pt x="208" y="367"/>
                  </a:lnTo>
                  <a:lnTo>
                    <a:pt x="208" y="364"/>
                  </a:lnTo>
                  <a:lnTo>
                    <a:pt x="206" y="360"/>
                  </a:lnTo>
                  <a:lnTo>
                    <a:pt x="204" y="358"/>
                  </a:lnTo>
                  <a:lnTo>
                    <a:pt x="202" y="357"/>
                  </a:lnTo>
                  <a:lnTo>
                    <a:pt x="198" y="356"/>
                  </a:lnTo>
                  <a:lnTo>
                    <a:pt x="188" y="356"/>
                  </a:lnTo>
                  <a:lnTo>
                    <a:pt x="185" y="355"/>
                  </a:lnTo>
                  <a:lnTo>
                    <a:pt x="183" y="354"/>
                  </a:lnTo>
                  <a:lnTo>
                    <a:pt x="182" y="350"/>
                  </a:lnTo>
                  <a:lnTo>
                    <a:pt x="176" y="328"/>
                  </a:lnTo>
                  <a:lnTo>
                    <a:pt x="171" y="313"/>
                  </a:lnTo>
                  <a:lnTo>
                    <a:pt x="168" y="308"/>
                  </a:lnTo>
                  <a:lnTo>
                    <a:pt x="165" y="305"/>
                  </a:lnTo>
                  <a:lnTo>
                    <a:pt x="163" y="301"/>
                  </a:lnTo>
                  <a:lnTo>
                    <a:pt x="141" y="282"/>
                  </a:lnTo>
                  <a:lnTo>
                    <a:pt x="138" y="279"/>
                  </a:lnTo>
                  <a:lnTo>
                    <a:pt x="136" y="275"/>
                  </a:lnTo>
                  <a:lnTo>
                    <a:pt x="135" y="271"/>
                  </a:lnTo>
                  <a:lnTo>
                    <a:pt x="132" y="261"/>
                  </a:lnTo>
                  <a:lnTo>
                    <a:pt x="130" y="259"/>
                  </a:lnTo>
                  <a:lnTo>
                    <a:pt x="128" y="258"/>
                  </a:lnTo>
                  <a:lnTo>
                    <a:pt x="98" y="240"/>
                  </a:lnTo>
                  <a:lnTo>
                    <a:pt x="95" y="239"/>
                  </a:lnTo>
                  <a:lnTo>
                    <a:pt x="91" y="241"/>
                  </a:lnTo>
                  <a:lnTo>
                    <a:pt x="84" y="245"/>
                  </a:lnTo>
                  <a:lnTo>
                    <a:pt x="82" y="246"/>
                  </a:lnTo>
                  <a:lnTo>
                    <a:pt x="81" y="244"/>
                  </a:lnTo>
                  <a:lnTo>
                    <a:pt x="80" y="241"/>
                  </a:lnTo>
                  <a:lnTo>
                    <a:pt x="78" y="233"/>
                  </a:lnTo>
                  <a:lnTo>
                    <a:pt x="75" y="226"/>
                  </a:lnTo>
                  <a:lnTo>
                    <a:pt x="66" y="206"/>
                  </a:lnTo>
                  <a:lnTo>
                    <a:pt x="65" y="202"/>
                  </a:lnTo>
                  <a:lnTo>
                    <a:pt x="65" y="198"/>
                  </a:lnTo>
                  <a:lnTo>
                    <a:pt x="65" y="194"/>
                  </a:lnTo>
                  <a:lnTo>
                    <a:pt x="66" y="191"/>
                  </a:lnTo>
                  <a:lnTo>
                    <a:pt x="68" y="183"/>
                  </a:lnTo>
                  <a:lnTo>
                    <a:pt x="79" y="166"/>
                  </a:lnTo>
                  <a:lnTo>
                    <a:pt x="80" y="163"/>
                  </a:lnTo>
                  <a:lnTo>
                    <a:pt x="81" y="159"/>
                  </a:lnTo>
                  <a:lnTo>
                    <a:pt x="81" y="154"/>
                  </a:lnTo>
                  <a:lnTo>
                    <a:pt x="79" y="150"/>
                  </a:lnTo>
                  <a:lnTo>
                    <a:pt x="76" y="146"/>
                  </a:lnTo>
                  <a:lnTo>
                    <a:pt x="73" y="145"/>
                  </a:lnTo>
                  <a:lnTo>
                    <a:pt x="53" y="139"/>
                  </a:lnTo>
                  <a:lnTo>
                    <a:pt x="49" y="137"/>
                  </a:lnTo>
                  <a:lnTo>
                    <a:pt x="45" y="135"/>
                  </a:lnTo>
                  <a:lnTo>
                    <a:pt x="42" y="131"/>
                  </a:lnTo>
                  <a:lnTo>
                    <a:pt x="39" y="128"/>
                  </a:lnTo>
                  <a:lnTo>
                    <a:pt x="37" y="123"/>
                  </a:lnTo>
                  <a:lnTo>
                    <a:pt x="35" y="120"/>
                  </a:lnTo>
                  <a:lnTo>
                    <a:pt x="34" y="115"/>
                  </a:lnTo>
                  <a:lnTo>
                    <a:pt x="33" y="111"/>
                  </a:lnTo>
                  <a:lnTo>
                    <a:pt x="33" y="103"/>
                  </a:lnTo>
                  <a:lnTo>
                    <a:pt x="37" y="77"/>
                  </a:lnTo>
                  <a:lnTo>
                    <a:pt x="37" y="67"/>
                  </a:lnTo>
                  <a:lnTo>
                    <a:pt x="37" y="62"/>
                  </a:lnTo>
                  <a:lnTo>
                    <a:pt x="34" y="51"/>
                  </a:lnTo>
                  <a:lnTo>
                    <a:pt x="33" y="47"/>
                  </a:lnTo>
                  <a:lnTo>
                    <a:pt x="31" y="46"/>
                  </a:lnTo>
                  <a:lnTo>
                    <a:pt x="29" y="43"/>
                  </a:lnTo>
                  <a:lnTo>
                    <a:pt x="26" y="40"/>
                  </a:lnTo>
                  <a:lnTo>
                    <a:pt x="22" y="39"/>
                  </a:lnTo>
                  <a:lnTo>
                    <a:pt x="21" y="39"/>
                  </a:lnTo>
                  <a:lnTo>
                    <a:pt x="17" y="39"/>
                  </a:lnTo>
                  <a:lnTo>
                    <a:pt x="7" y="41"/>
                  </a:lnTo>
                  <a:lnTo>
                    <a:pt x="3" y="41"/>
                  </a:lnTo>
                  <a:lnTo>
                    <a:pt x="0" y="39"/>
                  </a:lnTo>
                  <a:lnTo>
                    <a:pt x="0" y="36"/>
                  </a:lnTo>
                  <a:lnTo>
                    <a:pt x="0" y="33"/>
                  </a:lnTo>
                  <a:lnTo>
                    <a:pt x="4" y="30"/>
                  </a:lnTo>
                  <a:lnTo>
                    <a:pt x="7" y="28"/>
                  </a:lnTo>
                  <a:lnTo>
                    <a:pt x="26" y="23"/>
                  </a:lnTo>
                  <a:lnTo>
                    <a:pt x="69" y="3"/>
                  </a:lnTo>
                  <a:lnTo>
                    <a:pt x="73" y="1"/>
                  </a:lnTo>
                  <a:lnTo>
                    <a:pt x="77" y="1"/>
                  </a:lnTo>
                  <a:lnTo>
                    <a:pt x="82" y="3"/>
                  </a:lnTo>
                  <a:lnTo>
                    <a:pt x="90" y="6"/>
                  </a:lnTo>
                  <a:lnTo>
                    <a:pt x="105" y="15"/>
                  </a:lnTo>
                  <a:lnTo>
                    <a:pt x="109" y="17"/>
                  </a:lnTo>
                  <a:lnTo>
                    <a:pt x="116" y="18"/>
                  </a:lnTo>
                  <a:lnTo>
                    <a:pt x="120" y="18"/>
                  </a:lnTo>
                  <a:lnTo>
                    <a:pt x="124" y="17"/>
                  </a:lnTo>
                  <a:lnTo>
                    <a:pt x="128" y="16"/>
                  </a:lnTo>
                  <a:lnTo>
                    <a:pt x="159" y="0"/>
                  </a:lnTo>
                  <a:lnTo>
                    <a:pt x="162" y="0"/>
                  </a:lnTo>
                  <a:lnTo>
                    <a:pt x="165" y="0"/>
                  </a:lnTo>
                  <a:lnTo>
                    <a:pt x="169" y="3"/>
                  </a:lnTo>
                  <a:lnTo>
                    <a:pt x="172" y="7"/>
                  </a:lnTo>
                  <a:lnTo>
                    <a:pt x="173" y="10"/>
                  </a:lnTo>
                  <a:lnTo>
                    <a:pt x="178" y="27"/>
                  </a:lnTo>
                  <a:lnTo>
                    <a:pt x="181" y="35"/>
                  </a:lnTo>
                  <a:lnTo>
                    <a:pt x="185" y="41"/>
                  </a:lnTo>
                  <a:lnTo>
                    <a:pt x="194" y="55"/>
                  </a:lnTo>
                  <a:lnTo>
                    <a:pt x="197" y="59"/>
                  </a:lnTo>
                  <a:lnTo>
                    <a:pt x="203" y="61"/>
                  </a:lnTo>
                  <a:lnTo>
                    <a:pt x="210" y="63"/>
                  </a:lnTo>
                  <a:lnTo>
                    <a:pt x="226" y="63"/>
                  </a:lnTo>
                  <a:lnTo>
                    <a:pt x="231" y="64"/>
                  </a:lnTo>
                  <a:lnTo>
                    <a:pt x="233" y="65"/>
                  </a:lnTo>
                  <a:lnTo>
                    <a:pt x="236" y="68"/>
                  </a:lnTo>
                  <a:lnTo>
                    <a:pt x="238" y="70"/>
                  </a:lnTo>
                  <a:lnTo>
                    <a:pt x="239" y="72"/>
                  </a:lnTo>
                  <a:lnTo>
                    <a:pt x="238" y="76"/>
                  </a:lnTo>
                  <a:lnTo>
                    <a:pt x="239" y="78"/>
                  </a:lnTo>
                  <a:lnTo>
                    <a:pt x="240" y="82"/>
                  </a:lnTo>
                  <a:lnTo>
                    <a:pt x="242" y="84"/>
                  </a:lnTo>
                  <a:lnTo>
                    <a:pt x="253" y="92"/>
                  </a:lnTo>
                  <a:lnTo>
                    <a:pt x="256" y="95"/>
                  </a:lnTo>
                  <a:lnTo>
                    <a:pt x="257" y="99"/>
                  </a:lnTo>
                  <a:lnTo>
                    <a:pt x="257" y="102"/>
                  </a:lnTo>
                  <a:lnTo>
                    <a:pt x="256" y="106"/>
                  </a:lnTo>
                  <a:lnTo>
                    <a:pt x="256" y="109"/>
                  </a:lnTo>
                  <a:lnTo>
                    <a:pt x="258" y="113"/>
                  </a:lnTo>
                  <a:lnTo>
                    <a:pt x="261" y="114"/>
                  </a:lnTo>
                  <a:lnTo>
                    <a:pt x="266" y="112"/>
                  </a:lnTo>
                  <a:lnTo>
                    <a:pt x="271" y="109"/>
                  </a:lnTo>
                  <a:lnTo>
                    <a:pt x="286" y="97"/>
                  </a:lnTo>
                  <a:lnTo>
                    <a:pt x="288" y="96"/>
                  </a:lnTo>
                  <a:lnTo>
                    <a:pt x="292" y="95"/>
                  </a:lnTo>
                  <a:lnTo>
                    <a:pt x="296" y="96"/>
                  </a:lnTo>
                  <a:lnTo>
                    <a:pt x="301" y="97"/>
                  </a:lnTo>
                  <a:lnTo>
                    <a:pt x="314" y="103"/>
                  </a:lnTo>
                  <a:lnTo>
                    <a:pt x="318" y="105"/>
                  </a:lnTo>
                  <a:lnTo>
                    <a:pt x="322" y="105"/>
                  </a:lnTo>
                  <a:lnTo>
                    <a:pt x="326" y="103"/>
                  </a:lnTo>
                  <a:lnTo>
                    <a:pt x="327" y="100"/>
                  </a:lnTo>
                  <a:lnTo>
                    <a:pt x="326" y="97"/>
                  </a:lnTo>
                  <a:lnTo>
                    <a:pt x="325" y="92"/>
                  </a:lnTo>
                  <a:lnTo>
                    <a:pt x="326" y="90"/>
                  </a:lnTo>
                  <a:lnTo>
                    <a:pt x="328" y="87"/>
                  </a:lnTo>
                  <a:lnTo>
                    <a:pt x="331" y="88"/>
                  </a:lnTo>
                  <a:lnTo>
                    <a:pt x="335" y="91"/>
                  </a:lnTo>
                  <a:lnTo>
                    <a:pt x="337" y="95"/>
                  </a:lnTo>
                  <a:lnTo>
                    <a:pt x="339" y="102"/>
                  </a:lnTo>
                  <a:lnTo>
                    <a:pt x="344" y="106"/>
                  </a:lnTo>
                  <a:lnTo>
                    <a:pt x="349" y="109"/>
                  </a:lnTo>
                  <a:lnTo>
                    <a:pt x="370" y="116"/>
                  </a:lnTo>
                  <a:lnTo>
                    <a:pt x="391" y="132"/>
                  </a:lnTo>
                  <a:lnTo>
                    <a:pt x="397" y="134"/>
                  </a:lnTo>
                  <a:lnTo>
                    <a:pt x="406" y="136"/>
                  </a:lnTo>
                  <a:lnTo>
                    <a:pt x="422" y="136"/>
                  </a:lnTo>
                  <a:lnTo>
                    <a:pt x="491" y="124"/>
                  </a:lnTo>
                  <a:lnTo>
                    <a:pt x="496" y="125"/>
                  </a:lnTo>
                  <a:lnTo>
                    <a:pt x="499" y="127"/>
                  </a:lnTo>
                  <a:lnTo>
                    <a:pt x="502" y="130"/>
                  </a:lnTo>
                  <a:lnTo>
                    <a:pt x="508" y="138"/>
                  </a:lnTo>
                  <a:lnTo>
                    <a:pt x="508" y="13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94" name="Freeform 10">
              <a:extLst>
                <a:ext uri="{FF2B5EF4-FFF2-40B4-BE49-F238E27FC236}"/>
              </a:extLst>
            </p:cNvPr>
            <p:cNvSpPr>
              <a:spLocks/>
            </p:cNvSpPr>
            <p:nvPr/>
          </p:nvSpPr>
          <p:spPr bwMode="auto">
            <a:xfrm>
              <a:off x="3514725" y="3321050"/>
              <a:ext cx="911225" cy="803275"/>
            </a:xfrm>
            <a:custGeom>
              <a:avLst/>
              <a:gdLst>
                <a:gd name="T0" fmla="*/ 563 w 574"/>
                <a:gd name="T1" fmla="*/ 35 h 506"/>
                <a:gd name="T2" fmla="*/ 572 w 574"/>
                <a:gd name="T3" fmla="*/ 51 h 506"/>
                <a:gd name="T4" fmla="*/ 573 w 574"/>
                <a:gd name="T5" fmla="*/ 64 h 506"/>
                <a:gd name="T6" fmla="*/ 563 w 574"/>
                <a:gd name="T7" fmla="*/ 74 h 506"/>
                <a:gd name="T8" fmla="*/ 539 w 574"/>
                <a:gd name="T9" fmla="*/ 90 h 506"/>
                <a:gd name="T10" fmla="*/ 515 w 574"/>
                <a:gd name="T11" fmla="*/ 118 h 506"/>
                <a:gd name="T12" fmla="*/ 498 w 574"/>
                <a:gd name="T13" fmla="*/ 127 h 506"/>
                <a:gd name="T14" fmla="*/ 496 w 574"/>
                <a:gd name="T15" fmla="*/ 173 h 506"/>
                <a:gd name="T16" fmla="*/ 501 w 574"/>
                <a:gd name="T17" fmla="*/ 188 h 506"/>
                <a:gd name="T18" fmla="*/ 546 w 574"/>
                <a:gd name="T19" fmla="*/ 249 h 506"/>
                <a:gd name="T20" fmla="*/ 544 w 574"/>
                <a:gd name="T21" fmla="*/ 270 h 506"/>
                <a:gd name="T22" fmla="*/ 554 w 574"/>
                <a:gd name="T23" fmla="*/ 294 h 506"/>
                <a:gd name="T24" fmla="*/ 555 w 574"/>
                <a:gd name="T25" fmla="*/ 321 h 506"/>
                <a:gd name="T26" fmla="*/ 545 w 574"/>
                <a:gd name="T27" fmla="*/ 329 h 506"/>
                <a:gd name="T28" fmla="*/ 446 w 574"/>
                <a:gd name="T29" fmla="*/ 326 h 506"/>
                <a:gd name="T30" fmla="*/ 433 w 574"/>
                <a:gd name="T31" fmla="*/ 331 h 506"/>
                <a:gd name="T32" fmla="*/ 418 w 574"/>
                <a:gd name="T33" fmla="*/ 354 h 506"/>
                <a:gd name="T34" fmla="*/ 390 w 574"/>
                <a:gd name="T35" fmla="*/ 380 h 506"/>
                <a:gd name="T36" fmla="*/ 319 w 574"/>
                <a:gd name="T37" fmla="*/ 401 h 506"/>
                <a:gd name="T38" fmla="*/ 280 w 574"/>
                <a:gd name="T39" fmla="*/ 447 h 506"/>
                <a:gd name="T40" fmla="*/ 286 w 574"/>
                <a:gd name="T41" fmla="*/ 467 h 506"/>
                <a:gd name="T42" fmla="*/ 282 w 574"/>
                <a:gd name="T43" fmla="*/ 487 h 506"/>
                <a:gd name="T44" fmla="*/ 267 w 574"/>
                <a:gd name="T45" fmla="*/ 493 h 506"/>
                <a:gd name="T46" fmla="*/ 214 w 574"/>
                <a:gd name="T47" fmla="*/ 493 h 506"/>
                <a:gd name="T48" fmla="*/ 146 w 574"/>
                <a:gd name="T49" fmla="*/ 476 h 506"/>
                <a:gd name="T50" fmla="*/ 130 w 574"/>
                <a:gd name="T51" fmla="*/ 481 h 506"/>
                <a:gd name="T52" fmla="*/ 99 w 574"/>
                <a:gd name="T53" fmla="*/ 496 h 506"/>
                <a:gd name="T54" fmla="*/ 83 w 574"/>
                <a:gd name="T55" fmla="*/ 447 h 506"/>
                <a:gd name="T56" fmla="*/ 72 w 574"/>
                <a:gd name="T57" fmla="*/ 432 h 506"/>
                <a:gd name="T58" fmla="*/ 39 w 574"/>
                <a:gd name="T59" fmla="*/ 415 h 506"/>
                <a:gd name="T60" fmla="*/ 40 w 574"/>
                <a:gd name="T61" fmla="*/ 355 h 506"/>
                <a:gd name="T62" fmla="*/ 25 w 574"/>
                <a:gd name="T63" fmla="*/ 342 h 506"/>
                <a:gd name="T64" fmla="*/ 13 w 574"/>
                <a:gd name="T65" fmla="*/ 327 h 506"/>
                <a:gd name="T66" fmla="*/ 61 w 574"/>
                <a:gd name="T67" fmla="*/ 307 h 506"/>
                <a:gd name="T68" fmla="*/ 90 w 574"/>
                <a:gd name="T69" fmla="*/ 301 h 506"/>
                <a:gd name="T70" fmla="*/ 81 w 574"/>
                <a:gd name="T71" fmla="*/ 278 h 506"/>
                <a:gd name="T72" fmla="*/ 83 w 574"/>
                <a:gd name="T73" fmla="*/ 261 h 506"/>
                <a:gd name="T74" fmla="*/ 98 w 574"/>
                <a:gd name="T75" fmla="*/ 255 h 506"/>
                <a:gd name="T76" fmla="*/ 121 w 574"/>
                <a:gd name="T77" fmla="*/ 260 h 506"/>
                <a:gd name="T78" fmla="*/ 121 w 574"/>
                <a:gd name="T79" fmla="*/ 233 h 506"/>
                <a:gd name="T80" fmla="*/ 125 w 574"/>
                <a:gd name="T81" fmla="*/ 215 h 506"/>
                <a:gd name="T82" fmla="*/ 137 w 574"/>
                <a:gd name="T83" fmla="*/ 202 h 506"/>
                <a:gd name="T84" fmla="*/ 157 w 574"/>
                <a:gd name="T85" fmla="*/ 198 h 506"/>
                <a:gd name="T86" fmla="*/ 168 w 574"/>
                <a:gd name="T87" fmla="*/ 176 h 506"/>
                <a:gd name="T88" fmla="*/ 290 w 574"/>
                <a:gd name="T89" fmla="*/ 88 h 506"/>
                <a:gd name="T90" fmla="*/ 308 w 574"/>
                <a:gd name="T91" fmla="*/ 60 h 506"/>
                <a:gd name="T92" fmla="*/ 399 w 574"/>
                <a:gd name="T93" fmla="*/ 4 h 506"/>
                <a:gd name="T94" fmla="*/ 418 w 574"/>
                <a:gd name="T95" fmla="*/ 0 h 506"/>
                <a:gd name="T96" fmla="*/ 444 w 574"/>
                <a:gd name="T97" fmla="*/ 22 h 506"/>
                <a:gd name="T98" fmla="*/ 494 w 574"/>
                <a:gd name="T99" fmla="*/ 46 h 506"/>
                <a:gd name="T100" fmla="*/ 515 w 574"/>
                <a:gd name="T101" fmla="*/ 46 h 506"/>
                <a:gd name="T102" fmla="*/ 538 w 574"/>
                <a:gd name="T103" fmla="*/ 19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4" h="506">
                  <a:moveTo>
                    <a:pt x="538" y="19"/>
                  </a:moveTo>
                  <a:lnTo>
                    <a:pt x="549" y="25"/>
                  </a:lnTo>
                  <a:lnTo>
                    <a:pt x="556" y="30"/>
                  </a:lnTo>
                  <a:lnTo>
                    <a:pt x="563" y="35"/>
                  </a:lnTo>
                  <a:lnTo>
                    <a:pt x="566" y="39"/>
                  </a:lnTo>
                  <a:lnTo>
                    <a:pt x="569" y="43"/>
                  </a:lnTo>
                  <a:lnTo>
                    <a:pt x="572" y="47"/>
                  </a:lnTo>
                  <a:lnTo>
                    <a:pt x="572" y="51"/>
                  </a:lnTo>
                  <a:lnTo>
                    <a:pt x="573" y="55"/>
                  </a:lnTo>
                  <a:lnTo>
                    <a:pt x="574" y="58"/>
                  </a:lnTo>
                  <a:lnTo>
                    <a:pt x="574" y="62"/>
                  </a:lnTo>
                  <a:lnTo>
                    <a:pt x="573" y="64"/>
                  </a:lnTo>
                  <a:lnTo>
                    <a:pt x="572" y="67"/>
                  </a:lnTo>
                  <a:lnTo>
                    <a:pt x="570" y="71"/>
                  </a:lnTo>
                  <a:lnTo>
                    <a:pt x="566" y="72"/>
                  </a:lnTo>
                  <a:lnTo>
                    <a:pt x="563" y="74"/>
                  </a:lnTo>
                  <a:lnTo>
                    <a:pt x="555" y="78"/>
                  </a:lnTo>
                  <a:lnTo>
                    <a:pt x="550" y="80"/>
                  </a:lnTo>
                  <a:lnTo>
                    <a:pt x="546" y="83"/>
                  </a:lnTo>
                  <a:lnTo>
                    <a:pt x="539" y="90"/>
                  </a:lnTo>
                  <a:lnTo>
                    <a:pt x="533" y="97"/>
                  </a:lnTo>
                  <a:lnTo>
                    <a:pt x="520" y="115"/>
                  </a:lnTo>
                  <a:lnTo>
                    <a:pt x="518" y="118"/>
                  </a:lnTo>
                  <a:lnTo>
                    <a:pt x="515" y="118"/>
                  </a:lnTo>
                  <a:lnTo>
                    <a:pt x="509" y="120"/>
                  </a:lnTo>
                  <a:lnTo>
                    <a:pt x="504" y="121"/>
                  </a:lnTo>
                  <a:lnTo>
                    <a:pt x="501" y="124"/>
                  </a:lnTo>
                  <a:lnTo>
                    <a:pt x="498" y="127"/>
                  </a:lnTo>
                  <a:lnTo>
                    <a:pt x="497" y="132"/>
                  </a:lnTo>
                  <a:lnTo>
                    <a:pt x="499" y="141"/>
                  </a:lnTo>
                  <a:lnTo>
                    <a:pt x="499" y="148"/>
                  </a:lnTo>
                  <a:lnTo>
                    <a:pt x="496" y="173"/>
                  </a:lnTo>
                  <a:lnTo>
                    <a:pt x="496" y="177"/>
                  </a:lnTo>
                  <a:lnTo>
                    <a:pt x="497" y="180"/>
                  </a:lnTo>
                  <a:lnTo>
                    <a:pt x="498" y="185"/>
                  </a:lnTo>
                  <a:lnTo>
                    <a:pt x="501" y="188"/>
                  </a:lnTo>
                  <a:lnTo>
                    <a:pt x="514" y="202"/>
                  </a:lnTo>
                  <a:lnTo>
                    <a:pt x="519" y="207"/>
                  </a:lnTo>
                  <a:lnTo>
                    <a:pt x="533" y="232"/>
                  </a:lnTo>
                  <a:lnTo>
                    <a:pt x="546" y="249"/>
                  </a:lnTo>
                  <a:lnTo>
                    <a:pt x="546" y="249"/>
                  </a:lnTo>
                  <a:lnTo>
                    <a:pt x="547" y="255"/>
                  </a:lnTo>
                  <a:lnTo>
                    <a:pt x="545" y="264"/>
                  </a:lnTo>
                  <a:lnTo>
                    <a:pt x="544" y="270"/>
                  </a:lnTo>
                  <a:lnTo>
                    <a:pt x="545" y="274"/>
                  </a:lnTo>
                  <a:lnTo>
                    <a:pt x="550" y="282"/>
                  </a:lnTo>
                  <a:lnTo>
                    <a:pt x="552" y="288"/>
                  </a:lnTo>
                  <a:lnTo>
                    <a:pt x="554" y="294"/>
                  </a:lnTo>
                  <a:lnTo>
                    <a:pt x="556" y="306"/>
                  </a:lnTo>
                  <a:lnTo>
                    <a:pt x="556" y="312"/>
                  </a:lnTo>
                  <a:lnTo>
                    <a:pt x="556" y="317"/>
                  </a:lnTo>
                  <a:lnTo>
                    <a:pt x="555" y="321"/>
                  </a:lnTo>
                  <a:lnTo>
                    <a:pt x="554" y="324"/>
                  </a:lnTo>
                  <a:lnTo>
                    <a:pt x="552" y="327"/>
                  </a:lnTo>
                  <a:lnTo>
                    <a:pt x="549" y="329"/>
                  </a:lnTo>
                  <a:lnTo>
                    <a:pt x="545" y="329"/>
                  </a:lnTo>
                  <a:lnTo>
                    <a:pt x="530" y="328"/>
                  </a:lnTo>
                  <a:lnTo>
                    <a:pt x="490" y="331"/>
                  </a:lnTo>
                  <a:lnTo>
                    <a:pt x="454" y="326"/>
                  </a:lnTo>
                  <a:lnTo>
                    <a:pt x="446" y="326"/>
                  </a:lnTo>
                  <a:lnTo>
                    <a:pt x="443" y="327"/>
                  </a:lnTo>
                  <a:lnTo>
                    <a:pt x="439" y="328"/>
                  </a:lnTo>
                  <a:lnTo>
                    <a:pt x="436" y="330"/>
                  </a:lnTo>
                  <a:lnTo>
                    <a:pt x="433" y="331"/>
                  </a:lnTo>
                  <a:lnTo>
                    <a:pt x="431" y="333"/>
                  </a:lnTo>
                  <a:lnTo>
                    <a:pt x="429" y="336"/>
                  </a:lnTo>
                  <a:lnTo>
                    <a:pt x="423" y="342"/>
                  </a:lnTo>
                  <a:lnTo>
                    <a:pt x="418" y="354"/>
                  </a:lnTo>
                  <a:lnTo>
                    <a:pt x="414" y="360"/>
                  </a:lnTo>
                  <a:lnTo>
                    <a:pt x="411" y="363"/>
                  </a:lnTo>
                  <a:lnTo>
                    <a:pt x="399" y="371"/>
                  </a:lnTo>
                  <a:lnTo>
                    <a:pt x="390" y="380"/>
                  </a:lnTo>
                  <a:lnTo>
                    <a:pt x="386" y="383"/>
                  </a:lnTo>
                  <a:lnTo>
                    <a:pt x="379" y="386"/>
                  </a:lnTo>
                  <a:lnTo>
                    <a:pt x="323" y="400"/>
                  </a:lnTo>
                  <a:lnTo>
                    <a:pt x="319" y="401"/>
                  </a:lnTo>
                  <a:lnTo>
                    <a:pt x="316" y="404"/>
                  </a:lnTo>
                  <a:lnTo>
                    <a:pt x="300" y="420"/>
                  </a:lnTo>
                  <a:lnTo>
                    <a:pt x="283" y="442"/>
                  </a:lnTo>
                  <a:lnTo>
                    <a:pt x="280" y="447"/>
                  </a:lnTo>
                  <a:lnTo>
                    <a:pt x="280" y="452"/>
                  </a:lnTo>
                  <a:lnTo>
                    <a:pt x="280" y="455"/>
                  </a:lnTo>
                  <a:lnTo>
                    <a:pt x="282" y="459"/>
                  </a:lnTo>
                  <a:lnTo>
                    <a:pt x="286" y="467"/>
                  </a:lnTo>
                  <a:lnTo>
                    <a:pt x="288" y="471"/>
                  </a:lnTo>
                  <a:lnTo>
                    <a:pt x="287" y="476"/>
                  </a:lnTo>
                  <a:lnTo>
                    <a:pt x="286" y="483"/>
                  </a:lnTo>
                  <a:lnTo>
                    <a:pt x="282" y="487"/>
                  </a:lnTo>
                  <a:lnTo>
                    <a:pt x="278" y="491"/>
                  </a:lnTo>
                  <a:lnTo>
                    <a:pt x="273" y="492"/>
                  </a:lnTo>
                  <a:lnTo>
                    <a:pt x="271" y="493"/>
                  </a:lnTo>
                  <a:lnTo>
                    <a:pt x="267" y="493"/>
                  </a:lnTo>
                  <a:lnTo>
                    <a:pt x="254" y="490"/>
                  </a:lnTo>
                  <a:lnTo>
                    <a:pt x="246" y="490"/>
                  </a:lnTo>
                  <a:lnTo>
                    <a:pt x="222" y="493"/>
                  </a:lnTo>
                  <a:lnTo>
                    <a:pt x="214" y="493"/>
                  </a:lnTo>
                  <a:lnTo>
                    <a:pt x="183" y="490"/>
                  </a:lnTo>
                  <a:lnTo>
                    <a:pt x="172" y="487"/>
                  </a:lnTo>
                  <a:lnTo>
                    <a:pt x="165" y="484"/>
                  </a:lnTo>
                  <a:lnTo>
                    <a:pt x="146" y="476"/>
                  </a:lnTo>
                  <a:lnTo>
                    <a:pt x="143" y="475"/>
                  </a:lnTo>
                  <a:lnTo>
                    <a:pt x="139" y="475"/>
                  </a:lnTo>
                  <a:lnTo>
                    <a:pt x="135" y="477"/>
                  </a:lnTo>
                  <a:lnTo>
                    <a:pt x="130" y="481"/>
                  </a:lnTo>
                  <a:lnTo>
                    <a:pt x="128" y="483"/>
                  </a:lnTo>
                  <a:lnTo>
                    <a:pt x="117" y="499"/>
                  </a:lnTo>
                  <a:lnTo>
                    <a:pt x="114" y="506"/>
                  </a:lnTo>
                  <a:lnTo>
                    <a:pt x="99" y="496"/>
                  </a:lnTo>
                  <a:lnTo>
                    <a:pt x="97" y="493"/>
                  </a:lnTo>
                  <a:lnTo>
                    <a:pt x="95" y="490"/>
                  </a:lnTo>
                  <a:lnTo>
                    <a:pt x="91" y="482"/>
                  </a:lnTo>
                  <a:lnTo>
                    <a:pt x="83" y="447"/>
                  </a:lnTo>
                  <a:lnTo>
                    <a:pt x="80" y="440"/>
                  </a:lnTo>
                  <a:lnTo>
                    <a:pt x="77" y="435"/>
                  </a:lnTo>
                  <a:lnTo>
                    <a:pt x="75" y="433"/>
                  </a:lnTo>
                  <a:lnTo>
                    <a:pt x="72" y="432"/>
                  </a:lnTo>
                  <a:lnTo>
                    <a:pt x="51" y="426"/>
                  </a:lnTo>
                  <a:lnTo>
                    <a:pt x="46" y="424"/>
                  </a:lnTo>
                  <a:lnTo>
                    <a:pt x="43" y="421"/>
                  </a:lnTo>
                  <a:lnTo>
                    <a:pt x="39" y="415"/>
                  </a:lnTo>
                  <a:lnTo>
                    <a:pt x="38" y="412"/>
                  </a:lnTo>
                  <a:lnTo>
                    <a:pt x="38" y="407"/>
                  </a:lnTo>
                  <a:lnTo>
                    <a:pt x="40" y="360"/>
                  </a:lnTo>
                  <a:lnTo>
                    <a:pt x="40" y="355"/>
                  </a:lnTo>
                  <a:lnTo>
                    <a:pt x="38" y="351"/>
                  </a:lnTo>
                  <a:lnTo>
                    <a:pt x="36" y="346"/>
                  </a:lnTo>
                  <a:lnTo>
                    <a:pt x="33" y="345"/>
                  </a:lnTo>
                  <a:lnTo>
                    <a:pt x="25" y="342"/>
                  </a:lnTo>
                  <a:lnTo>
                    <a:pt x="3" y="337"/>
                  </a:lnTo>
                  <a:lnTo>
                    <a:pt x="0" y="335"/>
                  </a:lnTo>
                  <a:lnTo>
                    <a:pt x="6" y="329"/>
                  </a:lnTo>
                  <a:lnTo>
                    <a:pt x="13" y="327"/>
                  </a:lnTo>
                  <a:lnTo>
                    <a:pt x="22" y="326"/>
                  </a:lnTo>
                  <a:lnTo>
                    <a:pt x="28" y="324"/>
                  </a:lnTo>
                  <a:lnTo>
                    <a:pt x="55" y="309"/>
                  </a:lnTo>
                  <a:lnTo>
                    <a:pt x="61" y="307"/>
                  </a:lnTo>
                  <a:lnTo>
                    <a:pt x="67" y="306"/>
                  </a:lnTo>
                  <a:lnTo>
                    <a:pt x="83" y="304"/>
                  </a:lnTo>
                  <a:lnTo>
                    <a:pt x="87" y="302"/>
                  </a:lnTo>
                  <a:lnTo>
                    <a:pt x="90" y="301"/>
                  </a:lnTo>
                  <a:lnTo>
                    <a:pt x="90" y="297"/>
                  </a:lnTo>
                  <a:lnTo>
                    <a:pt x="90" y="294"/>
                  </a:lnTo>
                  <a:lnTo>
                    <a:pt x="90" y="292"/>
                  </a:lnTo>
                  <a:lnTo>
                    <a:pt x="81" y="278"/>
                  </a:lnTo>
                  <a:lnTo>
                    <a:pt x="80" y="273"/>
                  </a:lnTo>
                  <a:lnTo>
                    <a:pt x="80" y="269"/>
                  </a:lnTo>
                  <a:lnTo>
                    <a:pt x="81" y="265"/>
                  </a:lnTo>
                  <a:lnTo>
                    <a:pt x="83" y="261"/>
                  </a:lnTo>
                  <a:lnTo>
                    <a:pt x="87" y="256"/>
                  </a:lnTo>
                  <a:lnTo>
                    <a:pt x="91" y="255"/>
                  </a:lnTo>
                  <a:lnTo>
                    <a:pt x="95" y="254"/>
                  </a:lnTo>
                  <a:lnTo>
                    <a:pt x="98" y="255"/>
                  </a:lnTo>
                  <a:lnTo>
                    <a:pt x="111" y="260"/>
                  </a:lnTo>
                  <a:lnTo>
                    <a:pt x="114" y="261"/>
                  </a:lnTo>
                  <a:lnTo>
                    <a:pt x="119" y="261"/>
                  </a:lnTo>
                  <a:lnTo>
                    <a:pt x="121" y="260"/>
                  </a:lnTo>
                  <a:lnTo>
                    <a:pt x="124" y="256"/>
                  </a:lnTo>
                  <a:lnTo>
                    <a:pt x="124" y="254"/>
                  </a:lnTo>
                  <a:lnTo>
                    <a:pt x="124" y="249"/>
                  </a:lnTo>
                  <a:lnTo>
                    <a:pt x="121" y="233"/>
                  </a:lnTo>
                  <a:lnTo>
                    <a:pt x="120" y="230"/>
                  </a:lnTo>
                  <a:lnTo>
                    <a:pt x="121" y="226"/>
                  </a:lnTo>
                  <a:lnTo>
                    <a:pt x="121" y="223"/>
                  </a:lnTo>
                  <a:lnTo>
                    <a:pt x="125" y="215"/>
                  </a:lnTo>
                  <a:lnTo>
                    <a:pt x="128" y="207"/>
                  </a:lnTo>
                  <a:lnTo>
                    <a:pt x="130" y="203"/>
                  </a:lnTo>
                  <a:lnTo>
                    <a:pt x="134" y="202"/>
                  </a:lnTo>
                  <a:lnTo>
                    <a:pt x="137" y="202"/>
                  </a:lnTo>
                  <a:lnTo>
                    <a:pt x="142" y="202"/>
                  </a:lnTo>
                  <a:lnTo>
                    <a:pt x="146" y="202"/>
                  </a:lnTo>
                  <a:lnTo>
                    <a:pt x="153" y="200"/>
                  </a:lnTo>
                  <a:lnTo>
                    <a:pt x="157" y="198"/>
                  </a:lnTo>
                  <a:lnTo>
                    <a:pt x="159" y="195"/>
                  </a:lnTo>
                  <a:lnTo>
                    <a:pt x="160" y="191"/>
                  </a:lnTo>
                  <a:lnTo>
                    <a:pt x="163" y="185"/>
                  </a:lnTo>
                  <a:lnTo>
                    <a:pt x="168" y="176"/>
                  </a:lnTo>
                  <a:lnTo>
                    <a:pt x="188" y="154"/>
                  </a:lnTo>
                  <a:lnTo>
                    <a:pt x="232" y="118"/>
                  </a:lnTo>
                  <a:lnTo>
                    <a:pt x="252" y="104"/>
                  </a:lnTo>
                  <a:lnTo>
                    <a:pt x="290" y="88"/>
                  </a:lnTo>
                  <a:lnTo>
                    <a:pt x="296" y="84"/>
                  </a:lnTo>
                  <a:lnTo>
                    <a:pt x="300" y="80"/>
                  </a:lnTo>
                  <a:lnTo>
                    <a:pt x="301" y="76"/>
                  </a:lnTo>
                  <a:lnTo>
                    <a:pt x="308" y="60"/>
                  </a:lnTo>
                  <a:lnTo>
                    <a:pt x="315" y="53"/>
                  </a:lnTo>
                  <a:lnTo>
                    <a:pt x="323" y="45"/>
                  </a:lnTo>
                  <a:lnTo>
                    <a:pt x="335" y="37"/>
                  </a:lnTo>
                  <a:lnTo>
                    <a:pt x="399" y="4"/>
                  </a:lnTo>
                  <a:lnTo>
                    <a:pt x="406" y="1"/>
                  </a:lnTo>
                  <a:lnTo>
                    <a:pt x="411" y="0"/>
                  </a:lnTo>
                  <a:lnTo>
                    <a:pt x="414" y="0"/>
                  </a:lnTo>
                  <a:lnTo>
                    <a:pt x="418" y="0"/>
                  </a:lnTo>
                  <a:lnTo>
                    <a:pt x="422" y="2"/>
                  </a:lnTo>
                  <a:lnTo>
                    <a:pt x="426" y="4"/>
                  </a:lnTo>
                  <a:lnTo>
                    <a:pt x="432" y="9"/>
                  </a:lnTo>
                  <a:lnTo>
                    <a:pt x="444" y="22"/>
                  </a:lnTo>
                  <a:lnTo>
                    <a:pt x="466" y="39"/>
                  </a:lnTo>
                  <a:lnTo>
                    <a:pt x="473" y="44"/>
                  </a:lnTo>
                  <a:lnTo>
                    <a:pt x="477" y="45"/>
                  </a:lnTo>
                  <a:lnTo>
                    <a:pt x="494" y="46"/>
                  </a:lnTo>
                  <a:lnTo>
                    <a:pt x="505" y="49"/>
                  </a:lnTo>
                  <a:lnTo>
                    <a:pt x="509" y="49"/>
                  </a:lnTo>
                  <a:lnTo>
                    <a:pt x="512" y="48"/>
                  </a:lnTo>
                  <a:lnTo>
                    <a:pt x="515" y="46"/>
                  </a:lnTo>
                  <a:lnTo>
                    <a:pt x="518" y="44"/>
                  </a:lnTo>
                  <a:lnTo>
                    <a:pt x="531" y="26"/>
                  </a:lnTo>
                  <a:lnTo>
                    <a:pt x="538" y="19"/>
                  </a:lnTo>
                  <a:lnTo>
                    <a:pt x="538" y="19"/>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95" name="Freeform 11">
              <a:extLst>
                <a:ext uri="{FF2B5EF4-FFF2-40B4-BE49-F238E27FC236}"/>
              </a:extLst>
            </p:cNvPr>
            <p:cNvSpPr>
              <a:spLocks/>
            </p:cNvSpPr>
            <p:nvPr/>
          </p:nvSpPr>
          <p:spPr bwMode="auto">
            <a:xfrm>
              <a:off x="2873375" y="2854325"/>
              <a:ext cx="1539875" cy="1065213"/>
            </a:xfrm>
            <a:custGeom>
              <a:avLst/>
              <a:gdLst>
                <a:gd name="T0" fmla="*/ 948 w 970"/>
                <a:gd name="T1" fmla="*/ 274 h 671"/>
                <a:gd name="T2" fmla="*/ 938 w 970"/>
                <a:gd name="T3" fmla="*/ 301 h 671"/>
                <a:gd name="T4" fmla="*/ 922 w 970"/>
                <a:gd name="T5" fmla="*/ 338 h 671"/>
                <a:gd name="T6" fmla="*/ 898 w 970"/>
                <a:gd name="T7" fmla="*/ 340 h 671"/>
                <a:gd name="T8" fmla="*/ 836 w 970"/>
                <a:gd name="T9" fmla="*/ 303 h 671"/>
                <a:gd name="T10" fmla="*/ 815 w 970"/>
                <a:gd name="T11" fmla="*/ 294 h 671"/>
                <a:gd name="T12" fmla="*/ 719 w 970"/>
                <a:gd name="T13" fmla="*/ 347 h 671"/>
                <a:gd name="T14" fmla="*/ 694 w 970"/>
                <a:gd name="T15" fmla="*/ 382 h 671"/>
                <a:gd name="T16" fmla="*/ 567 w 970"/>
                <a:gd name="T17" fmla="*/ 479 h 671"/>
                <a:gd name="T18" fmla="*/ 550 w 970"/>
                <a:gd name="T19" fmla="*/ 496 h 671"/>
                <a:gd name="T20" fmla="*/ 532 w 970"/>
                <a:gd name="T21" fmla="*/ 501 h 671"/>
                <a:gd name="T22" fmla="*/ 525 w 970"/>
                <a:gd name="T23" fmla="*/ 527 h 671"/>
                <a:gd name="T24" fmla="*/ 523 w 970"/>
                <a:gd name="T25" fmla="*/ 555 h 671"/>
                <a:gd name="T26" fmla="*/ 495 w 970"/>
                <a:gd name="T27" fmla="*/ 549 h 671"/>
                <a:gd name="T28" fmla="*/ 484 w 970"/>
                <a:gd name="T29" fmla="*/ 567 h 671"/>
                <a:gd name="T30" fmla="*/ 494 w 970"/>
                <a:gd name="T31" fmla="*/ 595 h 671"/>
                <a:gd name="T32" fmla="*/ 459 w 970"/>
                <a:gd name="T33" fmla="*/ 603 h 671"/>
                <a:gd name="T34" fmla="*/ 404 w 970"/>
                <a:gd name="T35" fmla="*/ 629 h 671"/>
                <a:gd name="T36" fmla="*/ 303 w 970"/>
                <a:gd name="T37" fmla="*/ 622 h 671"/>
                <a:gd name="T38" fmla="*/ 276 w 970"/>
                <a:gd name="T39" fmla="*/ 649 h 671"/>
                <a:gd name="T40" fmla="*/ 256 w 970"/>
                <a:gd name="T41" fmla="*/ 655 h 671"/>
                <a:gd name="T42" fmla="*/ 178 w 970"/>
                <a:gd name="T43" fmla="*/ 671 h 671"/>
                <a:gd name="T44" fmla="*/ 163 w 970"/>
                <a:gd name="T45" fmla="*/ 663 h 671"/>
                <a:gd name="T46" fmla="*/ 157 w 970"/>
                <a:gd name="T47" fmla="*/ 582 h 671"/>
                <a:gd name="T48" fmla="*/ 160 w 970"/>
                <a:gd name="T49" fmla="*/ 485 h 671"/>
                <a:gd name="T50" fmla="*/ 139 w 970"/>
                <a:gd name="T51" fmla="*/ 480 h 671"/>
                <a:gd name="T52" fmla="*/ 133 w 970"/>
                <a:gd name="T53" fmla="*/ 461 h 671"/>
                <a:gd name="T54" fmla="*/ 140 w 970"/>
                <a:gd name="T55" fmla="*/ 432 h 671"/>
                <a:gd name="T56" fmla="*/ 145 w 970"/>
                <a:gd name="T57" fmla="*/ 408 h 671"/>
                <a:gd name="T58" fmla="*/ 192 w 970"/>
                <a:gd name="T59" fmla="*/ 336 h 671"/>
                <a:gd name="T60" fmla="*/ 192 w 970"/>
                <a:gd name="T61" fmla="*/ 316 h 671"/>
                <a:gd name="T62" fmla="*/ 155 w 970"/>
                <a:gd name="T63" fmla="*/ 291 h 671"/>
                <a:gd name="T64" fmla="*/ 122 w 970"/>
                <a:gd name="T65" fmla="*/ 195 h 671"/>
                <a:gd name="T66" fmla="*/ 83 w 970"/>
                <a:gd name="T67" fmla="*/ 166 h 671"/>
                <a:gd name="T68" fmla="*/ 6 w 970"/>
                <a:gd name="T69" fmla="*/ 140 h 671"/>
                <a:gd name="T70" fmla="*/ 27 w 970"/>
                <a:gd name="T71" fmla="*/ 109 h 671"/>
                <a:gd name="T72" fmla="*/ 248 w 970"/>
                <a:gd name="T73" fmla="*/ 8 h 671"/>
                <a:gd name="T74" fmla="*/ 380 w 970"/>
                <a:gd name="T75" fmla="*/ 0 h 671"/>
                <a:gd name="T76" fmla="*/ 451 w 970"/>
                <a:gd name="T77" fmla="*/ 15 h 671"/>
                <a:gd name="T78" fmla="*/ 502 w 970"/>
                <a:gd name="T79" fmla="*/ 8 h 671"/>
                <a:gd name="T80" fmla="*/ 595 w 970"/>
                <a:gd name="T81" fmla="*/ 54 h 671"/>
                <a:gd name="T82" fmla="*/ 625 w 970"/>
                <a:gd name="T83" fmla="*/ 66 h 671"/>
                <a:gd name="T84" fmla="*/ 658 w 970"/>
                <a:gd name="T85" fmla="*/ 53 h 671"/>
                <a:gd name="T86" fmla="*/ 670 w 970"/>
                <a:gd name="T87" fmla="*/ 72 h 671"/>
                <a:gd name="T88" fmla="*/ 684 w 970"/>
                <a:gd name="T89" fmla="*/ 92 h 671"/>
                <a:gd name="T90" fmla="*/ 720 w 970"/>
                <a:gd name="T91" fmla="*/ 94 h 671"/>
                <a:gd name="T92" fmla="*/ 759 w 970"/>
                <a:gd name="T93" fmla="*/ 103 h 671"/>
                <a:gd name="T94" fmla="*/ 797 w 970"/>
                <a:gd name="T95" fmla="*/ 92 h 671"/>
                <a:gd name="T96" fmla="*/ 852 w 970"/>
                <a:gd name="T97" fmla="*/ 197 h 671"/>
                <a:gd name="T98" fmla="*/ 924 w 970"/>
                <a:gd name="T99" fmla="*/ 214 h 671"/>
                <a:gd name="T100" fmla="*/ 970 w 970"/>
                <a:gd name="T101" fmla="*/ 25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671">
                  <a:moveTo>
                    <a:pt x="970" y="258"/>
                  </a:moveTo>
                  <a:lnTo>
                    <a:pt x="961" y="261"/>
                  </a:lnTo>
                  <a:lnTo>
                    <a:pt x="958" y="263"/>
                  </a:lnTo>
                  <a:lnTo>
                    <a:pt x="953" y="268"/>
                  </a:lnTo>
                  <a:lnTo>
                    <a:pt x="948" y="274"/>
                  </a:lnTo>
                  <a:lnTo>
                    <a:pt x="944" y="282"/>
                  </a:lnTo>
                  <a:lnTo>
                    <a:pt x="941" y="287"/>
                  </a:lnTo>
                  <a:lnTo>
                    <a:pt x="939" y="293"/>
                  </a:lnTo>
                  <a:lnTo>
                    <a:pt x="938" y="297"/>
                  </a:lnTo>
                  <a:lnTo>
                    <a:pt x="938" y="301"/>
                  </a:lnTo>
                  <a:lnTo>
                    <a:pt x="938" y="305"/>
                  </a:lnTo>
                  <a:lnTo>
                    <a:pt x="940" y="312"/>
                  </a:lnTo>
                  <a:lnTo>
                    <a:pt x="942" y="313"/>
                  </a:lnTo>
                  <a:lnTo>
                    <a:pt x="935" y="320"/>
                  </a:lnTo>
                  <a:lnTo>
                    <a:pt x="922" y="338"/>
                  </a:lnTo>
                  <a:lnTo>
                    <a:pt x="919" y="340"/>
                  </a:lnTo>
                  <a:lnTo>
                    <a:pt x="916" y="342"/>
                  </a:lnTo>
                  <a:lnTo>
                    <a:pt x="913" y="343"/>
                  </a:lnTo>
                  <a:lnTo>
                    <a:pt x="909" y="343"/>
                  </a:lnTo>
                  <a:lnTo>
                    <a:pt x="898" y="340"/>
                  </a:lnTo>
                  <a:lnTo>
                    <a:pt x="881" y="339"/>
                  </a:lnTo>
                  <a:lnTo>
                    <a:pt x="877" y="338"/>
                  </a:lnTo>
                  <a:lnTo>
                    <a:pt x="870" y="333"/>
                  </a:lnTo>
                  <a:lnTo>
                    <a:pt x="848" y="316"/>
                  </a:lnTo>
                  <a:lnTo>
                    <a:pt x="836" y="303"/>
                  </a:lnTo>
                  <a:lnTo>
                    <a:pt x="830" y="298"/>
                  </a:lnTo>
                  <a:lnTo>
                    <a:pt x="826" y="296"/>
                  </a:lnTo>
                  <a:lnTo>
                    <a:pt x="822" y="294"/>
                  </a:lnTo>
                  <a:lnTo>
                    <a:pt x="818" y="294"/>
                  </a:lnTo>
                  <a:lnTo>
                    <a:pt x="815" y="294"/>
                  </a:lnTo>
                  <a:lnTo>
                    <a:pt x="810" y="295"/>
                  </a:lnTo>
                  <a:lnTo>
                    <a:pt x="803" y="298"/>
                  </a:lnTo>
                  <a:lnTo>
                    <a:pt x="739" y="331"/>
                  </a:lnTo>
                  <a:lnTo>
                    <a:pt x="727" y="339"/>
                  </a:lnTo>
                  <a:lnTo>
                    <a:pt x="719" y="347"/>
                  </a:lnTo>
                  <a:lnTo>
                    <a:pt x="712" y="354"/>
                  </a:lnTo>
                  <a:lnTo>
                    <a:pt x="705" y="370"/>
                  </a:lnTo>
                  <a:lnTo>
                    <a:pt x="704" y="374"/>
                  </a:lnTo>
                  <a:lnTo>
                    <a:pt x="700" y="378"/>
                  </a:lnTo>
                  <a:lnTo>
                    <a:pt x="694" y="382"/>
                  </a:lnTo>
                  <a:lnTo>
                    <a:pt x="656" y="398"/>
                  </a:lnTo>
                  <a:lnTo>
                    <a:pt x="636" y="412"/>
                  </a:lnTo>
                  <a:lnTo>
                    <a:pt x="592" y="448"/>
                  </a:lnTo>
                  <a:lnTo>
                    <a:pt x="572" y="470"/>
                  </a:lnTo>
                  <a:lnTo>
                    <a:pt x="567" y="479"/>
                  </a:lnTo>
                  <a:lnTo>
                    <a:pt x="564" y="485"/>
                  </a:lnTo>
                  <a:lnTo>
                    <a:pt x="563" y="489"/>
                  </a:lnTo>
                  <a:lnTo>
                    <a:pt x="561" y="492"/>
                  </a:lnTo>
                  <a:lnTo>
                    <a:pt x="557" y="494"/>
                  </a:lnTo>
                  <a:lnTo>
                    <a:pt x="550" y="496"/>
                  </a:lnTo>
                  <a:lnTo>
                    <a:pt x="546" y="496"/>
                  </a:lnTo>
                  <a:lnTo>
                    <a:pt x="541" y="496"/>
                  </a:lnTo>
                  <a:lnTo>
                    <a:pt x="538" y="496"/>
                  </a:lnTo>
                  <a:lnTo>
                    <a:pt x="534" y="497"/>
                  </a:lnTo>
                  <a:lnTo>
                    <a:pt x="532" y="501"/>
                  </a:lnTo>
                  <a:lnTo>
                    <a:pt x="529" y="509"/>
                  </a:lnTo>
                  <a:lnTo>
                    <a:pt x="525" y="517"/>
                  </a:lnTo>
                  <a:lnTo>
                    <a:pt x="525" y="520"/>
                  </a:lnTo>
                  <a:lnTo>
                    <a:pt x="524" y="524"/>
                  </a:lnTo>
                  <a:lnTo>
                    <a:pt x="525" y="527"/>
                  </a:lnTo>
                  <a:lnTo>
                    <a:pt x="528" y="543"/>
                  </a:lnTo>
                  <a:lnTo>
                    <a:pt x="528" y="548"/>
                  </a:lnTo>
                  <a:lnTo>
                    <a:pt x="528" y="550"/>
                  </a:lnTo>
                  <a:lnTo>
                    <a:pt x="525" y="554"/>
                  </a:lnTo>
                  <a:lnTo>
                    <a:pt x="523" y="555"/>
                  </a:lnTo>
                  <a:lnTo>
                    <a:pt x="518" y="555"/>
                  </a:lnTo>
                  <a:lnTo>
                    <a:pt x="515" y="554"/>
                  </a:lnTo>
                  <a:lnTo>
                    <a:pt x="502" y="549"/>
                  </a:lnTo>
                  <a:lnTo>
                    <a:pt x="499" y="548"/>
                  </a:lnTo>
                  <a:lnTo>
                    <a:pt x="495" y="549"/>
                  </a:lnTo>
                  <a:lnTo>
                    <a:pt x="491" y="550"/>
                  </a:lnTo>
                  <a:lnTo>
                    <a:pt x="487" y="555"/>
                  </a:lnTo>
                  <a:lnTo>
                    <a:pt x="485" y="559"/>
                  </a:lnTo>
                  <a:lnTo>
                    <a:pt x="484" y="563"/>
                  </a:lnTo>
                  <a:lnTo>
                    <a:pt x="484" y="567"/>
                  </a:lnTo>
                  <a:lnTo>
                    <a:pt x="485" y="572"/>
                  </a:lnTo>
                  <a:lnTo>
                    <a:pt x="494" y="586"/>
                  </a:lnTo>
                  <a:lnTo>
                    <a:pt x="494" y="588"/>
                  </a:lnTo>
                  <a:lnTo>
                    <a:pt x="494" y="591"/>
                  </a:lnTo>
                  <a:lnTo>
                    <a:pt x="494" y="595"/>
                  </a:lnTo>
                  <a:lnTo>
                    <a:pt x="491" y="596"/>
                  </a:lnTo>
                  <a:lnTo>
                    <a:pt x="487" y="598"/>
                  </a:lnTo>
                  <a:lnTo>
                    <a:pt x="471" y="600"/>
                  </a:lnTo>
                  <a:lnTo>
                    <a:pt x="465" y="601"/>
                  </a:lnTo>
                  <a:lnTo>
                    <a:pt x="459" y="603"/>
                  </a:lnTo>
                  <a:lnTo>
                    <a:pt x="432" y="618"/>
                  </a:lnTo>
                  <a:lnTo>
                    <a:pt x="426" y="620"/>
                  </a:lnTo>
                  <a:lnTo>
                    <a:pt x="417" y="621"/>
                  </a:lnTo>
                  <a:lnTo>
                    <a:pt x="410" y="623"/>
                  </a:lnTo>
                  <a:lnTo>
                    <a:pt x="404" y="629"/>
                  </a:lnTo>
                  <a:lnTo>
                    <a:pt x="389" y="625"/>
                  </a:lnTo>
                  <a:lnTo>
                    <a:pt x="342" y="617"/>
                  </a:lnTo>
                  <a:lnTo>
                    <a:pt x="314" y="619"/>
                  </a:lnTo>
                  <a:lnTo>
                    <a:pt x="308" y="620"/>
                  </a:lnTo>
                  <a:lnTo>
                    <a:pt x="303" y="622"/>
                  </a:lnTo>
                  <a:lnTo>
                    <a:pt x="298" y="625"/>
                  </a:lnTo>
                  <a:lnTo>
                    <a:pt x="294" y="628"/>
                  </a:lnTo>
                  <a:lnTo>
                    <a:pt x="282" y="644"/>
                  </a:lnTo>
                  <a:lnTo>
                    <a:pt x="279" y="648"/>
                  </a:lnTo>
                  <a:lnTo>
                    <a:pt x="276" y="649"/>
                  </a:lnTo>
                  <a:lnTo>
                    <a:pt x="273" y="651"/>
                  </a:lnTo>
                  <a:lnTo>
                    <a:pt x="270" y="652"/>
                  </a:lnTo>
                  <a:lnTo>
                    <a:pt x="267" y="653"/>
                  </a:lnTo>
                  <a:lnTo>
                    <a:pt x="263" y="654"/>
                  </a:lnTo>
                  <a:lnTo>
                    <a:pt x="256" y="655"/>
                  </a:lnTo>
                  <a:lnTo>
                    <a:pt x="237" y="654"/>
                  </a:lnTo>
                  <a:lnTo>
                    <a:pt x="228" y="655"/>
                  </a:lnTo>
                  <a:lnTo>
                    <a:pt x="186" y="671"/>
                  </a:lnTo>
                  <a:lnTo>
                    <a:pt x="183" y="671"/>
                  </a:lnTo>
                  <a:lnTo>
                    <a:pt x="178" y="671"/>
                  </a:lnTo>
                  <a:lnTo>
                    <a:pt x="175" y="671"/>
                  </a:lnTo>
                  <a:lnTo>
                    <a:pt x="171" y="669"/>
                  </a:lnTo>
                  <a:lnTo>
                    <a:pt x="169" y="668"/>
                  </a:lnTo>
                  <a:lnTo>
                    <a:pt x="166" y="666"/>
                  </a:lnTo>
                  <a:lnTo>
                    <a:pt x="163" y="663"/>
                  </a:lnTo>
                  <a:lnTo>
                    <a:pt x="162" y="660"/>
                  </a:lnTo>
                  <a:lnTo>
                    <a:pt x="160" y="655"/>
                  </a:lnTo>
                  <a:lnTo>
                    <a:pt x="158" y="650"/>
                  </a:lnTo>
                  <a:lnTo>
                    <a:pt x="160" y="602"/>
                  </a:lnTo>
                  <a:lnTo>
                    <a:pt x="157" y="582"/>
                  </a:lnTo>
                  <a:lnTo>
                    <a:pt x="152" y="562"/>
                  </a:lnTo>
                  <a:lnTo>
                    <a:pt x="151" y="557"/>
                  </a:lnTo>
                  <a:lnTo>
                    <a:pt x="151" y="552"/>
                  </a:lnTo>
                  <a:lnTo>
                    <a:pt x="161" y="489"/>
                  </a:lnTo>
                  <a:lnTo>
                    <a:pt x="160" y="485"/>
                  </a:lnTo>
                  <a:lnTo>
                    <a:pt x="158" y="481"/>
                  </a:lnTo>
                  <a:lnTo>
                    <a:pt x="155" y="478"/>
                  </a:lnTo>
                  <a:lnTo>
                    <a:pt x="151" y="478"/>
                  </a:lnTo>
                  <a:lnTo>
                    <a:pt x="143" y="480"/>
                  </a:lnTo>
                  <a:lnTo>
                    <a:pt x="139" y="480"/>
                  </a:lnTo>
                  <a:lnTo>
                    <a:pt x="135" y="478"/>
                  </a:lnTo>
                  <a:lnTo>
                    <a:pt x="133" y="475"/>
                  </a:lnTo>
                  <a:lnTo>
                    <a:pt x="131" y="471"/>
                  </a:lnTo>
                  <a:lnTo>
                    <a:pt x="130" y="466"/>
                  </a:lnTo>
                  <a:lnTo>
                    <a:pt x="133" y="461"/>
                  </a:lnTo>
                  <a:lnTo>
                    <a:pt x="139" y="450"/>
                  </a:lnTo>
                  <a:lnTo>
                    <a:pt x="139" y="448"/>
                  </a:lnTo>
                  <a:lnTo>
                    <a:pt x="140" y="441"/>
                  </a:lnTo>
                  <a:lnTo>
                    <a:pt x="140" y="436"/>
                  </a:lnTo>
                  <a:lnTo>
                    <a:pt x="140" y="432"/>
                  </a:lnTo>
                  <a:lnTo>
                    <a:pt x="140" y="428"/>
                  </a:lnTo>
                  <a:lnTo>
                    <a:pt x="137" y="420"/>
                  </a:lnTo>
                  <a:lnTo>
                    <a:pt x="139" y="418"/>
                  </a:lnTo>
                  <a:lnTo>
                    <a:pt x="142" y="414"/>
                  </a:lnTo>
                  <a:lnTo>
                    <a:pt x="145" y="408"/>
                  </a:lnTo>
                  <a:lnTo>
                    <a:pt x="155" y="378"/>
                  </a:lnTo>
                  <a:lnTo>
                    <a:pt x="160" y="367"/>
                  </a:lnTo>
                  <a:lnTo>
                    <a:pt x="167" y="358"/>
                  </a:lnTo>
                  <a:lnTo>
                    <a:pt x="188" y="339"/>
                  </a:lnTo>
                  <a:lnTo>
                    <a:pt x="192" y="336"/>
                  </a:lnTo>
                  <a:lnTo>
                    <a:pt x="193" y="332"/>
                  </a:lnTo>
                  <a:lnTo>
                    <a:pt x="195" y="328"/>
                  </a:lnTo>
                  <a:lnTo>
                    <a:pt x="196" y="324"/>
                  </a:lnTo>
                  <a:lnTo>
                    <a:pt x="195" y="320"/>
                  </a:lnTo>
                  <a:lnTo>
                    <a:pt x="192" y="316"/>
                  </a:lnTo>
                  <a:lnTo>
                    <a:pt x="188" y="313"/>
                  </a:lnTo>
                  <a:lnTo>
                    <a:pt x="167" y="302"/>
                  </a:lnTo>
                  <a:lnTo>
                    <a:pt x="161" y="298"/>
                  </a:lnTo>
                  <a:lnTo>
                    <a:pt x="158" y="295"/>
                  </a:lnTo>
                  <a:lnTo>
                    <a:pt x="155" y="291"/>
                  </a:lnTo>
                  <a:lnTo>
                    <a:pt x="154" y="288"/>
                  </a:lnTo>
                  <a:lnTo>
                    <a:pt x="136" y="214"/>
                  </a:lnTo>
                  <a:lnTo>
                    <a:pt x="134" y="209"/>
                  </a:lnTo>
                  <a:lnTo>
                    <a:pt x="132" y="206"/>
                  </a:lnTo>
                  <a:lnTo>
                    <a:pt x="122" y="195"/>
                  </a:lnTo>
                  <a:lnTo>
                    <a:pt x="103" y="179"/>
                  </a:lnTo>
                  <a:lnTo>
                    <a:pt x="92" y="174"/>
                  </a:lnTo>
                  <a:lnTo>
                    <a:pt x="88" y="170"/>
                  </a:lnTo>
                  <a:lnTo>
                    <a:pt x="83" y="167"/>
                  </a:lnTo>
                  <a:lnTo>
                    <a:pt x="83" y="166"/>
                  </a:lnTo>
                  <a:lnTo>
                    <a:pt x="79" y="161"/>
                  </a:lnTo>
                  <a:lnTo>
                    <a:pt x="73" y="158"/>
                  </a:lnTo>
                  <a:lnTo>
                    <a:pt x="64" y="154"/>
                  </a:lnTo>
                  <a:lnTo>
                    <a:pt x="10" y="142"/>
                  </a:lnTo>
                  <a:lnTo>
                    <a:pt x="6" y="140"/>
                  </a:lnTo>
                  <a:lnTo>
                    <a:pt x="3" y="138"/>
                  </a:lnTo>
                  <a:lnTo>
                    <a:pt x="0" y="135"/>
                  </a:lnTo>
                  <a:lnTo>
                    <a:pt x="19" y="115"/>
                  </a:lnTo>
                  <a:lnTo>
                    <a:pt x="22" y="112"/>
                  </a:lnTo>
                  <a:lnTo>
                    <a:pt x="27" y="109"/>
                  </a:lnTo>
                  <a:lnTo>
                    <a:pt x="89" y="78"/>
                  </a:lnTo>
                  <a:lnTo>
                    <a:pt x="119" y="70"/>
                  </a:lnTo>
                  <a:lnTo>
                    <a:pt x="181" y="35"/>
                  </a:lnTo>
                  <a:lnTo>
                    <a:pt x="245" y="8"/>
                  </a:lnTo>
                  <a:lnTo>
                    <a:pt x="248" y="8"/>
                  </a:lnTo>
                  <a:lnTo>
                    <a:pt x="259" y="11"/>
                  </a:lnTo>
                  <a:lnTo>
                    <a:pt x="277" y="19"/>
                  </a:lnTo>
                  <a:lnTo>
                    <a:pt x="287" y="22"/>
                  </a:lnTo>
                  <a:lnTo>
                    <a:pt x="291" y="22"/>
                  </a:lnTo>
                  <a:lnTo>
                    <a:pt x="380" y="0"/>
                  </a:lnTo>
                  <a:lnTo>
                    <a:pt x="392" y="0"/>
                  </a:lnTo>
                  <a:lnTo>
                    <a:pt x="399" y="0"/>
                  </a:lnTo>
                  <a:lnTo>
                    <a:pt x="404" y="0"/>
                  </a:lnTo>
                  <a:lnTo>
                    <a:pt x="445" y="14"/>
                  </a:lnTo>
                  <a:lnTo>
                    <a:pt x="451" y="15"/>
                  </a:lnTo>
                  <a:lnTo>
                    <a:pt x="456" y="15"/>
                  </a:lnTo>
                  <a:lnTo>
                    <a:pt x="460" y="15"/>
                  </a:lnTo>
                  <a:lnTo>
                    <a:pt x="479" y="9"/>
                  </a:lnTo>
                  <a:lnTo>
                    <a:pt x="498" y="8"/>
                  </a:lnTo>
                  <a:lnTo>
                    <a:pt x="502" y="8"/>
                  </a:lnTo>
                  <a:lnTo>
                    <a:pt x="559" y="22"/>
                  </a:lnTo>
                  <a:lnTo>
                    <a:pt x="567" y="24"/>
                  </a:lnTo>
                  <a:lnTo>
                    <a:pt x="571" y="27"/>
                  </a:lnTo>
                  <a:lnTo>
                    <a:pt x="575" y="31"/>
                  </a:lnTo>
                  <a:lnTo>
                    <a:pt x="595" y="54"/>
                  </a:lnTo>
                  <a:lnTo>
                    <a:pt x="600" y="59"/>
                  </a:lnTo>
                  <a:lnTo>
                    <a:pt x="606" y="62"/>
                  </a:lnTo>
                  <a:lnTo>
                    <a:pt x="614" y="66"/>
                  </a:lnTo>
                  <a:lnTo>
                    <a:pt x="620" y="67"/>
                  </a:lnTo>
                  <a:lnTo>
                    <a:pt x="625" y="66"/>
                  </a:lnTo>
                  <a:lnTo>
                    <a:pt x="630" y="65"/>
                  </a:lnTo>
                  <a:lnTo>
                    <a:pt x="635" y="63"/>
                  </a:lnTo>
                  <a:lnTo>
                    <a:pt x="649" y="55"/>
                  </a:lnTo>
                  <a:lnTo>
                    <a:pt x="653" y="54"/>
                  </a:lnTo>
                  <a:lnTo>
                    <a:pt x="658" y="53"/>
                  </a:lnTo>
                  <a:lnTo>
                    <a:pt x="664" y="53"/>
                  </a:lnTo>
                  <a:lnTo>
                    <a:pt x="667" y="54"/>
                  </a:lnTo>
                  <a:lnTo>
                    <a:pt x="669" y="56"/>
                  </a:lnTo>
                  <a:lnTo>
                    <a:pt x="669" y="58"/>
                  </a:lnTo>
                  <a:lnTo>
                    <a:pt x="670" y="72"/>
                  </a:lnTo>
                  <a:lnTo>
                    <a:pt x="670" y="75"/>
                  </a:lnTo>
                  <a:lnTo>
                    <a:pt x="672" y="78"/>
                  </a:lnTo>
                  <a:lnTo>
                    <a:pt x="675" y="84"/>
                  </a:lnTo>
                  <a:lnTo>
                    <a:pt x="678" y="89"/>
                  </a:lnTo>
                  <a:lnTo>
                    <a:pt x="684" y="92"/>
                  </a:lnTo>
                  <a:lnTo>
                    <a:pt x="689" y="94"/>
                  </a:lnTo>
                  <a:lnTo>
                    <a:pt x="693" y="94"/>
                  </a:lnTo>
                  <a:lnTo>
                    <a:pt x="710" y="92"/>
                  </a:lnTo>
                  <a:lnTo>
                    <a:pt x="715" y="93"/>
                  </a:lnTo>
                  <a:lnTo>
                    <a:pt x="720" y="94"/>
                  </a:lnTo>
                  <a:lnTo>
                    <a:pt x="737" y="104"/>
                  </a:lnTo>
                  <a:lnTo>
                    <a:pt x="744" y="106"/>
                  </a:lnTo>
                  <a:lnTo>
                    <a:pt x="749" y="107"/>
                  </a:lnTo>
                  <a:lnTo>
                    <a:pt x="752" y="106"/>
                  </a:lnTo>
                  <a:lnTo>
                    <a:pt x="759" y="103"/>
                  </a:lnTo>
                  <a:lnTo>
                    <a:pt x="779" y="90"/>
                  </a:lnTo>
                  <a:lnTo>
                    <a:pt x="783" y="88"/>
                  </a:lnTo>
                  <a:lnTo>
                    <a:pt x="789" y="87"/>
                  </a:lnTo>
                  <a:lnTo>
                    <a:pt x="794" y="89"/>
                  </a:lnTo>
                  <a:lnTo>
                    <a:pt x="797" y="92"/>
                  </a:lnTo>
                  <a:lnTo>
                    <a:pt x="800" y="96"/>
                  </a:lnTo>
                  <a:lnTo>
                    <a:pt x="828" y="147"/>
                  </a:lnTo>
                  <a:lnTo>
                    <a:pt x="842" y="184"/>
                  </a:lnTo>
                  <a:lnTo>
                    <a:pt x="848" y="193"/>
                  </a:lnTo>
                  <a:lnTo>
                    <a:pt x="852" y="197"/>
                  </a:lnTo>
                  <a:lnTo>
                    <a:pt x="857" y="200"/>
                  </a:lnTo>
                  <a:lnTo>
                    <a:pt x="863" y="203"/>
                  </a:lnTo>
                  <a:lnTo>
                    <a:pt x="867" y="205"/>
                  </a:lnTo>
                  <a:lnTo>
                    <a:pt x="919" y="213"/>
                  </a:lnTo>
                  <a:lnTo>
                    <a:pt x="924" y="214"/>
                  </a:lnTo>
                  <a:lnTo>
                    <a:pt x="932" y="219"/>
                  </a:lnTo>
                  <a:lnTo>
                    <a:pt x="936" y="221"/>
                  </a:lnTo>
                  <a:lnTo>
                    <a:pt x="963" y="246"/>
                  </a:lnTo>
                  <a:lnTo>
                    <a:pt x="968" y="252"/>
                  </a:lnTo>
                  <a:lnTo>
                    <a:pt x="970" y="258"/>
                  </a:lnTo>
                  <a:lnTo>
                    <a:pt x="970" y="25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96" name="Freeform 12">
              <a:extLst>
                <a:ext uri="{FF2B5EF4-FFF2-40B4-BE49-F238E27FC236}"/>
              </a:extLst>
            </p:cNvPr>
            <p:cNvSpPr>
              <a:spLocks noEditPoints="1"/>
            </p:cNvSpPr>
            <p:nvPr/>
          </p:nvSpPr>
          <p:spPr bwMode="auto">
            <a:xfrm>
              <a:off x="1698625" y="2819400"/>
              <a:ext cx="1485900" cy="1327150"/>
            </a:xfrm>
            <a:custGeom>
              <a:avLst/>
              <a:gdLst>
                <a:gd name="T0" fmla="*/ 402 w 936"/>
                <a:gd name="T1" fmla="*/ 671 h 836"/>
                <a:gd name="T2" fmla="*/ 385 w 936"/>
                <a:gd name="T3" fmla="*/ 670 h 836"/>
                <a:gd name="T4" fmla="*/ 396 w 936"/>
                <a:gd name="T5" fmla="*/ 676 h 836"/>
                <a:gd name="T6" fmla="*/ 369 w 936"/>
                <a:gd name="T7" fmla="*/ 660 h 836"/>
                <a:gd name="T8" fmla="*/ 382 w 936"/>
                <a:gd name="T9" fmla="*/ 646 h 836"/>
                <a:gd name="T10" fmla="*/ 386 w 936"/>
                <a:gd name="T11" fmla="*/ 667 h 836"/>
                <a:gd name="T12" fmla="*/ 367 w 936"/>
                <a:gd name="T13" fmla="*/ 655 h 836"/>
                <a:gd name="T14" fmla="*/ 360 w 936"/>
                <a:gd name="T15" fmla="*/ 646 h 836"/>
                <a:gd name="T16" fmla="*/ 389 w 936"/>
                <a:gd name="T17" fmla="*/ 640 h 836"/>
                <a:gd name="T18" fmla="*/ 346 w 936"/>
                <a:gd name="T19" fmla="*/ 645 h 836"/>
                <a:gd name="T20" fmla="*/ 327 w 936"/>
                <a:gd name="T21" fmla="*/ 640 h 836"/>
                <a:gd name="T22" fmla="*/ 328 w 936"/>
                <a:gd name="T23" fmla="*/ 632 h 836"/>
                <a:gd name="T24" fmla="*/ 331 w 936"/>
                <a:gd name="T25" fmla="*/ 617 h 836"/>
                <a:gd name="T26" fmla="*/ 337 w 936"/>
                <a:gd name="T27" fmla="*/ 614 h 836"/>
                <a:gd name="T28" fmla="*/ 832 w 936"/>
                <a:gd name="T29" fmla="*/ 196 h 836"/>
                <a:gd name="T30" fmla="*/ 935 w 936"/>
                <a:gd name="T31" fmla="*/ 342 h 836"/>
                <a:gd name="T32" fmla="*/ 871 w 936"/>
                <a:gd name="T33" fmla="*/ 434 h 836"/>
                <a:gd name="T34" fmla="*/ 704 w 936"/>
                <a:gd name="T35" fmla="*/ 395 h 836"/>
                <a:gd name="T36" fmla="*/ 661 w 936"/>
                <a:gd name="T37" fmla="*/ 399 h 836"/>
                <a:gd name="T38" fmla="*/ 611 w 936"/>
                <a:gd name="T39" fmla="*/ 388 h 836"/>
                <a:gd name="T40" fmla="*/ 563 w 936"/>
                <a:gd name="T41" fmla="*/ 359 h 836"/>
                <a:gd name="T42" fmla="*/ 485 w 936"/>
                <a:gd name="T43" fmla="*/ 322 h 836"/>
                <a:gd name="T44" fmla="*/ 369 w 936"/>
                <a:gd name="T45" fmla="*/ 343 h 836"/>
                <a:gd name="T46" fmla="*/ 406 w 936"/>
                <a:gd name="T47" fmla="*/ 381 h 836"/>
                <a:gd name="T48" fmla="*/ 448 w 936"/>
                <a:gd name="T49" fmla="*/ 454 h 836"/>
                <a:gd name="T50" fmla="*/ 449 w 936"/>
                <a:gd name="T51" fmla="*/ 545 h 836"/>
                <a:gd name="T52" fmla="*/ 510 w 936"/>
                <a:gd name="T53" fmla="*/ 586 h 836"/>
                <a:gd name="T54" fmla="*/ 575 w 936"/>
                <a:gd name="T55" fmla="*/ 664 h 836"/>
                <a:gd name="T56" fmla="*/ 536 w 936"/>
                <a:gd name="T57" fmla="*/ 789 h 836"/>
                <a:gd name="T58" fmla="*/ 475 w 936"/>
                <a:gd name="T59" fmla="*/ 817 h 836"/>
                <a:gd name="T60" fmla="*/ 443 w 936"/>
                <a:gd name="T61" fmla="*/ 787 h 836"/>
                <a:gd name="T62" fmla="*/ 451 w 936"/>
                <a:gd name="T63" fmla="*/ 754 h 836"/>
                <a:gd name="T64" fmla="*/ 433 w 936"/>
                <a:gd name="T65" fmla="*/ 701 h 836"/>
                <a:gd name="T66" fmla="*/ 409 w 936"/>
                <a:gd name="T67" fmla="*/ 659 h 836"/>
                <a:gd name="T68" fmla="*/ 386 w 936"/>
                <a:gd name="T69" fmla="*/ 626 h 836"/>
                <a:gd name="T70" fmla="*/ 354 w 936"/>
                <a:gd name="T71" fmla="*/ 604 h 836"/>
                <a:gd name="T72" fmla="*/ 354 w 936"/>
                <a:gd name="T73" fmla="*/ 561 h 836"/>
                <a:gd name="T74" fmla="*/ 259 w 936"/>
                <a:gd name="T75" fmla="*/ 429 h 836"/>
                <a:gd name="T76" fmla="*/ 205 w 936"/>
                <a:gd name="T77" fmla="*/ 346 h 836"/>
                <a:gd name="T78" fmla="*/ 156 w 936"/>
                <a:gd name="T79" fmla="*/ 271 h 836"/>
                <a:gd name="T80" fmla="*/ 128 w 936"/>
                <a:gd name="T81" fmla="*/ 221 h 836"/>
                <a:gd name="T82" fmla="*/ 107 w 936"/>
                <a:gd name="T83" fmla="*/ 182 h 836"/>
                <a:gd name="T84" fmla="*/ 91 w 936"/>
                <a:gd name="T85" fmla="*/ 174 h 836"/>
                <a:gd name="T86" fmla="*/ 60 w 936"/>
                <a:gd name="T87" fmla="*/ 171 h 836"/>
                <a:gd name="T88" fmla="*/ 45 w 936"/>
                <a:gd name="T89" fmla="*/ 173 h 836"/>
                <a:gd name="T90" fmla="*/ 40 w 936"/>
                <a:gd name="T91" fmla="*/ 172 h 836"/>
                <a:gd name="T92" fmla="*/ 33 w 936"/>
                <a:gd name="T93" fmla="*/ 171 h 836"/>
                <a:gd name="T94" fmla="*/ 20 w 936"/>
                <a:gd name="T95" fmla="*/ 164 h 836"/>
                <a:gd name="T96" fmla="*/ 11 w 936"/>
                <a:gd name="T97" fmla="*/ 178 h 836"/>
                <a:gd name="T98" fmla="*/ 0 w 936"/>
                <a:gd name="T99" fmla="*/ 167 h 836"/>
                <a:gd name="T100" fmla="*/ 15 w 936"/>
                <a:gd name="T101" fmla="*/ 154 h 836"/>
                <a:gd name="T102" fmla="*/ 17 w 936"/>
                <a:gd name="T103" fmla="*/ 137 h 836"/>
                <a:gd name="T104" fmla="*/ 37 w 936"/>
                <a:gd name="T105" fmla="*/ 50 h 836"/>
                <a:gd name="T106" fmla="*/ 70 w 936"/>
                <a:gd name="T107" fmla="*/ 19 h 836"/>
                <a:gd name="T108" fmla="*/ 251 w 936"/>
                <a:gd name="T109" fmla="*/ 11 h 836"/>
                <a:gd name="T110" fmla="*/ 429 w 936"/>
                <a:gd name="T111" fmla="*/ 76 h 836"/>
                <a:gd name="T112" fmla="*/ 526 w 936"/>
                <a:gd name="T113" fmla="*/ 23 h 836"/>
                <a:gd name="T114" fmla="*/ 557 w 936"/>
                <a:gd name="T115" fmla="*/ 129 h 836"/>
                <a:gd name="T116" fmla="*/ 672 w 936"/>
                <a:gd name="T117" fmla="*/ 145 h 836"/>
                <a:gd name="T118" fmla="*/ 740 w 936"/>
                <a:gd name="T119" fmla="*/ 157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6" h="836">
                  <a:moveTo>
                    <a:pt x="406" y="664"/>
                  </a:moveTo>
                  <a:lnTo>
                    <a:pt x="407" y="668"/>
                  </a:lnTo>
                  <a:lnTo>
                    <a:pt x="409" y="667"/>
                  </a:lnTo>
                  <a:lnTo>
                    <a:pt x="410" y="673"/>
                  </a:lnTo>
                  <a:lnTo>
                    <a:pt x="412" y="675"/>
                  </a:lnTo>
                  <a:lnTo>
                    <a:pt x="412" y="675"/>
                  </a:lnTo>
                  <a:lnTo>
                    <a:pt x="410" y="675"/>
                  </a:lnTo>
                  <a:lnTo>
                    <a:pt x="409" y="677"/>
                  </a:lnTo>
                  <a:lnTo>
                    <a:pt x="406" y="675"/>
                  </a:lnTo>
                  <a:lnTo>
                    <a:pt x="406" y="672"/>
                  </a:lnTo>
                  <a:lnTo>
                    <a:pt x="406" y="671"/>
                  </a:lnTo>
                  <a:lnTo>
                    <a:pt x="404" y="671"/>
                  </a:lnTo>
                  <a:lnTo>
                    <a:pt x="402" y="671"/>
                  </a:lnTo>
                  <a:lnTo>
                    <a:pt x="400" y="670"/>
                  </a:lnTo>
                  <a:lnTo>
                    <a:pt x="400" y="668"/>
                  </a:lnTo>
                  <a:lnTo>
                    <a:pt x="399" y="668"/>
                  </a:lnTo>
                  <a:lnTo>
                    <a:pt x="397" y="669"/>
                  </a:lnTo>
                  <a:lnTo>
                    <a:pt x="397" y="668"/>
                  </a:lnTo>
                  <a:lnTo>
                    <a:pt x="398" y="664"/>
                  </a:lnTo>
                  <a:lnTo>
                    <a:pt x="399" y="662"/>
                  </a:lnTo>
                  <a:lnTo>
                    <a:pt x="401" y="662"/>
                  </a:lnTo>
                  <a:lnTo>
                    <a:pt x="404" y="662"/>
                  </a:lnTo>
                  <a:lnTo>
                    <a:pt x="406" y="664"/>
                  </a:lnTo>
                  <a:close/>
                  <a:moveTo>
                    <a:pt x="376" y="666"/>
                  </a:moveTo>
                  <a:lnTo>
                    <a:pt x="379" y="667"/>
                  </a:lnTo>
                  <a:lnTo>
                    <a:pt x="385" y="670"/>
                  </a:lnTo>
                  <a:lnTo>
                    <a:pt x="388" y="670"/>
                  </a:lnTo>
                  <a:lnTo>
                    <a:pt x="390" y="670"/>
                  </a:lnTo>
                  <a:lnTo>
                    <a:pt x="391" y="671"/>
                  </a:lnTo>
                  <a:lnTo>
                    <a:pt x="392" y="673"/>
                  </a:lnTo>
                  <a:lnTo>
                    <a:pt x="389" y="673"/>
                  </a:lnTo>
                  <a:lnTo>
                    <a:pt x="388" y="676"/>
                  </a:lnTo>
                  <a:lnTo>
                    <a:pt x="390" y="677"/>
                  </a:lnTo>
                  <a:lnTo>
                    <a:pt x="391" y="677"/>
                  </a:lnTo>
                  <a:lnTo>
                    <a:pt x="393" y="675"/>
                  </a:lnTo>
                  <a:lnTo>
                    <a:pt x="396" y="673"/>
                  </a:lnTo>
                  <a:lnTo>
                    <a:pt x="399" y="673"/>
                  </a:lnTo>
                  <a:lnTo>
                    <a:pt x="399" y="674"/>
                  </a:lnTo>
                  <a:lnTo>
                    <a:pt x="396" y="676"/>
                  </a:lnTo>
                  <a:lnTo>
                    <a:pt x="395" y="677"/>
                  </a:lnTo>
                  <a:lnTo>
                    <a:pt x="393" y="678"/>
                  </a:lnTo>
                  <a:lnTo>
                    <a:pt x="391" y="682"/>
                  </a:lnTo>
                  <a:lnTo>
                    <a:pt x="389" y="684"/>
                  </a:lnTo>
                  <a:lnTo>
                    <a:pt x="385" y="682"/>
                  </a:lnTo>
                  <a:lnTo>
                    <a:pt x="383" y="678"/>
                  </a:lnTo>
                  <a:lnTo>
                    <a:pt x="379" y="676"/>
                  </a:lnTo>
                  <a:lnTo>
                    <a:pt x="372" y="668"/>
                  </a:lnTo>
                  <a:lnTo>
                    <a:pt x="371" y="667"/>
                  </a:lnTo>
                  <a:lnTo>
                    <a:pt x="372" y="666"/>
                  </a:lnTo>
                  <a:lnTo>
                    <a:pt x="372" y="664"/>
                  </a:lnTo>
                  <a:lnTo>
                    <a:pt x="370" y="662"/>
                  </a:lnTo>
                  <a:lnTo>
                    <a:pt x="369" y="660"/>
                  </a:lnTo>
                  <a:lnTo>
                    <a:pt x="369" y="659"/>
                  </a:lnTo>
                  <a:lnTo>
                    <a:pt x="370" y="659"/>
                  </a:lnTo>
                  <a:lnTo>
                    <a:pt x="372" y="661"/>
                  </a:lnTo>
                  <a:lnTo>
                    <a:pt x="375" y="664"/>
                  </a:lnTo>
                  <a:lnTo>
                    <a:pt x="376" y="666"/>
                  </a:lnTo>
                  <a:lnTo>
                    <a:pt x="376" y="666"/>
                  </a:lnTo>
                  <a:close/>
                  <a:moveTo>
                    <a:pt x="381" y="651"/>
                  </a:moveTo>
                  <a:lnTo>
                    <a:pt x="381" y="652"/>
                  </a:lnTo>
                  <a:lnTo>
                    <a:pt x="379" y="652"/>
                  </a:lnTo>
                  <a:lnTo>
                    <a:pt x="376" y="649"/>
                  </a:lnTo>
                  <a:lnTo>
                    <a:pt x="377" y="647"/>
                  </a:lnTo>
                  <a:lnTo>
                    <a:pt x="379" y="645"/>
                  </a:lnTo>
                  <a:lnTo>
                    <a:pt x="382" y="646"/>
                  </a:lnTo>
                  <a:lnTo>
                    <a:pt x="384" y="647"/>
                  </a:lnTo>
                  <a:lnTo>
                    <a:pt x="384" y="649"/>
                  </a:lnTo>
                  <a:lnTo>
                    <a:pt x="381" y="651"/>
                  </a:lnTo>
                  <a:lnTo>
                    <a:pt x="381" y="651"/>
                  </a:lnTo>
                  <a:close/>
                  <a:moveTo>
                    <a:pt x="360" y="646"/>
                  </a:moveTo>
                  <a:lnTo>
                    <a:pt x="368" y="652"/>
                  </a:lnTo>
                  <a:lnTo>
                    <a:pt x="369" y="653"/>
                  </a:lnTo>
                  <a:lnTo>
                    <a:pt x="369" y="655"/>
                  </a:lnTo>
                  <a:lnTo>
                    <a:pt x="372" y="656"/>
                  </a:lnTo>
                  <a:lnTo>
                    <a:pt x="375" y="657"/>
                  </a:lnTo>
                  <a:lnTo>
                    <a:pt x="379" y="660"/>
                  </a:lnTo>
                  <a:lnTo>
                    <a:pt x="384" y="665"/>
                  </a:lnTo>
                  <a:lnTo>
                    <a:pt x="386" y="667"/>
                  </a:lnTo>
                  <a:lnTo>
                    <a:pt x="386" y="667"/>
                  </a:lnTo>
                  <a:lnTo>
                    <a:pt x="384" y="668"/>
                  </a:lnTo>
                  <a:lnTo>
                    <a:pt x="382" y="666"/>
                  </a:lnTo>
                  <a:lnTo>
                    <a:pt x="380" y="664"/>
                  </a:lnTo>
                  <a:lnTo>
                    <a:pt x="378" y="664"/>
                  </a:lnTo>
                  <a:lnTo>
                    <a:pt x="376" y="661"/>
                  </a:lnTo>
                  <a:lnTo>
                    <a:pt x="375" y="661"/>
                  </a:lnTo>
                  <a:lnTo>
                    <a:pt x="374" y="661"/>
                  </a:lnTo>
                  <a:lnTo>
                    <a:pt x="372" y="661"/>
                  </a:lnTo>
                  <a:lnTo>
                    <a:pt x="370" y="659"/>
                  </a:lnTo>
                  <a:lnTo>
                    <a:pt x="369" y="657"/>
                  </a:lnTo>
                  <a:lnTo>
                    <a:pt x="368" y="657"/>
                  </a:lnTo>
                  <a:lnTo>
                    <a:pt x="367" y="655"/>
                  </a:lnTo>
                  <a:lnTo>
                    <a:pt x="367" y="654"/>
                  </a:lnTo>
                  <a:lnTo>
                    <a:pt x="365" y="653"/>
                  </a:lnTo>
                  <a:lnTo>
                    <a:pt x="362" y="653"/>
                  </a:lnTo>
                  <a:lnTo>
                    <a:pt x="362" y="652"/>
                  </a:lnTo>
                  <a:lnTo>
                    <a:pt x="361" y="649"/>
                  </a:lnTo>
                  <a:lnTo>
                    <a:pt x="359" y="647"/>
                  </a:lnTo>
                  <a:lnTo>
                    <a:pt x="355" y="648"/>
                  </a:lnTo>
                  <a:lnTo>
                    <a:pt x="354" y="649"/>
                  </a:lnTo>
                  <a:lnTo>
                    <a:pt x="353" y="650"/>
                  </a:lnTo>
                  <a:lnTo>
                    <a:pt x="353" y="648"/>
                  </a:lnTo>
                  <a:lnTo>
                    <a:pt x="354" y="646"/>
                  </a:lnTo>
                  <a:lnTo>
                    <a:pt x="356" y="645"/>
                  </a:lnTo>
                  <a:lnTo>
                    <a:pt x="360" y="646"/>
                  </a:lnTo>
                  <a:lnTo>
                    <a:pt x="360" y="646"/>
                  </a:lnTo>
                  <a:close/>
                  <a:moveTo>
                    <a:pt x="393" y="642"/>
                  </a:moveTo>
                  <a:lnTo>
                    <a:pt x="393" y="644"/>
                  </a:lnTo>
                  <a:lnTo>
                    <a:pt x="391" y="643"/>
                  </a:lnTo>
                  <a:lnTo>
                    <a:pt x="391" y="645"/>
                  </a:lnTo>
                  <a:lnTo>
                    <a:pt x="391" y="645"/>
                  </a:lnTo>
                  <a:lnTo>
                    <a:pt x="392" y="648"/>
                  </a:lnTo>
                  <a:lnTo>
                    <a:pt x="393" y="653"/>
                  </a:lnTo>
                  <a:lnTo>
                    <a:pt x="393" y="655"/>
                  </a:lnTo>
                  <a:lnTo>
                    <a:pt x="391" y="652"/>
                  </a:lnTo>
                  <a:lnTo>
                    <a:pt x="390" y="651"/>
                  </a:lnTo>
                  <a:lnTo>
                    <a:pt x="389" y="649"/>
                  </a:lnTo>
                  <a:lnTo>
                    <a:pt x="389" y="640"/>
                  </a:lnTo>
                  <a:lnTo>
                    <a:pt x="390" y="639"/>
                  </a:lnTo>
                  <a:lnTo>
                    <a:pt x="391" y="638"/>
                  </a:lnTo>
                  <a:lnTo>
                    <a:pt x="392" y="639"/>
                  </a:lnTo>
                  <a:lnTo>
                    <a:pt x="393" y="641"/>
                  </a:lnTo>
                  <a:lnTo>
                    <a:pt x="393" y="642"/>
                  </a:lnTo>
                  <a:lnTo>
                    <a:pt x="393" y="642"/>
                  </a:lnTo>
                  <a:close/>
                  <a:moveTo>
                    <a:pt x="333" y="635"/>
                  </a:moveTo>
                  <a:lnTo>
                    <a:pt x="338" y="639"/>
                  </a:lnTo>
                  <a:lnTo>
                    <a:pt x="340" y="641"/>
                  </a:lnTo>
                  <a:lnTo>
                    <a:pt x="342" y="641"/>
                  </a:lnTo>
                  <a:lnTo>
                    <a:pt x="344" y="641"/>
                  </a:lnTo>
                  <a:lnTo>
                    <a:pt x="345" y="644"/>
                  </a:lnTo>
                  <a:lnTo>
                    <a:pt x="346" y="645"/>
                  </a:lnTo>
                  <a:lnTo>
                    <a:pt x="347" y="645"/>
                  </a:lnTo>
                  <a:lnTo>
                    <a:pt x="349" y="643"/>
                  </a:lnTo>
                  <a:lnTo>
                    <a:pt x="350" y="643"/>
                  </a:lnTo>
                  <a:lnTo>
                    <a:pt x="353" y="645"/>
                  </a:lnTo>
                  <a:lnTo>
                    <a:pt x="353" y="646"/>
                  </a:lnTo>
                  <a:lnTo>
                    <a:pt x="351" y="648"/>
                  </a:lnTo>
                  <a:lnTo>
                    <a:pt x="350" y="648"/>
                  </a:lnTo>
                  <a:lnTo>
                    <a:pt x="349" y="648"/>
                  </a:lnTo>
                  <a:lnTo>
                    <a:pt x="346" y="647"/>
                  </a:lnTo>
                  <a:lnTo>
                    <a:pt x="333" y="639"/>
                  </a:lnTo>
                  <a:lnTo>
                    <a:pt x="330" y="639"/>
                  </a:lnTo>
                  <a:lnTo>
                    <a:pt x="329" y="641"/>
                  </a:lnTo>
                  <a:lnTo>
                    <a:pt x="327" y="640"/>
                  </a:lnTo>
                  <a:lnTo>
                    <a:pt x="323" y="638"/>
                  </a:lnTo>
                  <a:lnTo>
                    <a:pt x="322" y="635"/>
                  </a:lnTo>
                  <a:lnTo>
                    <a:pt x="321" y="631"/>
                  </a:lnTo>
                  <a:lnTo>
                    <a:pt x="322" y="628"/>
                  </a:lnTo>
                  <a:lnTo>
                    <a:pt x="326" y="624"/>
                  </a:lnTo>
                  <a:lnTo>
                    <a:pt x="328" y="621"/>
                  </a:lnTo>
                  <a:lnTo>
                    <a:pt x="330" y="620"/>
                  </a:lnTo>
                  <a:lnTo>
                    <a:pt x="330" y="622"/>
                  </a:lnTo>
                  <a:lnTo>
                    <a:pt x="329" y="624"/>
                  </a:lnTo>
                  <a:lnTo>
                    <a:pt x="326" y="628"/>
                  </a:lnTo>
                  <a:lnTo>
                    <a:pt x="326" y="630"/>
                  </a:lnTo>
                  <a:lnTo>
                    <a:pt x="327" y="631"/>
                  </a:lnTo>
                  <a:lnTo>
                    <a:pt x="328" y="632"/>
                  </a:lnTo>
                  <a:lnTo>
                    <a:pt x="330" y="632"/>
                  </a:lnTo>
                  <a:lnTo>
                    <a:pt x="331" y="633"/>
                  </a:lnTo>
                  <a:lnTo>
                    <a:pt x="333" y="635"/>
                  </a:lnTo>
                  <a:lnTo>
                    <a:pt x="333" y="635"/>
                  </a:lnTo>
                  <a:close/>
                  <a:moveTo>
                    <a:pt x="337" y="618"/>
                  </a:moveTo>
                  <a:lnTo>
                    <a:pt x="338" y="619"/>
                  </a:lnTo>
                  <a:lnTo>
                    <a:pt x="340" y="618"/>
                  </a:lnTo>
                  <a:lnTo>
                    <a:pt x="340" y="619"/>
                  </a:lnTo>
                  <a:lnTo>
                    <a:pt x="339" y="621"/>
                  </a:lnTo>
                  <a:lnTo>
                    <a:pt x="338" y="622"/>
                  </a:lnTo>
                  <a:lnTo>
                    <a:pt x="336" y="621"/>
                  </a:lnTo>
                  <a:lnTo>
                    <a:pt x="332" y="618"/>
                  </a:lnTo>
                  <a:lnTo>
                    <a:pt x="331" y="617"/>
                  </a:lnTo>
                  <a:lnTo>
                    <a:pt x="330" y="615"/>
                  </a:lnTo>
                  <a:lnTo>
                    <a:pt x="329" y="609"/>
                  </a:lnTo>
                  <a:lnTo>
                    <a:pt x="329" y="602"/>
                  </a:lnTo>
                  <a:lnTo>
                    <a:pt x="331" y="595"/>
                  </a:lnTo>
                  <a:lnTo>
                    <a:pt x="336" y="592"/>
                  </a:lnTo>
                  <a:lnTo>
                    <a:pt x="333" y="596"/>
                  </a:lnTo>
                  <a:lnTo>
                    <a:pt x="331" y="599"/>
                  </a:lnTo>
                  <a:lnTo>
                    <a:pt x="331" y="603"/>
                  </a:lnTo>
                  <a:lnTo>
                    <a:pt x="332" y="606"/>
                  </a:lnTo>
                  <a:lnTo>
                    <a:pt x="336" y="609"/>
                  </a:lnTo>
                  <a:lnTo>
                    <a:pt x="338" y="610"/>
                  </a:lnTo>
                  <a:lnTo>
                    <a:pt x="338" y="611"/>
                  </a:lnTo>
                  <a:lnTo>
                    <a:pt x="337" y="614"/>
                  </a:lnTo>
                  <a:lnTo>
                    <a:pt x="337" y="617"/>
                  </a:lnTo>
                  <a:lnTo>
                    <a:pt x="337" y="618"/>
                  </a:lnTo>
                  <a:close/>
                  <a:moveTo>
                    <a:pt x="740" y="157"/>
                  </a:moveTo>
                  <a:lnTo>
                    <a:pt x="743" y="160"/>
                  </a:lnTo>
                  <a:lnTo>
                    <a:pt x="746" y="162"/>
                  </a:lnTo>
                  <a:lnTo>
                    <a:pt x="750" y="164"/>
                  </a:lnTo>
                  <a:lnTo>
                    <a:pt x="804" y="176"/>
                  </a:lnTo>
                  <a:lnTo>
                    <a:pt x="813" y="180"/>
                  </a:lnTo>
                  <a:lnTo>
                    <a:pt x="819" y="183"/>
                  </a:lnTo>
                  <a:lnTo>
                    <a:pt x="823" y="188"/>
                  </a:lnTo>
                  <a:lnTo>
                    <a:pt x="823" y="189"/>
                  </a:lnTo>
                  <a:lnTo>
                    <a:pt x="828" y="192"/>
                  </a:lnTo>
                  <a:lnTo>
                    <a:pt x="832" y="196"/>
                  </a:lnTo>
                  <a:lnTo>
                    <a:pt x="843" y="201"/>
                  </a:lnTo>
                  <a:lnTo>
                    <a:pt x="862" y="217"/>
                  </a:lnTo>
                  <a:lnTo>
                    <a:pt x="872" y="228"/>
                  </a:lnTo>
                  <a:lnTo>
                    <a:pt x="874" y="231"/>
                  </a:lnTo>
                  <a:lnTo>
                    <a:pt x="876" y="236"/>
                  </a:lnTo>
                  <a:lnTo>
                    <a:pt x="894" y="310"/>
                  </a:lnTo>
                  <a:lnTo>
                    <a:pt x="895" y="313"/>
                  </a:lnTo>
                  <a:lnTo>
                    <a:pt x="898" y="317"/>
                  </a:lnTo>
                  <a:lnTo>
                    <a:pt x="901" y="320"/>
                  </a:lnTo>
                  <a:lnTo>
                    <a:pt x="907" y="324"/>
                  </a:lnTo>
                  <a:lnTo>
                    <a:pt x="928" y="335"/>
                  </a:lnTo>
                  <a:lnTo>
                    <a:pt x="932" y="338"/>
                  </a:lnTo>
                  <a:lnTo>
                    <a:pt x="935" y="342"/>
                  </a:lnTo>
                  <a:lnTo>
                    <a:pt x="936" y="346"/>
                  </a:lnTo>
                  <a:lnTo>
                    <a:pt x="935" y="350"/>
                  </a:lnTo>
                  <a:lnTo>
                    <a:pt x="933" y="354"/>
                  </a:lnTo>
                  <a:lnTo>
                    <a:pt x="932" y="358"/>
                  </a:lnTo>
                  <a:lnTo>
                    <a:pt x="928" y="361"/>
                  </a:lnTo>
                  <a:lnTo>
                    <a:pt x="907" y="380"/>
                  </a:lnTo>
                  <a:lnTo>
                    <a:pt x="900" y="389"/>
                  </a:lnTo>
                  <a:lnTo>
                    <a:pt x="895" y="400"/>
                  </a:lnTo>
                  <a:lnTo>
                    <a:pt x="885" y="430"/>
                  </a:lnTo>
                  <a:lnTo>
                    <a:pt x="882" y="436"/>
                  </a:lnTo>
                  <a:lnTo>
                    <a:pt x="879" y="440"/>
                  </a:lnTo>
                  <a:lnTo>
                    <a:pt x="877" y="442"/>
                  </a:lnTo>
                  <a:lnTo>
                    <a:pt x="871" y="434"/>
                  </a:lnTo>
                  <a:lnTo>
                    <a:pt x="868" y="431"/>
                  </a:lnTo>
                  <a:lnTo>
                    <a:pt x="865" y="429"/>
                  </a:lnTo>
                  <a:lnTo>
                    <a:pt x="860" y="428"/>
                  </a:lnTo>
                  <a:lnTo>
                    <a:pt x="791" y="440"/>
                  </a:lnTo>
                  <a:lnTo>
                    <a:pt x="775" y="440"/>
                  </a:lnTo>
                  <a:lnTo>
                    <a:pt x="766" y="438"/>
                  </a:lnTo>
                  <a:lnTo>
                    <a:pt x="760" y="436"/>
                  </a:lnTo>
                  <a:lnTo>
                    <a:pt x="739" y="420"/>
                  </a:lnTo>
                  <a:lnTo>
                    <a:pt x="718" y="413"/>
                  </a:lnTo>
                  <a:lnTo>
                    <a:pt x="713" y="410"/>
                  </a:lnTo>
                  <a:lnTo>
                    <a:pt x="708" y="406"/>
                  </a:lnTo>
                  <a:lnTo>
                    <a:pt x="706" y="399"/>
                  </a:lnTo>
                  <a:lnTo>
                    <a:pt x="704" y="395"/>
                  </a:lnTo>
                  <a:lnTo>
                    <a:pt x="700" y="392"/>
                  </a:lnTo>
                  <a:lnTo>
                    <a:pt x="697" y="391"/>
                  </a:lnTo>
                  <a:lnTo>
                    <a:pt x="695" y="394"/>
                  </a:lnTo>
                  <a:lnTo>
                    <a:pt x="694" y="396"/>
                  </a:lnTo>
                  <a:lnTo>
                    <a:pt x="695" y="401"/>
                  </a:lnTo>
                  <a:lnTo>
                    <a:pt x="696" y="404"/>
                  </a:lnTo>
                  <a:lnTo>
                    <a:pt x="695" y="407"/>
                  </a:lnTo>
                  <a:lnTo>
                    <a:pt x="691" y="409"/>
                  </a:lnTo>
                  <a:lnTo>
                    <a:pt x="687" y="409"/>
                  </a:lnTo>
                  <a:lnTo>
                    <a:pt x="683" y="407"/>
                  </a:lnTo>
                  <a:lnTo>
                    <a:pt x="670" y="401"/>
                  </a:lnTo>
                  <a:lnTo>
                    <a:pt x="665" y="400"/>
                  </a:lnTo>
                  <a:lnTo>
                    <a:pt x="661" y="399"/>
                  </a:lnTo>
                  <a:lnTo>
                    <a:pt x="657" y="400"/>
                  </a:lnTo>
                  <a:lnTo>
                    <a:pt x="655" y="401"/>
                  </a:lnTo>
                  <a:lnTo>
                    <a:pt x="640" y="413"/>
                  </a:lnTo>
                  <a:lnTo>
                    <a:pt x="635" y="416"/>
                  </a:lnTo>
                  <a:lnTo>
                    <a:pt x="630" y="418"/>
                  </a:lnTo>
                  <a:lnTo>
                    <a:pt x="627" y="417"/>
                  </a:lnTo>
                  <a:lnTo>
                    <a:pt x="625" y="413"/>
                  </a:lnTo>
                  <a:lnTo>
                    <a:pt x="625" y="410"/>
                  </a:lnTo>
                  <a:lnTo>
                    <a:pt x="626" y="406"/>
                  </a:lnTo>
                  <a:lnTo>
                    <a:pt x="626" y="403"/>
                  </a:lnTo>
                  <a:lnTo>
                    <a:pt x="625" y="399"/>
                  </a:lnTo>
                  <a:lnTo>
                    <a:pt x="622" y="396"/>
                  </a:lnTo>
                  <a:lnTo>
                    <a:pt x="611" y="388"/>
                  </a:lnTo>
                  <a:lnTo>
                    <a:pt x="609" y="386"/>
                  </a:lnTo>
                  <a:lnTo>
                    <a:pt x="608" y="382"/>
                  </a:lnTo>
                  <a:lnTo>
                    <a:pt x="607" y="380"/>
                  </a:lnTo>
                  <a:lnTo>
                    <a:pt x="608" y="376"/>
                  </a:lnTo>
                  <a:lnTo>
                    <a:pt x="607" y="374"/>
                  </a:lnTo>
                  <a:lnTo>
                    <a:pt x="605" y="372"/>
                  </a:lnTo>
                  <a:lnTo>
                    <a:pt x="602" y="369"/>
                  </a:lnTo>
                  <a:lnTo>
                    <a:pt x="600" y="368"/>
                  </a:lnTo>
                  <a:lnTo>
                    <a:pt x="595" y="367"/>
                  </a:lnTo>
                  <a:lnTo>
                    <a:pt x="579" y="367"/>
                  </a:lnTo>
                  <a:lnTo>
                    <a:pt x="572" y="365"/>
                  </a:lnTo>
                  <a:lnTo>
                    <a:pt x="566" y="363"/>
                  </a:lnTo>
                  <a:lnTo>
                    <a:pt x="563" y="359"/>
                  </a:lnTo>
                  <a:lnTo>
                    <a:pt x="554" y="345"/>
                  </a:lnTo>
                  <a:lnTo>
                    <a:pt x="550" y="339"/>
                  </a:lnTo>
                  <a:lnTo>
                    <a:pt x="547" y="331"/>
                  </a:lnTo>
                  <a:lnTo>
                    <a:pt x="542" y="314"/>
                  </a:lnTo>
                  <a:lnTo>
                    <a:pt x="541" y="311"/>
                  </a:lnTo>
                  <a:lnTo>
                    <a:pt x="538" y="307"/>
                  </a:lnTo>
                  <a:lnTo>
                    <a:pt x="534" y="304"/>
                  </a:lnTo>
                  <a:lnTo>
                    <a:pt x="531" y="304"/>
                  </a:lnTo>
                  <a:lnTo>
                    <a:pt x="528" y="304"/>
                  </a:lnTo>
                  <a:lnTo>
                    <a:pt x="497" y="320"/>
                  </a:lnTo>
                  <a:lnTo>
                    <a:pt x="493" y="321"/>
                  </a:lnTo>
                  <a:lnTo>
                    <a:pt x="489" y="322"/>
                  </a:lnTo>
                  <a:lnTo>
                    <a:pt x="485" y="322"/>
                  </a:lnTo>
                  <a:lnTo>
                    <a:pt x="478" y="321"/>
                  </a:lnTo>
                  <a:lnTo>
                    <a:pt x="474" y="319"/>
                  </a:lnTo>
                  <a:lnTo>
                    <a:pt x="459" y="310"/>
                  </a:lnTo>
                  <a:lnTo>
                    <a:pt x="451" y="307"/>
                  </a:lnTo>
                  <a:lnTo>
                    <a:pt x="446" y="305"/>
                  </a:lnTo>
                  <a:lnTo>
                    <a:pt x="442" y="305"/>
                  </a:lnTo>
                  <a:lnTo>
                    <a:pt x="438" y="307"/>
                  </a:lnTo>
                  <a:lnTo>
                    <a:pt x="395" y="327"/>
                  </a:lnTo>
                  <a:lnTo>
                    <a:pt x="376" y="332"/>
                  </a:lnTo>
                  <a:lnTo>
                    <a:pt x="373" y="334"/>
                  </a:lnTo>
                  <a:lnTo>
                    <a:pt x="369" y="337"/>
                  </a:lnTo>
                  <a:lnTo>
                    <a:pt x="369" y="340"/>
                  </a:lnTo>
                  <a:lnTo>
                    <a:pt x="369" y="343"/>
                  </a:lnTo>
                  <a:lnTo>
                    <a:pt x="372" y="345"/>
                  </a:lnTo>
                  <a:lnTo>
                    <a:pt x="376" y="345"/>
                  </a:lnTo>
                  <a:lnTo>
                    <a:pt x="386" y="343"/>
                  </a:lnTo>
                  <a:lnTo>
                    <a:pt x="390" y="343"/>
                  </a:lnTo>
                  <a:lnTo>
                    <a:pt x="391" y="343"/>
                  </a:lnTo>
                  <a:lnTo>
                    <a:pt x="395" y="344"/>
                  </a:lnTo>
                  <a:lnTo>
                    <a:pt x="398" y="347"/>
                  </a:lnTo>
                  <a:lnTo>
                    <a:pt x="400" y="350"/>
                  </a:lnTo>
                  <a:lnTo>
                    <a:pt x="402" y="351"/>
                  </a:lnTo>
                  <a:lnTo>
                    <a:pt x="403" y="355"/>
                  </a:lnTo>
                  <a:lnTo>
                    <a:pt x="406" y="366"/>
                  </a:lnTo>
                  <a:lnTo>
                    <a:pt x="406" y="371"/>
                  </a:lnTo>
                  <a:lnTo>
                    <a:pt x="406" y="381"/>
                  </a:lnTo>
                  <a:lnTo>
                    <a:pt x="402" y="407"/>
                  </a:lnTo>
                  <a:lnTo>
                    <a:pt x="402" y="415"/>
                  </a:lnTo>
                  <a:lnTo>
                    <a:pt x="403" y="419"/>
                  </a:lnTo>
                  <a:lnTo>
                    <a:pt x="404" y="424"/>
                  </a:lnTo>
                  <a:lnTo>
                    <a:pt x="406" y="427"/>
                  </a:lnTo>
                  <a:lnTo>
                    <a:pt x="408" y="432"/>
                  </a:lnTo>
                  <a:lnTo>
                    <a:pt x="411" y="435"/>
                  </a:lnTo>
                  <a:lnTo>
                    <a:pt x="414" y="439"/>
                  </a:lnTo>
                  <a:lnTo>
                    <a:pt x="418" y="441"/>
                  </a:lnTo>
                  <a:lnTo>
                    <a:pt x="422" y="443"/>
                  </a:lnTo>
                  <a:lnTo>
                    <a:pt x="442" y="449"/>
                  </a:lnTo>
                  <a:lnTo>
                    <a:pt x="445" y="450"/>
                  </a:lnTo>
                  <a:lnTo>
                    <a:pt x="448" y="454"/>
                  </a:lnTo>
                  <a:lnTo>
                    <a:pt x="450" y="458"/>
                  </a:lnTo>
                  <a:lnTo>
                    <a:pt x="450" y="463"/>
                  </a:lnTo>
                  <a:lnTo>
                    <a:pt x="449" y="467"/>
                  </a:lnTo>
                  <a:lnTo>
                    <a:pt x="448" y="470"/>
                  </a:lnTo>
                  <a:lnTo>
                    <a:pt x="437" y="487"/>
                  </a:lnTo>
                  <a:lnTo>
                    <a:pt x="435" y="495"/>
                  </a:lnTo>
                  <a:lnTo>
                    <a:pt x="434" y="498"/>
                  </a:lnTo>
                  <a:lnTo>
                    <a:pt x="434" y="502"/>
                  </a:lnTo>
                  <a:lnTo>
                    <a:pt x="434" y="506"/>
                  </a:lnTo>
                  <a:lnTo>
                    <a:pt x="435" y="510"/>
                  </a:lnTo>
                  <a:lnTo>
                    <a:pt x="444" y="530"/>
                  </a:lnTo>
                  <a:lnTo>
                    <a:pt x="447" y="537"/>
                  </a:lnTo>
                  <a:lnTo>
                    <a:pt x="449" y="545"/>
                  </a:lnTo>
                  <a:lnTo>
                    <a:pt x="450" y="548"/>
                  </a:lnTo>
                  <a:lnTo>
                    <a:pt x="451" y="550"/>
                  </a:lnTo>
                  <a:lnTo>
                    <a:pt x="453" y="549"/>
                  </a:lnTo>
                  <a:lnTo>
                    <a:pt x="460" y="545"/>
                  </a:lnTo>
                  <a:lnTo>
                    <a:pt x="464" y="543"/>
                  </a:lnTo>
                  <a:lnTo>
                    <a:pt x="467" y="544"/>
                  </a:lnTo>
                  <a:lnTo>
                    <a:pt x="497" y="562"/>
                  </a:lnTo>
                  <a:lnTo>
                    <a:pt x="499" y="563"/>
                  </a:lnTo>
                  <a:lnTo>
                    <a:pt x="501" y="565"/>
                  </a:lnTo>
                  <a:lnTo>
                    <a:pt x="504" y="575"/>
                  </a:lnTo>
                  <a:lnTo>
                    <a:pt x="505" y="579"/>
                  </a:lnTo>
                  <a:lnTo>
                    <a:pt x="507" y="583"/>
                  </a:lnTo>
                  <a:lnTo>
                    <a:pt x="510" y="586"/>
                  </a:lnTo>
                  <a:lnTo>
                    <a:pt x="532" y="605"/>
                  </a:lnTo>
                  <a:lnTo>
                    <a:pt x="534" y="609"/>
                  </a:lnTo>
                  <a:lnTo>
                    <a:pt x="537" y="612"/>
                  </a:lnTo>
                  <a:lnTo>
                    <a:pt x="540" y="617"/>
                  </a:lnTo>
                  <a:lnTo>
                    <a:pt x="545" y="632"/>
                  </a:lnTo>
                  <a:lnTo>
                    <a:pt x="551" y="654"/>
                  </a:lnTo>
                  <a:lnTo>
                    <a:pt x="552" y="658"/>
                  </a:lnTo>
                  <a:lnTo>
                    <a:pt x="554" y="659"/>
                  </a:lnTo>
                  <a:lnTo>
                    <a:pt x="557" y="660"/>
                  </a:lnTo>
                  <a:lnTo>
                    <a:pt x="567" y="660"/>
                  </a:lnTo>
                  <a:lnTo>
                    <a:pt x="571" y="661"/>
                  </a:lnTo>
                  <a:lnTo>
                    <a:pt x="573" y="662"/>
                  </a:lnTo>
                  <a:lnTo>
                    <a:pt x="575" y="664"/>
                  </a:lnTo>
                  <a:lnTo>
                    <a:pt x="577" y="668"/>
                  </a:lnTo>
                  <a:lnTo>
                    <a:pt x="577" y="671"/>
                  </a:lnTo>
                  <a:lnTo>
                    <a:pt x="571" y="714"/>
                  </a:lnTo>
                  <a:lnTo>
                    <a:pt x="573" y="774"/>
                  </a:lnTo>
                  <a:lnTo>
                    <a:pt x="572" y="777"/>
                  </a:lnTo>
                  <a:lnTo>
                    <a:pt x="571" y="781"/>
                  </a:lnTo>
                  <a:lnTo>
                    <a:pt x="567" y="785"/>
                  </a:lnTo>
                  <a:lnTo>
                    <a:pt x="564" y="788"/>
                  </a:lnTo>
                  <a:lnTo>
                    <a:pt x="559" y="790"/>
                  </a:lnTo>
                  <a:lnTo>
                    <a:pt x="556" y="791"/>
                  </a:lnTo>
                  <a:lnTo>
                    <a:pt x="547" y="791"/>
                  </a:lnTo>
                  <a:lnTo>
                    <a:pt x="540" y="790"/>
                  </a:lnTo>
                  <a:lnTo>
                    <a:pt x="536" y="789"/>
                  </a:lnTo>
                  <a:lnTo>
                    <a:pt x="533" y="790"/>
                  </a:lnTo>
                  <a:lnTo>
                    <a:pt x="528" y="792"/>
                  </a:lnTo>
                  <a:lnTo>
                    <a:pt x="525" y="796"/>
                  </a:lnTo>
                  <a:lnTo>
                    <a:pt x="520" y="801"/>
                  </a:lnTo>
                  <a:lnTo>
                    <a:pt x="517" y="806"/>
                  </a:lnTo>
                  <a:lnTo>
                    <a:pt x="512" y="808"/>
                  </a:lnTo>
                  <a:lnTo>
                    <a:pt x="508" y="809"/>
                  </a:lnTo>
                  <a:lnTo>
                    <a:pt x="504" y="811"/>
                  </a:lnTo>
                  <a:lnTo>
                    <a:pt x="498" y="812"/>
                  </a:lnTo>
                  <a:lnTo>
                    <a:pt x="484" y="812"/>
                  </a:lnTo>
                  <a:lnTo>
                    <a:pt x="481" y="813"/>
                  </a:lnTo>
                  <a:lnTo>
                    <a:pt x="478" y="815"/>
                  </a:lnTo>
                  <a:lnTo>
                    <a:pt x="475" y="817"/>
                  </a:lnTo>
                  <a:lnTo>
                    <a:pt x="473" y="821"/>
                  </a:lnTo>
                  <a:lnTo>
                    <a:pt x="472" y="823"/>
                  </a:lnTo>
                  <a:lnTo>
                    <a:pt x="470" y="835"/>
                  </a:lnTo>
                  <a:lnTo>
                    <a:pt x="469" y="836"/>
                  </a:lnTo>
                  <a:lnTo>
                    <a:pt x="459" y="820"/>
                  </a:lnTo>
                  <a:lnTo>
                    <a:pt x="449" y="806"/>
                  </a:lnTo>
                  <a:lnTo>
                    <a:pt x="444" y="799"/>
                  </a:lnTo>
                  <a:lnTo>
                    <a:pt x="444" y="794"/>
                  </a:lnTo>
                  <a:lnTo>
                    <a:pt x="444" y="793"/>
                  </a:lnTo>
                  <a:lnTo>
                    <a:pt x="444" y="791"/>
                  </a:lnTo>
                  <a:lnTo>
                    <a:pt x="444" y="789"/>
                  </a:lnTo>
                  <a:lnTo>
                    <a:pt x="444" y="788"/>
                  </a:lnTo>
                  <a:lnTo>
                    <a:pt x="443" y="787"/>
                  </a:lnTo>
                  <a:lnTo>
                    <a:pt x="440" y="790"/>
                  </a:lnTo>
                  <a:lnTo>
                    <a:pt x="438" y="790"/>
                  </a:lnTo>
                  <a:lnTo>
                    <a:pt x="436" y="788"/>
                  </a:lnTo>
                  <a:lnTo>
                    <a:pt x="434" y="784"/>
                  </a:lnTo>
                  <a:lnTo>
                    <a:pt x="430" y="778"/>
                  </a:lnTo>
                  <a:lnTo>
                    <a:pt x="435" y="778"/>
                  </a:lnTo>
                  <a:lnTo>
                    <a:pt x="438" y="779"/>
                  </a:lnTo>
                  <a:lnTo>
                    <a:pt x="443" y="779"/>
                  </a:lnTo>
                  <a:lnTo>
                    <a:pt x="446" y="777"/>
                  </a:lnTo>
                  <a:lnTo>
                    <a:pt x="449" y="775"/>
                  </a:lnTo>
                  <a:lnTo>
                    <a:pt x="449" y="765"/>
                  </a:lnTo>
                  <a:lnTo>
                    <a:pt x="452" y="758"/>
                  </a:lnTo>
                  <a:lnTo>
                    <a:pt x="451" y="754"/>
                  </a:lnTo>
                  <a:lnTo>
                    <a:pt x="449" y="746"/>
                  </a:lnTo>
                  <a:lnTo>
                    <a:pt x="448" y="741"/>
                  </a:lnTo>
                  <a:lnTo>
                    <a:pt x="449" y="730"/>
                  </a:lnTo>
                  <a:lnTo>
                    <a:pt x="448" y="726"/>
                  </a:lnTo>
                  <a:lnTo>
                    <a:pt x="448" y="722"/>
                  </a:lnTo>
                  <a:lnTo>
                    <a:pt x="446" y="718"/>
                  </a:lnTo>
                  <a:lnTo>
                    <a:pt x="444" y="715"/>
                  </a:lnTo>
                  <a:lnTo>
                    <a:pt x="441" y="711"/>
                  </a:lnTo>
                  <a:lnTo>
                    <a:pt x="439" y="709"/>
                  </a:lnTo>
                  <a:lnTo>
                    <a:pt x="437" y="708"/>
                  </a:lnTo>
                  <a:lnTo>
                    <a:pt x="436" y="707"/>
                  </a:lnTo>
                  <a:lnTo>
                    <a:pt x="434" y="703"/>
                  </a:lnTo>
                  <a:lnTo>
                    <a:pt x="433" y="701"/>
                  </a:lnTo>
                  <a:lnTo>
                    <a:pt x="429" y="699"/>
                  </a:lnTo>
                  <a:lnTo>
                    <a:pt x="426" y="695"/>
                  </a:lnTo>
                  <a:lnTo>
                    <a:pt x="423" y="691"/>
                  </a:lnTo>
                  <a:lnTo>
                    <a:pt x="421" y="687"/>
                  </a:lnTo>
                  <a:lnTo>
                    <a:pt x="421" y="685"/>
                  </a:lnTo>
                  <a:lnTo>
                    <a:pt x="421" y="681"/>
                  </a:lnTo>
                  <a:lnTo>
                    <a:pt x="420" y="679"/>
                  </a:lnTo>
                  <a:lnTo>
                    <a:pt x="419" y="677"/>
                  </a:lnTo>
                  <a:lnTo>
                    <a:pt x="416" y="675"/>
                  </a:lnTo>
                  <a:lnTo>
                    <a:pt x="415" y="673"/>
                  </a:lnTo>
                  <a:lnTo>
                    <a:pt x="419" y="671"/>
                  </a:lnTo>
                  <a:lnTo>
                    <a:pt x="416" y="667"/>
                  </a:lnTo>
                  <a:lnTo>
                    <a:pt x="409" y="659"/>
                  </a:lnTo>
                  <a:lnTo>
                    <a:pt x="407" y="657"/>
                  </a:lnTo>
                  <a:lnTo>
                    <a:pt x="405" y="648"/>
                  </a:lnTo>
                  <a:lnTo>
                    <a:pt x="404" y="647"/>
                  </a:lnTo>
                  <a:lnTo>
                    <a:pt x="401" y="646"/>
                  </a:lnTo>
                  <a:lnTo>
                    <a:pt x="400" y="645"/>
                  </a:lnTo>
                  <a:lnTo>
                    <a:pt x="400" y="644"/>
                  </a:lnTo>
                  <a:lnTo>
                    <a:pt x="400" y="641"/>
                  </a:lnTo>
                  <a:lnTo>
                    <a:pt x="399" y="639"/>
                  </a:lnTo>
                  <a:lnTo>
                    <a:pt x="396" y="632"/>
                  </a:lnTo>
                  <a:lnTo>
                    <a:pt x="395" y="631"/>
                  </a:lnTo>
                  <a:lnTo>
                    <a:pt x="393" y="629"/>
                  </a:lnTo>
                  <a:lnTo>
                    <a:pt x="388" y="627"/>
                  </a:lnTo>
                  <a:lnTo>
                    <a:pt x="386" y="626"/>
                  </a:lnTo>
                  <a:lnTo>
                    <a:pt x="379" y="616"/>
                  </a:lnTo>
                  <a:lnTo>
                    <a:pt x="375" y="610"/>
                  </a:lnTo>
                  <a:lnTo>
                    <a:pt x="371" y="609"/>
                  </a:lnTo>
                  <a:lnTo>
                    <a:pt x="371" y="612"/>
                  </a:lnTo>
                  <a:lnTo>
                    <a:pt x="372" y="614"/>
                  </a:lnTo>
                  <a:lnTo>
                    <a:pt x="373" y="616"/>
                  </a:lnTo>
                  <a:lnTo>
                    <a:pt x="371" y="617"/>
                  </a:lnTo>
                  <a:lnTo>
                    <a:pt x="369" y="617"/>
                  </a:lnTo>
                  <a:lnTo>
                    <a:pt x="363" y="613"/>
                  </a:lnTo>
                  <a:lnTo>
                    <a:pt x="361" y="612"/>
                  </a:lnTo>
                  <a:lnTo>
                    <a:pt x="360" y="611"/>
                  </a:lnTo>
                  <a:lnTo>
                    <a:pt x="356" y="606"/>
                  </a:lnTo>
                  <a:lnTo>
                    <a:pt x="354" y="604"/>
                  </a:lnTo>
                  <a:lnTo>
                    <a:pt x="354" y="603"/>
                  </a:lnTo>
                  <a:lnTo>
                    <a:pt x="354" y="599"/>
                  </a:lnTo>
                  <a:lnTo>
                    <a:pt x="354" y="598"/>
                  </a:lnTo>
                  <a:lnTo>
                    <a:pt x="353" y="597"/>
                  </a:lnTo>
                  <a:lnTo>
                    <a:pt x="351" y="597"/>
                  </a:lnTo>
                  <a:lnTo>
                    <a:pt x="349" y="592"/>
                  </a:lnTo>
                  <a:lnTo>
                    <a:pt x="349" y="587"/>
                  </a:lnTo>
                  <a:lnTo>
                    <a:pt x="351" y="583"/>
                  </a:lnTo>
                  <a:lnTo>
                    <a:pt x="354" y="579"/>
                  </a:lnTo>
                  <a:lnTo>
                    <a:pt x="356" y="576"/>
                  </a:lnTo>
                  <a:lnTo>
                    <a:pt x="357" y="571"/>
                  </a:lnTo>
                  <a:lnTo>
                    <a:pt x="356" y="565"/>
                  </a:lnTo>
                  <a:lnTo>
                    <a:pt x="354" y="561"/>
                  </a:lnTo>
                  <a:lnTo>
                    <a:pt x="351" y="556"/>
                  </a:lnTo>
                  <a:lnTo>
                    <a:pt x="346" y="554"/>
                  </a:lnTo>
                  <a:lnTo>
                    <a:pt x="339" y="552"/>
                  </a:lnTo>
                  <a:lnTo>
                    <a:pt x="334" y="552"/>
                  </a:lnTo>
                  <a:lnTo>
                    <a:pt x="328" y="549"/>
                  </a:lnTo>
                  <a:lnTo>
                    <a:pt x="324" y="544"/>
                  </a:lnTo>
                  <a:lnTo>
                    <a:pt x="314" y="519"/>
                  </a:lnTo>
                  <a:lnTo>
                    <a:pt x="309" y="512"/>
                  </a:lnTo>
                  <a:lnTo>
                    <a:pt x="302" y="502"/>
                  </a:lnTo>
                  <a:lnTo>
                    <a:pt x="290" y="472"/>
                  </a:lnTo>
                  <a:lnTo>
                    <a:pt x="277" y="448"/>
                  </a:lnTo>
                  <a:lnTo>
                    <a:pt x="269" y="438"/>
                  </a:lnTo>
                  <a:lnTo>
                    <a:pt x="259" y="429"/>
                  </a:lnTo>
                  <a:lnTo>
                    <a:pt x="255" y="424"/>
                  </a:lnTo>
                  <a:lnTo>
                    <a:pt x="252" y="416"/>
                  </a:lnTo>
                  <a:lnTo>
                    <a:pt x="247" y="407"/>
                  </a:lnTo>
                  <a:lnTo>
                    <a:pt x="243" y="396"/>
                  </a:lnTo>
                  <a:lnTo>
                    <a:pt x="241" y="396"/>
                  </a:lnTo>
                  <a:lnTo>
                    <a:pt x="238" y="394"/>
                  </a:lnTo>
                  <a:lnTo>
                    <a:pt x="234" y="388"/>
                  </a:lnTo>
                  <a:lnTo>
                    <a:pt x="224" y="378"/>
                  </a:lnTo>
                  <a:lnTo>
                    <a:pt x="210" y="360"/>
                  </a:lnTo>
                  <a:lnTo>
                    <a:pt x="205" y="351"/>
                  </a:lnTo>
                  <a:lnTo>
                    <a:pt x="204" y="350"/>
                  </a:lnTo>
                  <a:lnTo>
                    <a:pt x="204" y="348"/>
                  </a:lnTo>
                  <a:lnTo>
                    <a:pt x="205" y="346"/>
                  </a:lnTo>
                  <a:lnTo>
                    <a:pt x="206" y="343"/>
                  </a:lnTo>
                  <a:lnTo>
                    <a:pt x="207" y="342"/>
                  </a:lnTo>
                  <a:lnTo>
                    <a:pt x="206" y="339"/>
                  </a:lnTo>
                  <a:lnTo>
                    <a:pt x="203" y="334"/>
                  </a:lnTo>
                  <a:lnTo>
                    <a:pt x="188" y="316"/>
                  </a:lnTo>
                  <a:lnTo>
                    <a:pt x="180" y="311"/>
                  </a:lnTo>
                  <a:lnTo>
                    <a:pt x="178" y="309"/>
                  </a:lnTo>
                  <a:lnTo>
                    <a:pt x="174" y="304"/>
                  </a:lnTo>
                  <a:lnTo>
                    <a:pt x="170" y="297"/>
                  </a:lnTo>
                  <a:lnTo>
                    <a:pt x="165" y="291"/>
                  </a:lnTo>
                  <a:lnTo>
                    <a:pt x="158" y="280"/>
                  </a:lnTo>
                  <a:lnTo>
                    <a:pt x="157" y="275"/>
                  </a:lnTo>
                  <a:lnTo>
                    <a:pt x="156" y="271"/>
                  </a:lnTo>
                  <a:lnTo>
                    <a:pt x="156" y="265"/>
                  </a:lnTo>
                  <a:lnTo>
                    <a:pt x="155" y="261"/>
                  </a:lnTo>
                  <a:lnTo>
                    <a:pt x="153" y="259"/>
                  </a:lnTo>
                  <a:lnTo>
                    <a:pt x="148" y="252"/>
                  </a:lnTo>
                  <a:lnTo>
                    <a:pt x="144" y="247"/>
                  </a:lnTo>
                  <a:lnTo>
                    <a:pt x="141" y="236"/>
                  </a:lnTo>
                  <a:lnTo>
                    <a:pt x="137" y="231"/>
                  </a:lnTo>
                  <a:lnTo>
                    <a:pt x="135" y="229"/>
                  </a:lnTo>
                  <a:lnTo>
                    <a:pt x="132" y="228"/>
                  </a:lnTo>
                  <a:lnTo>
                    <a:pt x="131" y="228"/>
                  </a:lnTo>
                  <a:lnTo>
                    <a:pt x="130" y="226"/>
                  </a:lnTo>
                  <a:lnTo>
                    <a:pt x="129" y="224"/>
                  </a:lnTo>
                  <a:lnTo>
                    <a:pt x="128" y="221"/>
                  </a:lnTo>
                  <a:lnTo>
                    <a:pt x="127" y="214"/>
                  </a:lnTo>
                  <a:lnTo>
                    <a:pt x="125" y="212"/>
                  </a:lnTo>
                  <a:lnTo>
                    <a:pt x="116" y="202"/>
                  </a:lnTo>
                  <a:lnTo>
                    <a:pt x="113" y="198"/>
                  </a:lnTo>
                  <a:lnTo>
                    <a:pt x="113" y="196"/>
                  </a:lnTo>
                  <a:lnTo>
                    <a:pt x="109" y="194"/>
                  </a:lnTo>
                  <a:lnTo>
                    <a:pt x="101" y="188"/>
                  </a:lnTo>
                  <a:lnTo>
                    <a:pt x="101" y="190"/>
                  </a:lnTo>
                  <a:lnTo>
                    <a:pt x="100" y="190"/>
                  </a:lnTo>
                  <a:lnTo>
                    <a:pt x="98" y="187"/>
                  </a:lnTo>
                  <a:lnTo>
                    <a:pt x="100" y="185"/>
                  </a:lnTo>
                  <a:lnTo>
                    <a:pt x="105" y="183"/>
                  </a:lnTo>
                  <a:lnTo>
                    <a:pt x="107" y="182"/>
                  </a:lnTo>
                  <a:lnTo>
                    <a:pt x="109" y="182"/>
                  </a:lnTo>
                  <a:lnTo>
                    <a:pt x="109" y="182"/>
                  </a:lnTo>
                  <a:lnTo>
                    <a:pt x="107" y="178"/>
                  </a:lnTo>
                  <a:lnTo>
                    <a:pt x="106" y="178"/>
                  </a:lnTo>
                  <a:lnTo>
                    <a:pt x="102" y="176"/>
                  </a:lnTo>
                  <a:lnTo>
                    <a:pt x="100" y="176"/>
                  </a:lnTo>
                  <a:lnTo>
                    <a:pt x="99" y="176"/>
                  </a:lnTo>
                  <a:lnTo>
                    <a:pt x="99" y="177"/>
                  </a:lnTo>
                  <a:lnTo>
                    <a:pt x="98" y="177"/>
                  </a:lnTo>
                  <a:lnTo>
                    <a:pt x="97" y="175"/>
                  </a:lnTo>
                  <a:lnTo>
                    <a:pt x="95" y="174"/>
                  </a:lnTo>
                  <a:lnTo>
                    <a:pt x="94" y="174"/>
                  </a:lnTo>
                  <a:lnTo>
                    <a:pt x="91" y="174"/>
                  </a:lnTo>
                  <a:lnTo>
                    <a:pt x="90" y="174"/>
                  </a:lnTo>
                  <a:lnTo>
                    <a:pt x="88" y="171"/>
                  </a:lnTo>
                  <a:lnTo>
                    <a:pt x="80" y="166"/>
                  </a:lnTo>
                  <a:lnTo>
                    <a:pt x="78" y="167"/>
                  </a:lnTo>
                  <a:lnTo>
                    <a:pt x="75" y="167"/>
                  </a:lnTo>
                  <a:lnTo>
                    <a:pt x="75" y="167"/>
                  </a:lnTo>
                  <a:lnTo>
                    <a:pt x="75" y="169"/>
                  </a:lnTo>
                  <a:lnTo>
                    <a:pt x="73" y="167"/>
                  </a:lnTo>
                  <a:lnTo>
                    <a:pt x="70" y="167"/>
                  </a:lnTo>
                  <a:lnTo>
                    <a:pt x="68" y="167"/>
                  </a:lnTo>
                  <a:lnTo>
                    <a:pt x="67" y="169"/>
                  </a:lnTo>
                  <a:lnTo>
                    <a:pt x="62" y="170"/>
                  </a:lnTo>
                  <a:lnTo>
                    <a:pt x="60" y="171"/>
                  </a:lnTo>
                  <a:lnTo>
                    <a:pt x="60" y="172"/>
                  </a:lnTo>
                  <a:lnTo>
                    <a:pt x="59" y="174"/>
                  </a:lnTo>
                  <a:lnTo>
                    <a:pt x="58" y="174"/>
                  </a:lnTo>
                  <a:lnTo>
                    <a:pt x="58" y="173"/>
                  </a:lnTo>
                  <a:lnTo>
                    <a:pt x="57" y="173"/>
                  </a:lnTo>
                  <a:lnTo>
                    <a:pt x="54" y="173"/>
                  </a:lnTo>
                  <a:lnTo>
                    <a:pt x="51" y="172"/>
                  </a:lnTo>
                  <a:lnTo>
                    <a:pt x="47" y="173"/>
                  </a:lnTo>
                  <a:lnTo>
                    <a:pt x="45" y="175"/>
                  </a:lnTo>
                  <a:lnTo>
                    <a:pt x="45" y="174"/>
                  </a:lnTo>
                  <a:lnTo>
                    <a:pt x="44" y="174"/>
                  </a:lnTo>
                  <a:lnTo>
                    <a:pt x="44" y="173"/>
                  </a:lnTo>
                  <a:lnTo>
                    <a:pt x="45" y="173"/>
                  </a:lnTo>
                  <a:lnTo>
                    <a:pt x="45" y="171"/>
                  </a:lnTo>
                  <a:lnTo>
                    <a:pt x="45" y="169"/>
                  </a:lnTo>
                  <a:lnTo>
                    <a:pt x="45" y="168"/>
                  </a:lnTo>
                  <a:lnTo>
                    <a:pt x="49" y="167"/>
                  </a:lnTo>
                  <a:lnTo>
                    <a:pt x="47" y="167"/>
                  </a:lnTo>
                  <a:lnTo>
                    <a:pt x="45" y="166"/>
                  </a:lnTo>
                  <a:lnTo>
                    <a:pt x="44" y="167"/>
                  </a:lnTo>
                  <a:lnTo>
                    <a:pt x="42" y="167"/>
                  </a:lnTo>
                  <a:lnTo>
                    <a:pt x="42" y="168"/>
                  </a:lnTo>
                  <a:lnTo>
                    <a:pt x="43" y="168"/>
                  </a:lnTo>
                  <a:lnTo>
                    <a:pt x="43" y="169"/>
                  </a:lnTo>
                  <a:lnTo>
                    <a:pt x="41" y="170"/>
                  </a:lnTo>
                  <a:lnTo>
                    <a:pt x="40" y="172"/>
                  </a:lnTo>
                  <a:lnTo>
                    <a:pt x="38" y="175"/>
                  </a:lnTo>
                  <a:lnTo>
                    <a:pt x="37" y="175"/>
                  </a:lnTo>
                  <a:lnTo>
                    <a:pt x="37" y="174"/>
                  </a:lnTo>
                  <a:lnTo>
                    <a:pt x="37" y="171"/>
                  </a:lnTo>
                  <a:lnTo>
                    <a:pt x="39" y="170"/>
                  </a:lnTo>
                  <a:lnTo>
                    <a:pt x="41" y="169"/>
                  </a:lnTo>
                  <a:lnTo>
                    <a:pt x="41" y="167"/>
                  </a:lnTo>
                  <a:lnTo>
                    <a:pt x="38" y="167"/>
                  </a:lnTo>
                  <a:lnTo>
                    <a:pt x="37" y="167"/>
                  </a:lnTo>
                  <a:lnTo>
                    <a:pt x="35" y="168"/>
                  </a:lnTo>
                  <a:lnTo>
                    <a:pt x="35" y="171"/>
                  </a:lnTo>
                  <a:lnTo>
                    <a:pt x="34" y="170"/>
                  </a:lnTo>
                  <a:lnTo>
                    <a:pt x="33" y="171"/>
                  </a:lnTo>
                  <a:lnTo>
                    <a:pt x="33" y="168"/>
                  </a:lnTo>
                  <a:lnTo>
                    <a:pt x="31" y="168"/>
                  </a:lnTo>
                  <a:lnTo>
                    <a:pt x="31" y="169"/>
                  </a:lnTo>
                  <a:lnTo>
                    <a:pt x="30" y="169"/>
                  </a:lnTo>
                  <a:lnTo>
                    <a:pt x="30" y="168"/>
                  </a:lnTo>
                  <a:lnTo>
                    <a:pt x="29" y="167"/>
                  </a:lnTo>
                  <a:lnTo>
                    <a:pt x="28" y="167"/>
                  </a:lnTo>
                  <a:lnTo>
                    <a:pt x="27" y="168"/>
                  </a:lnTo>
                  <a:lnTo>
                    <a:pt x="25" y="167"/>
                  </a:lnTo>
                  <a:lnTo>
                    <a:pt x="23" y="164"/>
                  </a:lnTo>
                  <a:lnTo>
                    <a:pt x="22" y="162"/>
                  </a:lnTo>
                  <a:lnTo>
                    <a:pt x="21" y="164"/>
                  </a:lnTo>
                  <a:lnTo>
                    <a:pt x="20" y="164"/>
                  </a:lnTo>
                  <a:lnTo>
                    <a:pt x="18" y="163"/>
                  </a:lnTo>
                  <a:lnTo>
                    <a:pt x="17" y="164"/>
                  </a:lnTo>
                  <a:lnTo>
                    <a:pt x="17" y="166"/>
                  </a:lnTo>
                  <a:lnTo>
                    <a:pt x="16" y="167"/>
                  </a:lnTo>
                  <a:lnTo>
                    <a:pt x="13" y="169"/>
                  </a:lnTo>
                  <a:lnTo>
                    <a:pt x="12" y="169"/>
                  </a:lnTo>
                  <a:lnTo>
                    <a:pt x="12" y="171"/>
                  </a:lnTo>
                  <a:lnTo>
                    <a:pt x="15" y="174"/>
                  </a:lnTo>
                  <a:lnTo>
                    <a:pt x="15" y="175"/>
                  </a:lnTo>
                  <a:lnTo>
                    <a:pt x="15" y="175"/>
                  </a:lnTo>
                  <a:lnTo>
                    <a:pt x="14" y="176"/>
                  </a:lnTo>
                  <a:lnTo>
                    <a:pt x="12" y="175"/>
                  </a:lnTo>
                  <a:lnTo>
                    <a:pt x="11" y="178"/>
                  </a:lnTo>
                  <a:lnTo>
                    <a:pt x="11" y="181"/>
                  </a:lnTo>
                  <a:lnTo>
                    <a:pt x="10" y="182"/>
                  </a:lnTo>
                  <a:lnTo>
                    <a:pt x="7" y="182"/>
                  </a:lnTo>
                  <a:lnTo>
                    <a:pt x="7" y="182"/>
                  </a:lnTo>
                  <a:lnTo>
                    <a:pt x="7" y="182"/>
                  </a:lnTo>
                  <a:lnTo>
                    <a:pt x="7" y="180"/>
                  </a:lnTo>
                  <a:lnTo>
                    <a:pt x="6" y="177"/>
                  </a:lnTo>
                  <a:lnTo>
                    <a:pt x="5" y="175"/>
                  </a:lnTo>
                  <a:lnTo>
                    <a:pt x="5" y="170"/>
                  </a:lnTo>
                  <a:lnTo>
                    <a:pt x="4" y="169"/>
                  </a:lnTo>
                  <a:lnTo>
                    <a:pt x="0" y="171"/>
                  </a:lnTo>
                  <a:lnTo>
                    <a:pt x="0" y="168"/>
                  </a:lnTo>
                  <a:lnTo>
                    <a:pt x="0" y="167"/>
                  </a:lnTo>
                  <a:lnTo>
                    <a:pt x="2" y="164"/>
                  </a:lnTo>
                  <a:lnTo>
                    <a:pt x="3" y="162"/>
                  </a:lnTo>
                  <a:lnTo>
                    <a:pt x="5" y="161"/>
                  </a:lnTo>
                  <a:lnTo>
                    <a:pt x="5" y="160"/>
                  </a:lnTo>
                  <a:lnTo>
                    <a:pt x="7" y="160"/>
                  </a:lnTo>
                  <a:lnTo>
                    <a:pt x="8" y="158"/>
                  </a:lnTo>
                  <a:lnTo>
                    <a:pt x="7" y="157"/>
                  </a:lnTo>
                  <a:lnTo>
                    <a:pt x="8" y="155"/>
                  </a:lnTo>
                  <a:lnTo>
                    <a:pt x="11" y="154"/>
                  </a:lnTo>
                  <a:lnTo>
                    <a:pt x="11" y="156"/>
                  </a:lnTo>
                  <a:lnTo>
                    <a:pt x="13" y="157"/>
                  </a:lnTo>
                  <a:lnTo>
                    <a:pt x="14" y="156"/>
                  </a:lnTo>
                  <a:lnTo>
                    <a:pt x="15" y="154"/>
                  </a:lnTo>
                  <a:lnTo>
                    <a:pt x="14" y="154"/>
                  </a:lnTo>
                  <a:lnTo>
                    <a:pt x="14" y="152"/>
                  </a:lnTo>
                  <a:lnTo>
                    <a:pt x="12" y="152"/>
                  </a:lnTo>
                  <a:lnTo>
                    <a:pt x="12" y="150"/>
                  </a:lnTo>
                  <a:lnTo>
                    <a:pt x="14" y="150"/>
                  </a:lnTo>
                  <a:lnTo>
                    <a:pt x="15" y="149"/>
                  </a:lnTo>
                  <a:lnTo>
                    <a:pt x="15" y="147"/>
                  </a:lnTo>
                  <a:lnTo>
                    <a:pt x="15" y="146"/>
                  </a:lnTo>
                  <a:lnTo>
                    <a:pt x="16" y="137"/>
                  </a:lnTo>
                  <a:lnTo>
                    <a:pt x="18" y="137"/>
                  </a:lnTo>
                  <a:lnTo>
                    <a:pt x="19" y="137"/>
                  </a:lnTo>
                  <a:lnTo>
                    <a:pt x="19" y="136"/>
                  </a:lnTo>
                  <a:lnTo>
                    <a:pt x="17" y="137"/>
                  </a:lnTo>
                  <a:lnTo>
                    <a:pt x="16" y="136"/>
                  </a:lnTo>
                  <a:lnTo>
                    <a:pt x="20" y="132"/>
                  </a:lnTo>
                  <a:lnTo>
                    <a:pt x="23" y="126"/>
                  </a:lnTo>
                  <a:lnTo>
                    <a:pt x="26" y="120"/>
                  </a:lnTo>
                  <a:lnTo>
                    <a:pt x="28" y="110"/>
                  </a:lnTo>
                  <a:lnTo>
                    <a:pt x="31" y="106"/>
                  </a:lnTo>
                  <a:lnTo>
                    <a:pt x="32" y="99"/>
                  </a:lnTo>
                  <a:lnTo>
                    <a:pt x="33" y="97"/>
                  </a:lnTo>
                  <a:lnTo>
                    <a:pt x="38" y="88"/>
                  </a:lnTo>
                  <a:lnTo>
                    <a:pt x="37" y="79"/>
                  </a:lnTo>
                  <a:lnTo>
                    <a:pt x="37" y="70"/>
                  </a:lnTo>
                  <a:lnTo>
                    <a:pt x="34" y="61"/>
                  </a:lnTo>
                  <a:lnTo>
                    <a:pt x="37" y="50"/>
                  </a:lnTo>
                  <a:lnTo>
                    <a:pt x="39" y="44"/>
                  </a:lnTo>
                  <a:lnTo>
                    <a:pt x="42" y="39"/>
                  </a:lnTo>
                  <a:lnTo>
                    <a:pt x="42" y="38"/>
                  </a:lnTo>
                  <a:lnTo>
                    <a:pt x="41" y="38"/>
                  </a:lnTo>
                  <a:lnTo>
                    <a:pt x="44" y="33"/>
                  </a:lnTo>
                  <a:lnTo>
                    <a:pt x="44" y="30"/>
                  </a:lnTo>
                  <a:lnTo>
                    <a:pt x="43" y="29"/>
                  </a:lnTo>
                  <a:lnTo>
                    <a:pt x="43" y="27"/>
                  </a:lnTo>
                  <a:lnTo>
                    <a:pt x="45" y="22"/>
                  </a:lnTo>
                  <a:lnTo>
                    <a:pt x="45" y="20"/>
                  </a:lnTo>
                  <a:lnTo>
                    <a:pt x="59" y="19"/>
                  </a:lnTo>
                  <a:lnTo>
                    <a:pt x="65" y="18"/>
                  </a:lnTo>
                  <a:lnTo>
                    <a:pt x="70" y="19"/>
                  </a:lnTo>
                  <a:lnTo>
                    <a:pt x="84" y="22"/>
                  </a:lnTo>
                  <a:lnTo>
                    <a:pt x="108" y="24"/>
                  </a:lnTo>
                  <a:lnTo>
                    <a:pt x="112" y="23"/>
                  </a:lnTo>
                  <a:lnTo>
                    <a:pt x="115" y="22"/>
                  </a:lnTo>
                  <a:lnTo>
                    <a:pt x="120" y="16"/>
                  </a:lnTo>
                  <a:lnTo>
                    <a:pt x="127" y="14"/>
                  </a:lnTo>
                  <a:lnTo>
                    <a:pt x="134" y="11"/>
                  </a:lnTo>
                  <a:lnTo>
                    <a:pt x="168" y="5"/>
                  </a:lnTo>
                  <a:lnTo>
                    <a:pt x="190" y="3"/>
                  </a:lnTo>
                  <a:lnTo>
                    <a:pt x="203" y="0"/>
                  </a:lnTo>
                  <a:lnTo>
                    <a:pt x="214" y="0"/>
                  </a:lnTo>
                  <a:lnTo>
                    <a:pt x="247" y="8"/>
                  </a:lnTo>
                  <a:lnTo>
                    <a:pt x="251" y="11"/>
                  </a:lnTo>
                  <a:lnTo>
                    <a:pt x="258" y="15"/>
                  </a:lnTo>
                  <a:lnTo>
                    <a:pt x="263" y="21"/>
                  </a:lnTo>
                  <a:lnTo>
                    <a:pt x="307" y="77"/>
                  </a:lnTo>
                  <a:lnTo>
                    <a:pt x="308" y="78"/>
                  </a:lnTo>
                  <a:lnTo>
                    <a:pt x="309" y="79"/>
                  </a:lnTo>
                  <a:lnTo>
                    <a:pt x="316" y="82"/>
                  </a:lnTo>
                  <a:lnTo>
                    <a:pt x="320" y="82"/>
                  </a:lnTo>
                  <a:lnTo>
                    <a:pt x="323" y="82"/>
                  </a:lnTo>
                  <a:lnTo>
                    <a:pt x="341" y="75"/>
                  </a:lnTo>
                  <a:lnTo>
                    <a:pt x="381" y="66"/>
                  </a:lnTo>
                  <a:lnTo>
                    <a:pt x="395" y="66"/>
                  </a:lnTo>
                  <a:lnTo>
                    <a:pt x="404" y="67"/>
                  </a:lnTo>
                  <a:lnTo>
                    <a:pt x="429" y="76"/>
                  </a:lnTo>
                  <a:lnTo>
                    <a:pt x="444" y="78"/>
                  </a:lnTo>
                  <a:lnTo>
                    <a:pt x="473" y="80"/>
                  </a:lnTo>
                  <a:lnTo>
                    <a:pt x="477" y="79"/>
                  </a:lnTo>
                  <a:lnTo>
                    <a:pt x="481" y="77"/>
                  </a:lnTo>
                  <a:lnTo>
                    <a:pt x="483" y="74"/>
                  </a:lnTo>
                  <a:lnTo>
                    <a:pt x="486" y="70"/>
                  </a:lnTo>
                  <a:lnTo>
                    <a:pt x="492" y="53"/>
                  </a:lnTo>
                  <a:lnTo>
                    <a:pt x="494" y="48"/>
                  </a:lnTo>
                  <a:lnTo>
                    <a:pt x="497" y="45"/>
                  </a:lnTo>
                  <a:lnTo>
                    <a:pt x="500" y="42"/>
                  </a:lnTo>
                  <a:lnTo>
                    <a:pt x="512" y="35"/>
                  </a:lnTo>
                  <a:lnTo>
                    <a:pt x="522" y="24"/>
                  </a:lnTo>
                  <a:lnTo>
                    <a:pt x="526" y="23"/>
                  </a:lnTo>
                  <a:lnTo>
                    <a:pt x="529" y="24"/>
                  </a:lnTo>
                  <a:lnTo>
                    <a:pt x="532" y="26"/>
                  </a:lnTo>
                  <a:lnTo>
                    <a:pt x="534" y="30"/>
                  </a:lnTo>
                  <a:lnTo>
                    <a:pt x="534" y="35"/>
                  </a:lnTo>
                  <a:lnTo>
                    <a:pt x="533" y="65"/>
                  </a:lnTo>
                  <a:lnTo>
                    <a:pt x="534" y="83"/>
                  </a:lnTo>
                  <a:lnTo>
                    <a:pt x="534" y="93"/>
                  </a:lnTo>
                  <a:lnTo>
                    <a:pt x="536" y="101"/>
                  </a:lnTo>
                  <a:lnTo>
                    <a:pt x="539" y="107"/>
                  </a:lnTo>
                  <a:lnTo>
                    <a:pt x="542" y="112"/>
                  </a:lnTo>
                  <a:lnTo>
                    <a:pt x="543" y="116"/>
                  </a:lnTo>
                  <a:lnTo>
                    <a:pt x="547" y="120"/>
                  </a:lnTo>
                  <a:lnTo>
                    <a:pt x="557" y="129"/>
                  </a:lnTo>
                  <a:lnTo>
                    <a:pt x="565" y="133"/>
                  </a:lnTo>
                  <a:lnTo>
                    <a:pt x="584" y="139"/>
                  </a:lnTo>
                  <a:lnTo>
                    <a:pt x="594" y="142"/>
                  </a:lnTo>
                  <a:lnTo>
                    <a:pt x="628" y="145"/>
                  </a:lnTo>
                  <a:lnTo>
                    <a:pt x="633" y="144"/>
                  </a:lnTo>
                  <a:lnTo>
                    <a:pt x="640" y="143"/>
                  </a:lnTo>
                  <a:lnTo>
                    <a:pt x="644" y="141"/>
                  </a:lnTo>
                  <a:lnTo>
                    <a:pt x="649" y="139"/>
                  </a:lnTo>
                  <a:lnTo>
                    <a:pt x="653" y="140"/>
                  </a:lnTo>
                  <a:lnTo>
                    <a:pt x="659" y="144"/>
                  </a:lnTo>
                  <a:lnTo>
                    <a:pt x="662" y="145"/>
                  </a:lnTo>
                  <a:lnTo>
                    <a:pt x="665" y="145"/>
                  </a:lnTo>
                  <a:lnTo>
                    <a:pt x="672" y="145"/>
                  </a:lnTo>
                  <a:lnTo>
                    <a:pt x="677" y="157"/>
                  </a:lnTo>
                  <a:lnTo>
                    <a:pt x="680" y="160"/>
                  </a:lnTo>
                  <a:lnTo>
                    <a:pt x="684" y="162"/>
                  </a:lnTo>
                  <a:lnTo>
                    <a:pt x="688" y="162"/>
                  </a:lnTo>
                  <a:lnTo>
                    <a:pt x="692" y="162"/>
                  </a:lnTo>
                  <a:lnTo>
                    <a:pt x="696" y="160"/>
                  </a:lnTo>
                  <a:lnTo>
                    <a:pt x="714" y="152"/>
                  </a:lnTo>
                  <a:lnTo>
                    <a:pt x="718" y="150"/>
                  </a:lnTo>
                  <a:lnTo>
                    <a:pt x="724" y="149"/>
                  </a:lnTo>
                  <a:lnTo>
                    <a:pt x="729" y="149"/>
                  </a:lnTo>
                  <a:lnTo>
                    <a:pt x="731" y="150"/>
                  </a:lnTo>
                  <a:lnTo>
                    <a:pt x="734" y="152"/>
                  </a:lnTo>
                  <a:lnTo>
                    <a:pt x="740" y="157"/>
                  </a:lnTo>
                  <a:lnTo>
                    <a:pt x="740" y="157"/>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97" name="Freeform 13">
              <a:extLst>
                <a:ext uri="{FF2B5EF4-FFF2-40B4-BE49-F238E27FC236}"/>
              </a:extLst>
            </p:cNvPr>
            <p:cNvSpPr>
              <a:spLocks/>
            </p:cNvSpPr>
            <p:nvPr/>
          </p:nvSpPr>
          <p:spPr bwMode="auto">
            <a:xfrm>
              <a:off x="2570163" y="1851025"/>
              <a:ext cx="2274888" cy="1430338"/>
            </a:xfrm>
            <a:custGeom>
              <a:avLst/>
              <a:gdLst>
                <a:gd name="T0" fmla="*/ 1329 w 1433"/>
                <a:gd name="T1" fmla="*/ 639 h 901"/>
                <a:gd name="T2" fmla="*/ 1230 w 1433"/>
                <a:gd name="T3" fmla="*/ 795 h 901"/>
                <a:gd name="T4" fmla="*/ 1186 w 1433"/>
                <a:gd name="T5" fmla="*/ 859 h 901"/>
                <a:gd name="T6" fmla="*/ 1185 w 1433"/>
                <a:gd name="T7" fmla="*/ 875 h 901"/>
                <a:gd name="T8" fmla="*/ 1186 w 1433"/>
                <a:gd name="T9" fmla="*/ 897 h 901"/>
                <a:gd name="T10" fmla="*/ 1171 w 1433"/>
                <a:gd name="T11" fmla="*/ 899 h 901"/>
                <a:gd name="T12" fmla="*/ 1159 w 1433"/>
                <a:gd name="T13" fmla="*/ 884 h 901"/>
                <a:gd name="T14" fmla="*/ 1115 w 1433"/>
                <a:gd name="T15" fmla="*/ 846 h 901"/>
                <a:gd name="T16" fmla="*/ 1048 w 1433"/>
                <a:gd name="T17" fmla="*/ 832 h 901"/>
                <a:gd name="T18" fmla="*/ 1019 w 1433"/>
                <a:gd name="T19" fmla="*/ 779 h 901"/>
                <a:gd name="T20" fmla="*/ 980 w 1433"/>
                <a:gd name="T21" fmla="*/ 719 h 901"/>
                <a:gd name="T22" fmla="*/ 943 w 1433"/>
                <a:gd name="T23" fmla="*/ 738 h 901"/>
                <a:gd name="T24" fmla="*/ 911 w 1433"/>
                <a:gd name="T25" fmla="*/ 726 h 901"/>
                <a:gd name="T26" fmla="*/ 880 w 1433"/>
                <a:gd name="T27" fmla="*/ 726 h 901"/>
                <a:gd name="T28" fmla="*/ 863 w 1433"/>
                <a:gd name="T29" fmla="*/ 710 h 901"/>
                <a:gd name="T30" fmla="*/ 860 w 1433"/>
                <a:gd name="T31" fmla="*/ 688 h 901"/>
                <a:gd name="T32" fmla="*/ 844 w 1433"/>
                <a:gd name="T33" fmla="*/ 686 h 901"/>
                <a:gd name="T34" fmla="*/ 816 w 1433"/>
                <a:gd name="T35" fmla="*/ 698 h 901"/>
                <a:gd name="T36" fmla="*/ 791 w 1433"/>
                <a:gd name="T37" fmla="*/ 691 h 901"/>
                <a:gd name="T38" fmla="*/ 758 w 1433"/>
                <a:gd name="T39" fmla="*/ 656 h 901"/>
                <a:gd name="T40" fmla="*/ 670 w 1433"/>
                <a:gd name="T41" fmla="*/ 641 h 901"/>
                <a:gd name="T42" fmla="*/ 636 w 1433"/>
                <a:gd name="T43" fmla="*/ 646 h 901"/>
                <a:gd name="T44" fmla="*/ 571 w 1433"/>
                <a:gd name="T45" fmla="*/ 632 h 901"/>
                <a:gd name="T46" fmla="*/ 450 w 1433"/>
                <a:gd name="T47" fmla="*/ 643 h 901"/>
                <a:gd name="T48" fmla="*/ 478 w 1433"/>
                <a:gd name="T49" fmla="*/ 608 h 901"/>
                <a:gd name="T50" fmla="*/ 487 w 1433"/>
                <a:gd name="T51" fmla="*/ 532 h 901"/>
                <a:gd name="T52" fmla="*/ 652 w 1433"/>
                <a:gd name="T53" fmla="*/ 422 h 901"/>
                <a:gd name="T54" fmla="*/ 678 w 1433"/>
                <a:gd name="T55" fmla="*/ 396 h 901"/>
                <a:gd name="T56" fmla="*/ 640 w 1433"/>
                <a:gd name="T57" fmla="*/ 360 h 901"/>
                <a:gd name="T58" fmla="*/ 622 w 1433"/>
                <a:gd name="T59" fmla="*/ 327 h 901"/>
                <a:gd name="T60" fmla="*/ 603 w 1433"/>
                <a:gd name="T61" fmla="*/ 313 h 901"/>
                <a:gd name="T62" fmla="*/ 556 w 1433"/>
                <a:gd name="T63" fmla="*/ 306 h 901"/>
                <a:gd name="T64" fmla="*/ 505 w 1433"/>
                <a:gd name="T65" fmla="*/ 273 h 901"/>
                <a:gd name="T66" fmla="*/ 372 w 1433"/>
                <a:gd name="T67" fmla="*/ 268 h 901"/>
                <a:gd name="T68" fmla="*/ 346 w 1433"/>
                <a:gd name="T69" fmla="*/ 250 h 901"/>
                <a:gd name="T70" fmla="*/ 201 w 1433"/>
                <a:gd name="T71" fmla="*/ 228 h 901"/>
                <a:gd name="T72" fmla="*/ 60 w 1433"/>
                <a:gd name="T73" fmla="*/ 241 h 901"/>
                <a:gd name="T74" fmla="*/ 45 w 1433"/>
                <a:gd name="T75" fmla="*/ 230 h 901"/>
                <a:gd name="T76" fmla="*/ 26 w 1433"/>
                <a:gd name="T77" fmla="*/ 198 h 901"/>
                <a:gd name="T78" fmla="*/ 3 w 1433"/>
                <a:gd name="T79" fmla="*/ 175 h 901"/>
                <a:gd name="T80" fmla="*/ 1 w 1433"/>
                <a:gd name="T81" fmla="*/ 147 h 901"/>
                <a:gd name="T82" fmla="*/ 191 w 1433"/>
                <a:gd name="T83" fmla="*/ 23 h 901"/>
                <a:gd name="T84" fmla="*/ 250 w 1433"/>
                <a:gd name="T85" fmla="*/ 5 h 901"/>
                <a:gd name="T86" fmla="*/ 429 w 1433"/>
                <a:gd name="T87" fmla="*/ 39 h 901"/>
                <a:gd name="T88" fmla="*/ 515 w 1433"/>
                <a:gd name="T89" fmla="*/ 91 h 901"/>
                <a:gd name="T90" fmla="*/ 706 w 1433"/>
                <a:gd name="T91" fmla="*/ 205 h 901"/>
                <a:gd name="T92" fmla="*/ 821 w 1433"/>
                <a:gd name="T93" fmla="*/ 305 h 901"/>
                <a:gd name="T94" fmla="*/ 933 w 1433"/>
                <a:gd name="T95" fmla="*/ 397 h 901"/>
                <a:gd name="T96" fmla="*/ 1099 w 1433"/>
                <a:gd name="T97" fmla="*/ 533 h 901"/>
                <a:gd name="T98" fmla="*/ 1147 w 1433"/>
                <a:gd name="T99" fmla="*/ 571 h 901"/>
                <a:gd name="T100" fmla="*/ 1433 w 1433"/>
                <a:gd name="T101" fmla="*/ 59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3" h="901">
                  <a:moveTo>
                    <a:pt x="1433" y="593"/>
                  </a:moveTo>
                  <a:lnTo>
                    <a:pt x="1431" y="595"/>
                  </a:lnTo>
                  <a:lnTo>
                    <a:pt x="1352" y="625"/>
                  </a:lnTo>
                  <a:lnTo>
                    <a:pt x="1329" y="639"/>
                  </a:lnTo>
                  <a:lnTo>
                    <a:pt x="1312" y="654"/>
                  </a:lnTo>
                  <a:lnTo>
                    <a:pt x="1299" y="669"/>
                  </a:lnTo>
                  <a:lnTo>
                    <a:pt x="1289" y="684"/>
                  </a:lnTo>
                  <a:lnTo>
                    <a:pt x="1230" y="795"/>
                  </a:lnTo>
                  <a:lnTo>
                    <a:pt x="1222" y="808"/>
                  </a:lnTo>
                  <a:lnTo>
                    <a:pt x="1194" y="841"/>
                  </a:lnTo>
                  <a:lnTo>
                    <a:pt x="1190" y="848"/>
                  </a:lnTo>
                  <a:lnTo>
                    <a:pt x="1186" y="859"/>
                  </a:lnTo>
                  <a:lnTo>
                    <a:pt x="1185" y="864"/>
                  </a:lnTo>
                  <a:lnTo>
                    <a:pt x="1184" y="868"/>
                  </a:lnTo>
                  <a:lnTo>
                    <a:pt x="1184" y="870"/>
                  </a:lnTo>
                  <a:lnTo>
                    <a:pt x="1185" y="875"/>
                  </a:lnTo>
                  <a:lnTo>
                    <a:pt x="1187" y="878"/>
                  </a:lnTo>
                  <a:lnTo>
                    <a:pt x="1191" y="884"/>
                  </a:lnTo>
                  <a:lnTo>
                    <a:pt x="1193" y="887"/>
                  </a:lnTo>
                  <a:lnTo>
                    <a:pt x="1186" y="897"/>
                  </a:lnTo>
                  <a:lnTo>
                    <a:pt x="1182" y="899"/>
                  </a:lnTo>
                  <a:lnTo>
                    <a:pt x="1179" y="901"/>
                  </a:lnTo>
                  <a:lnTo>
                    <a:pt x="1174" y="901"/>
                  </a:lnTo>
                  <a:lnTo>
                    <a:pt x="1171" y="899"/>
                  </a:lnTo>
                  <a:lnTo>
                    <a:pt x="1168" y="897"/>
                  </a:lnTo>
                  <a:lnTo>
                    <a:pt x="1165" y="892"/>
                  </a:lnTo>
                  <a:lnTo>
                    <a:pt x="1161" y="890"/>
                  </a:lnTo>
                  <a:lnTo>
                    <a:pt x="1159" y="884"/>
                  </a:lnTo>
                  <a:lnTo>
                    <a:pt x="1154" y="878"/>
                  </a:lnTo>
                  <a:lnTo>
                    <a:pt x="1127" y="853"/>
                  </a:lnTo>
                  <a:lnTo>
                    <a:pt x="1123" y="851"/>
                  </a:lnTo>
                  <a:lnTo>
                    <a:pt x="1115" y="846"/>
                  </a:lnTo>
                  <a:lnTo>
                    <a:pt x="1110" y="845"/>
                  </a:lnTo>
                  <a:lnTo>
                    <a:pt x="1058" y="837"/>
                  </a:lnTo>
                  <a:lnTo>
                    <a:pt x="1054" y="835"/>
                  </a:lnTo>
                  <a:lnTo>
                    <a:pt x="1048" y="832"/>
                  </a:lnTo>
                  <a:lnTo>
                    <a:pt x="1043" y="829"/>
                  </a:lnTo>
                  <a:lnTo>
                    <a:pt x="1039" y="825"/>
                  </a:lnTo>
                  <a:lnTo>
                    <a:pt x="1033" y="816"/>
                  </a:lnTo>
                  <a:lnTo>
                    <a:pt x="1019" y="779"/>
                  </a:lnTo>
                  <a:lnTo>
                    <a:pt x="991" y="728"/>
                  </a:lnTo>
                  <a:lnTo>
                    <a:pt x="988" y="724"/>
                  </a:lnTo>
                  <a:lnTo>
                    <a:pt x="985" y="721"/>
                  </a:lnTo>
                  <a:lnTo>
                    <a:pt x="980" y="719"/>
                  </a:lnTo>
                  <a:lnTo>
                    <a:pt x="974" y="720"/>
                  </a:lnTo>
                  <a:lnTo>
                    <a:pt x="970" y="722"/>
                  </a:lnTo>
                  <a:lnTo>
                    <a:pt x="950" y="735"/>
                  </a:lnTo>
                  <a:lnTo>
                    <a:pt x="943" y="738"/>
                  </a:lnTo>
                  <a:lnTo>
                    <a:pt x="940" y="739"/>
                  </a:lnTo>
                  <a:lnTo>
                    <a:pt x="935" y="738"/>
                  </a:lnTo>
                  <a:lnTo>
                    <a:pt x="928" y="736"/>
                  </a:lnTo>
                  <a:lnTo>
                    <a:pt x="911" y="726"/>
                  </a:lnTo>
                  <a:lnTo>
                    <a:pt x="906" y="725"/>
                  </a:lnTo>
                  <a:lnTo>
                    <a:pt x="901" y="724"/>
                  </a:lnTo>
                  <a:lnTo>
                    <a:pt x="884" y="726"/>
                  </a:lnTo>
                  <a:lnTo>
                    <a:pt x="880" y="726"/>
                  </a:lnTo>
                  <a:lnTo>
                    <a:pt x="875" y="724"/>
                  </a:lnTo>
                  <a:lnTo>
                    <a:pt x="869" y="721"/>
                  </a:lnTo>
                  <a:lnTo>
                    <a:pt x="866" y="716"/>
                  </a:lnTo>
                  <a:lnTo>
                    <a:pt x="863" y="710"/>
                  </a:lnTo>
                  <a:lnTo>
                    <a:pt x="861" y="707"/>
                  </a:lnTo>
                  <a:lnTo>
                    <a:pt x="861" y="704"/>
                  </a:lnTo>
                  <a:lnTo>
                    <a:pt x="860" y="690"/>
                  </a:lnTo>
                  <a:lnTo>
                    <a:pt x="860" y="688"/>
                  </a:lnTo>
                  <a:lnTo>
                    <a:pt x="858" y="686"/>
                  </a:lnTo>
                  <a:lnTo>
                    <a:pt x="855" y="685"/>
                  </a:lnTo>
                  <a:lnTo>
                    <a:pt x="849" y="685"/>
                  </a:lnTo>
                  <a:lnTo>
                    <a:pt x="844" y="686"/>
                  </a:lnTo>
                  <a:lnTo>
                    <a:pt x="840" y="687"/>
                  </a:lnTo>
                  <a:lnTo>
                    <a:pt x="826" y="695"/>
                  </a:lnTo>
                  <a:lnTo>
                    <a:pt x="821" y="697"/>
                  </a:lnTo>
                  <a:lnTo>
                    <a:pt x="816" y="698"/>
                  </a:lnTo>
                  <a:lnTo>
                    <a:pt x="811" y="699"/>
                  </a:lnTo>
                  <a:lnTo>
                    <a:pt x="805" y="698"/>
                  </a:lnTo>
                  <a:lnTo>
                    <a:pt x="797" y="694"/>
                  </a:lnTo>
                  <a:lnTo>
                    <a:pt x="791" y="691"/>
                  </a:lnTo>
                  <a:lnTo>
                    <a:pt x="786" y="686"/>
                  </a:lnTo>
                  <a:lnTo>
                    <a:pt x="766" y="663"/>
                  </a:lnTo>
                  <a:lnTo>
                    <a:pt x="762" y="659"/>
                  </a:lnTo>
                  <a:lnTo>
                    <a:pt x="758" y="656"/>
                  </a:lnTo>
                  <a:lnTo>
                    <a:pt x="750" y="654"/>
                  </a:lnTo>
                  <a:lnTo>
                    <a:pt x="693" y="640"/>
                  </a:lnTo>
                  <a:lnTo>
                    <a:pt x="689" y="640"/>
                  </a:lnTo>
                  <a:lnTo>
                    <a:pt x="670" y="641"/>
                  </a:lnTo>
                  <a:lnTo>
                    <a:pt x="651" y="647"/>
                  </a:lnTo>
                  <a:lnTo>
                    <a:pt x="647" y="647"/>
                  </a:lnTo>
                  <a:lnTo>
                    <a:pt x="642" y="647"/>
                  </a:lnTo>
                  <a:lnTo>
                    <a:pt x="636" y="646"/>
                  </a:lnTo>
                  <a:lnTo>
                    <a:pt x="595" y="632"/>
                  </a:lnTo>
                  <a:lnTo>
                    <a:pt x="590" y="632"/>
                  </a:lnTo>
                  <a:lnTo>
                    <a:pt x="583" y="632"/>
                  </a:lnTo>
                  <a:lnTo>
                    <a:pt x="571" y="632"/>
                  </a:lnTo>
                  <a:lnTo>
                    <a:pt x="482" y="654"/>
                  </a:lnTo>
                  <a:lnTo>
                    <a:pt x="478" y="654"/>
                  </a:lnTo>
                  <a:lnTo>
                    <a:pt x="468" y="651"/>
                  </a:lnTo>
                  <a:lnTo>
                    <a:pt x="450" y="643"/>
                  </a:lnTo>
                  <a:lnTo>
                    <a:pt x="473" y="619"/>
                  </a:lnTo>
                  <a:lnTo>
                    <a:pt x="476" y="615"/>
                  </a:lnTo>
                  <a:lnTo>
                    <a:pt x="477" y="611"/>
                  </a:lnTo>
                  <a:lnTo>
                    <a:pt x="478" y="608"/>
                  </a:lnTo>
                  <a:lnTo>
                    <a:pt x="482" y="544"/>
                  </a:lnTo>
                  <a:lnTo>
                    <a:pt x="483" y="540"/>
                  </a:lnTo>
                  <a:lnTo>
                    <a:pt x="484" y="535"/>
                  </a:lnTo>
                  <a:lnTo>
                    <a:pt x="487" y="532"/>
                  </a:lnTo>
                  <a:lnTo>
                    <a:pt x="490" y="527"/>
                  </a:lnTo>
                  <a:lnTo>
                    <a:pt x="494" y="524"/>
                  </a:lnTo>
                  <a:lnTo>
                    <a:pt x="512" y="510"/>
                  </a:lnTo>
                  <a:lnTo>
                    <a:pt x="652" y="422"/>
                  </a:lnTo>
                  <a:lnTo>
                    <a:pt x="666" y="411"/>
                  </a:lnTo>
                  <a:lnTo>
                    <a:pt x="673" y="403"/>
                  </a:lnTo>
                  <a:lnTo>
                    <a:pt x="676" y="399"/>
                  </a:lnTo>
                  <a:lnTo>
                    <a:pt x="678" y="396"/>
                  </a:lnTo>
                  <a:lnTo>
                    <a:pt x="676" y="391"/>
                  </a:lnTo>
                  <a:lnTo>
                    <a:pt x="673" y="388"/>
                  </a:lnTo>
                  <a:lnTo>
                    <a:pt x="648" y="368"/>
                  </a:lnTo>
                  <a:lnTo>
                    <a:pt x="640" y="360"/>
                  </a:lnTo>
                  <a:lnTo>
                    <a:pt x="637" y="356"/>
                  </a:lnTo>
                  <a:lnTo>
                    <a:pt x="632" y="348"/>
                  </a:lnTo>
                  <a:lnTo>
                    <a:pt x="625" y="330"/>
                  </a:lnTo>
                  <a:lnTo>
                    <a:pt x="622" y="327"/>
                  </a:lnTo>
                  <a:lnTo>
                    <a:pt x="617" y="321"/>
                  </a:lnTo>
                  <a:lnTo>
                    <a:pt x="615" y="318"/>
                  </a:lnTo>
                  <a:lnTo>
                    <a:pt x="609" y="314"/>
                  </a:lnTo>
                  <a:lnTo>
                    <a:pt x="603" y="313"/>
                  </a:lnTo>
                  <a:lnTo>
                    <a:pt x="584" y="309"/>
                  </a:lnTo>
                  <a:lnTo>
                    <a:pt x="570" y="309"/>
                  </a:lnTo>
                  <a:lnTo>
                    <a:pt x="561" y="308"/>
                  </a:lnTo>
                  <a:lnTo>
                    <a:pt x="556" y="306"/>
                  </a:lnTo>
                  <a:lnTo>
                    <a:pt x="550" y="304"/>
                  </a:lnTo>
                  <a:lnTo>
                    <a:pt x="518" y="277"/>
                  </a:lnTo>
                  <a:lnTo>
                    <a:pt x="512" y="275"/>
                  </a:lnTo>
                  <a:lnTo>
                    <a:pt x="505" y="273"/>
                  </a:lnTo>
                  <a:lnTo>
                    <a:pt x="489" y="273"/>
                  </a:lnTo>
                  <a:lnTo>
                    <a:pt x="479" y="274"/>
                  </a:lnTo>
                  <a:lnTo>
                    <a:pt x="388" y="272"/>
                  </a:lnTo>
                  <a:lnTo>
                    <a:pt x="372" y="268"/>
                  </a:lnTo>
                  <a:lnTo>
                    <a:pt x="367" y="267"/>
                  </a:lnTo>
                  <a:lnTo>
                    <a:pt x="362" y="264"/>
                  </a:lnTo>
                  <a:lnTo>
                    <a:pt x="350" y="252"/>
                  </a:lnTo>
                  <a:lnTo>
                    <a:pt x="346" y="250"/>
                  </a:lnTo>
                  <a:lnTo>
                    <a:pt x="342" y="247"/>
                  </a:lnTo>
                  <a:lnTo>
                    <a:pt x="337" y="246"/>
                  </a:lnTo>
                  <a:lnTo>
                    <a:pt x="223" y="229"/>
                  </a:lnTo>
                  <a:lnTo>
                    <a:pt x="201" y="228"/>
                  </a:lnTo>
                  <a:lnTo>
                    <a:pt x="150" y="236"/>
                  </a:lnTo>
                  <a:lnTo>
                    <a:pt x="76" y="244"/>
                  </a:lnTo>
                  <a:lnTo>
                    <a:pt x="67" y="243"/>
                  </a:lnTo>
                  <a:lnTo>
                    <a:pt x="60" y="241"/>
                  </a:lnTo>
                  <a:lnTo>
                    <a:pt x="56" y="239"/>
                  </a:lnTo>
                  <a:lnTo>
                    <a:pt x="53" y="237"/>
                  </a:lnTo>
                  <a:lnTo>
                    <a:pt x="49" y="234"/>
                  </a:lnTo>
                  <a:lnTo>
                    <a:pt x="45" y="230"/>
                  </a:lnTo>
                  <a:lnTo>
                    <a:pt x="40" y="221"/>
                  </a:lnTo>
                  <a:lnTo>
                    <a:pt x="37" y="214"/>
                  </a:lnTo>
                  <a:lnTo>
                    <a:pt x="32" y="205"/>
                  </a:lnTo>
                  <a:lnTo>
                    <a:pt x="26" y="198"/>
                  </a:lnTo>
                  <a:lnTo>
                    <a:pt x="22" y="192"/>
                  </a:lnTo>
                  <a:lnTo>
                    <a:pt x="7" y="182"/>
                  </a:lnTo>
                  <a:lnTo>
                    <a:pt x="5" y="178"/>
                  </a:lnTo>
                  <a:lnTo>
                    <a:pt x="3" y="175"/>
                  </a:lnTo>
                  <a:lnTo>
                    <a:pt x="3" y="173"/>
                  </a:lnTo>
                  <a:lnTo>
                    <a:pt x="1" y="166"/>
                  </a:lnTo>
                  <a:lnTo>
                    <a:pt x="0" y="154"/>
                  </a:lnTo>
                  <a:lnTo>
                    <a:pt x="1" y="147"/>
                  </a:lnTo>
                  <a:lnTo>
                    <a:pt x="22" y="72"/>
                  </a:lnTo>
                  <a:lnTo>
                    <a:pt x="91" y="53"/>
                  </a:lnTo>
                  <a:lnTo>
                    <a:pt x="185" y="24"/>
                  </a:lnTo>
                  <a:lnTo>
                    <a:pt x="191" y="23"/>
                  </a:lnTo>
                  <a:lnTo>
                    <a:pt x="211" y="3"/>
                  </a:lnTo>
                  <a:lnTo>
                    <a:pt x="214" y="0"/>
                  </a:lnTo>
                  <a:lnTo>
                    <a:pt x="218" y="0"/>
                  </a:lnTo>
                  <a:lnTo>
                    <a:pt x="250" y="5"/>
                  </a:lnTo>
                  <a:lnTo>
                    <a:pt x="316" y="16"/>
                  </a:lnTo>
                  <a:lnTo>
                    <a:pt x="363" y="24"/>
                  </a:lnTo>
                  <a:lnTo>
                    <a:pt x="421" y="36"/>
                  </a:lnTo>
                  <a:lnTo>
                    <a:pt x="429" y="39"/>
                  </a:lnTo>
                  <a:lnTo>
                    <a:pt x="439" y="45"/>
                  </a:lnTo>
                  <a:lnTo>
                    <a:pt x="471" y="64"/>
                  </a:lnTo>
                  <a:lnTo>
                    <a:pt x="485" y="73"/>
                  </a:lnTo>
                  <a:lnTo>
                    <a:pt x="515" y="91"/>
                  </a:lnTo>
                  <a:lnTo>
                    <a:pt x="558" y="116"/>
                  </a:lnTo>
                  <a:lnTo>
                    <a:pt x="602" y="143"/>
                  </a:lnTo>
                  <a:lnTo>
                    <a:pt x="662" y="178"/>
                  </a:lnTo>
                  <a:lnTo>
                    <a:pt x="706" y="205"/>
                  </a:lnTo>
                  <a:lnTo>
                    <a:pt x="716" y="214"/>
                  </a:lnTo>
                  <a:lnTo>
                    <a:pt x="759" y="252"/>
                  </a:lnTo>
                  <a:lnTo>
                    <a:pt x="773" y="264"/>
                  </a:lnTo>
                  <a:lnTo>
                    <a:pt x="821" y="305"/>
                  </a:lnTo>
                  <a:lnTo>
                    <a:pt x="836" y="319"/>
                  </a:lnTo>
                  <a:lnTo>
                    <a:pt x="869" y="345"/>
                  </a:lnTo>
                  <a:lnTo>
                    <a:pt x="898" y="370"/>
                  </a:lnTo>
                  <a:lnTo>
                    <a:pt x="933" y="397"/>
                  </a:lnTo>
                  <a:lnTo>
                    <a:pt x="990" y="444"/>
                  </a:lnTo>
                  <a:lnTo>
                    <a:pt x="1009" y="460"/>
                  </a:lnTo>
                  <a:lnTo>
                    <a:pt x="1067" y="507"/>
                  </a:lnTo>
                  <a:lnTo>
                    <a:pt x="1099" y="533"/>
                  </a:lnTo>
                  <a:lnTo>
                    <a:pt x="1114" y="546"/>
                  </a:lnTo>
                  <a:lnTo>
                    <a:pt x="1130" y="558"/>
                  </a:lnTo>
                  <a:lnTo>
                    <a:pt x="1144" y="569"/>
                  </a:lnTo>
                  <a:lnTo>
                    <a:pt x="1147" y="571"/>
                  </a:lnTo>
                  <a:lnTo>
                    <a:pt x="1250" y="579"/>
                  </a:lnTo>
                  <a:lnTo>
                    <a:pt x="1267" y="581"/>
                  </a:lnTo>
                  <a:lnTo>
                    <a:pt x="1422" y="595"/>
                  </a:lnTo>
                  <a:lnTo>
                    <a:pt x="1433" y="593"/>
                  </a:lnTo>
                  <a:lnTo>
                    <a:pt x="1433" y="593"/>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98" name="Freeform 14">
              <a:extLst>
                <a:ext uri="{FF2B5EF4-FFF2-40B4-BE49-F238E27FC236}"/>
              </a:extLst>
            </p:cNvPr>
            <p:cNvSpPr>
              <a:spLocks/>
            </p:cNvSpPr>
            <p:nvPr/>
          </p:nvSpPr>
          <p:spPr bwMode="auto">
            <a:xfrm>
              <a:off x="1765300" y="1965325"/>
              <a:ext cx="1881188" cy="1111250"/>
            </a:xfrm>
            <a:custGeom>
              <a:avLst/>
              <a:gdLst>
                <a:gd name="T0" fmla="*/ 879 w 1185"/>
                <a:gd name="T1" fmla="*/ 595 h 700"/>
                <a:gd name="T2" fmla="*/ 720 w 1185"/>
                <a:gd name="T3" fmla="*/ 672 h 700"/>
                <a:gd name="T4" fmla="*/ 689 w 1185"/>
                <a:gd name="T5" fmla="*/ 688 h 700"/>
                <a:gd name="T6" fmla="*/ 672 w 1185"/>
                <a:gd name="T7" fmla="*/ 690 h 700"/>
                <a:gd name="T8" fmla="*/ 642 w 1185"/>
                <a:gd name="T9" fmla="*/ 700 h 700"/>
                <a:gd name="T10" fmla="*/ 623 w 1185"/>
                <a:gd name="T11" fmla="*/ 683 h 700"/>
                <a:gd name="T12" fmla="*/ 607 w 1185"/>
                <a:gd name="T13" fmla="*/ 677 h 700"/>
                <a:gd name="T14" fmla="*/ 586 w 1185"/>
                <a:gd name="T15" fmla="*/ 683 h 700"/>
                <a:gd name="T16" fmla="*/ 515 w 1185"/>
                <a:gd name="T17" fmla="*/ 667 h 700"/>
                <a:gd name="T18" fmla="*/ 497 w 1185"/>
                <a:gd name="T19" fmla="*/ 645 h 700"/>
                <a:gd name="T20" fmla="*/ 491 w 1185"/>
                <a:gd name="T21" fmla="*/ 603 h 700"/>
                <a:gd name="T22" fmla="*/ 487 w 1185"/>
                <a:gd name="T23" fmla="*/ 562 h 700"/>
                <a:gd name="T24" fmla="*/ 458 w 1185"/>
                <a:gd name="T25" fmla="*/ 580 h 700"/>
                <a:gd name="T26" fmla="*/ 444 w 1185"/>
                <a:gd name="T27" fmla="*/ 608 h 700"/>
                <a:gd name="T28" fmla="*/ 431 w 1185"/>
                <a:gd name="T29" fmla="*/ 618 h 700"/>
                <a:gd name="T30" fmla="*/ 353 w 1185"/>
                <a:gd name="T31" fmla="*/ 604 h 700"/>
                <a:gd name="T32" fmla="*/ 278 w 1185"/>
                <a:gd name="T33" fmla="*/ 620 h 700"/>
                <a:gd name="T34" fmla="*/ 265 w 1185"/>
                <a:gd name="T35" fmla="*/ 615 h 700"/>
                <a:gd name="T36" fmla="*/ 205 w 1185"/>
                <a:gd name="T37" fmla="*/ 546 h 700"/>
                <a:gd name="T38" fmla="*/ 126 w 1185"/>
                <a:gd name="T39" fmla="*/ 543 h 700"/>
                <a:gd name="T40" fmla="*/ 73 w 1185"/>
                <a:gd name="T41" fmla="*/ 560 h 700"/>
                <a:gd name="T42" fmla="*/ 28 w 1185"/>
                <a:gd name="T43" fmla="*/ 557 h 700"/>
                <a:gd name="T44" fmla="*/ 3 w 1185"/>
                <a:gd name="T45" fmla="*/ 557 h 700"/>
                <a:gd name="T46" fmla="*/ 5 w 1185"/>
                <a:gd name="T47" fmla="*/ 543 h 700"/>
                <a:gd name="T48" fmla="*/ 6 w 1185"/>
                <a:gd name="T49" fmla="*/ 523 h 700"/>
                <a:gd name="T50" fmla="*/ 14 w 1185"/>
                <a:gd name="T51" fmla="*/ 495 h 700"/>
                <a:gd name="T52" fmla="*/ 19 w 1185"/>
                <a:gd name="T53" fmla="*/ 488 h 700"/>
                <a:gd name="T54" fmla="*/ 20 w 1185"/>
                <a:gd name="T55" fmla="*/ 478 h 700"/>
                <a:gd name="T56" fmla="*/ 20 w 1185"/>
                <a:gd name="T57" fmla="*/ 471 h 700"/>
                <a:gd name="T58" fmla="*/ 108 w 1185"/>
                <a:gd name="T59" fmla="*/ 484 h 700"/>
                <a:gd name="T60" fmla="*/ 204 w 1185"/>
                <a:gd name="T61" fmla="*/ 499 h 700"/>
                <a:gd name="T62" fmla="*/ 305 w 1185"/>
                <a:gd name="T63" fmla="*/ 392 h 700"/>
                <a:gd name="T64" fmla="*/ 352 w 1185"/>
                <a:gd name="T65" fmla="*/ 362 h 700"/>
                <a:gd name="T66" fmla="*/ 454 w 1185"/>
                <a:gd name="T67" fmla="*/ 323 h 700"/>
                <a:gd name="T68" fmla="*/ 476 w 1185"/>
                <a:gd name="T69" fmla="*/ 276 h 700"/>
                <a:gd name="T70" fmla="*/ 483 w 1185"/>
                <a:gd name="T71" fmla="*/ 193 h 700"/>
                <a:gd name="T72" fmla="*/ 357 w 1185"/>
                <a:gd name="T73" fmla="*/ 52 h 700"/>
                <a:gd name="T74" fmla="*/ 508 w 1185"/>
                <a:gd name="T75" fmla="*/ 75 h 700"/>
                <a:gd name="T76" fmla="*/ 510 w 1185"/>
                <a:gd name="T77" fmla="*/ 103 h 700"/>
                <a:gd name="T78" fmla="*/ 533 w 1185"/>
                <a:gd name="T79" fmla="*/ 126 h 700"/>
                <a:gd name="T80" fmla="*/ 552 w 1185"/>
                <a:gd name="T81" fmla="*/ 158 h 700"/>
                <a:gd name="T82" fmla="*/ 567 w 1185"/>
                <a:gd name="T83" fmla="*/ 169 h 700"/>
                <a:gd name="T84" fmla="*/ 708 w 1185"/>
                <a:gd name="T85" fmla="*/ 156 h 700"/>
                <a:gd name="T86" fmla="*/ 853 w 1185"/>
                <a:gd name="T87" fmla="*/ 178 h 700"/>
                <a:gd name="T88" fmla="*/ 879 w 1185"/>
                <a:gd name="T89" fmla="*/ 196 h 700"/>
                <a:gd name="T90" fmla="*/ 1012 w 1185"/>
                <a:gd name="T91" fmla="*/ 201 h 700"/>
                <a:gd name="T92" fmla="*/ 1063 w 1185"/>
                <a:gd name="T93" fmla="*/ 234 h 700"/>
                <a:gd name="T94" fmla="*/ 1110 w 1185"/>
                <a:gd name="T95" fmla="*/ 241 h 700"/>
                <a:gd name="T96" fmla="*/ 1129 w 1185"/>
                <a:gd name="T97" fmla="*/ 255 h 700"/>
                <a:gd name="T98" fmla="*/ 1147 w 1185"/>
                <a:gd name="T99" fmla="*/ 288 h 700"/>
                <a:gd name="T100" fmla="*/ 1185 w 1185"/>
                <a:gd name="T101" fmla="*/ 324 h 700"/>
                <a:gd name="T102" fmla="*/ 1159 w 1185"/>
                <a:gd name="T103" fmla="*/ 350 h 700"/>
                <a:gd name="T104" fmla="*/ 994 w 1185"/>
                <a:gd name="T105" fmla="*/ 460 h 700"/>
                <a:gd name="T106" fmla="*/ 985 w 1185"/>
                <a:gd name="T107" fmla="*/ 536 h 700"/>
                <a:gd name="T108" fmla="*/ 957 w 1185"/>
                <a:gd name="T109" fmla="*/ 57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5" h="700">
                  <a:moveTo>
                    <a:pt x="957" y="571"/>
                  </a:moveTo>
                  <a:lnTo>
                    <a:pt x="946" y="568"/>
                  </a:lnTo>
                  <a:lnTo>
                    <a:pt x="943" y="568"/>
                  </a:lnTo>
                  <a:lnTo>
                    <a:pt x="879" y="595"/>
                  </a:lnTo>
                  <a:lnTo>
                    <a:pt x="817" y="630"/>
                  </a:lnTo>
                  <a:lnTo>
                    <a:pt x="787" y="638"/>
                  </a:lnTo>
                  <a:lnTo>
                    <a:pt x="725" y="669"/>
                  </a:lnTo>
                  <a:lnTo>
                    <a:pt x="720" y="672"/>
                  </a:lnTo>
                  <a:lnTo>
                    <a:pt x="717" y="675"/>
                  </a:lnTo>
                  <a:lnTo>
                    <a:pt x="698" y="695"/>
                  </a:lnTo>
                  <a:lnTo>
                    <a:pt x="692" y="690"/>
                  </a:lnTo>
                  <a:lnTo>
                    <a:pt x="689" y="688"/>
                  </a:lnTo>
                  <a:lnTo>
                    <a:pt x="687" y="687"/>
                  </a:lnTo>
                  <a:lnTo>
                    <a:pt x="682" y="687"/>
                  </a:lnTo>
                  <a:lnTo>
                    <a:pt x="676" y="688"/>
                  </a:lnTo>
                  <a:lnTo>
                    <a:pt x="672" y="690"/>
                  </a:lnTo>
                  <a:lnTo>
                    <a:pt x="654" y="698"/>
                  </a:lnTo>
                  <a:lnTo>
                    <a:pt x="650" y="700"/>
                  </a:lnTo>
                  <a:lnTo>
                    <a:pt x="646" y="700"/>
                  </a:lnTo>
                  <a:lnTo>
                    <a:pt x="642" y="700"/>
                  </a:lnTo>
                  <a:lnTo>
                    <a:pt x="638" y="698"/>
                  </a:lnTo>
                  <a:lnTo>
                    <a:pt x="635" y="695"/>
                  </a:lnTo>
                  <a:lnTo>
                    <a:pt x="630" y="683"/>
                  </a:lnTo>
                  <a:lnTo>
                    <a:pt x="623" y="683"/>
                  </a:lnTo>
                  <a:lnTo>
                    <a:pt x="620" y="683"/>
                  </a:lnTo>
                  <a:lnTo>
                    <a:pt x="617" y="682"/>
                  </a:lnTo>
                  <a:lnTo>
                    <a:pt x="611" y="678"/>
                  </a:lnTo>
                  <a:lnTo>
                    <a:pt x="607" y="677"/>
                  </a:lnTo>
                  <a:lnTo>
                    <a:pt x="602" y="679"/>
                  </a:lnTo>
                  <a:lnTo>
                    <a:pt x="598" y="681"/>
                  </a:lnTo>
                  <a:lnTo>
                    <a:pt x="591" y="682"/>
                  </a:lnTo>
                  <a:lnTo>
                    <a:pt x="586" y="683"/>
                  </a:lnTo>
                  <a:lnTo>
                    <a:pt x="552" y="680"/>
                  </a:lnTo>
                  <a:lnTo>
                    <a:pt x="542" y="677"/>
                  </a:lnTo>
                  <a:lnTo>
                    <a:pt x="523" y="671"/>
                  </a:lnTo>
                  <a:lnTo>
                    <a:pt x="515" y="667"/>
                  </a:lnTo>
                  <a:lnTo>
                    <a:pt x="505" y="658"/>
                  </a:lnTo>
                  <a:lnTo>
                    <a:pt x="501" y="654"/>
                  </a:lnTo>
                  <a:lnTo>
                    <a:pt x="500" y="650"/>
                  </a:lnTo>
                  <a:lnTo>
                    <a:pt x="497" y="645"/>
                  </a:lnTo>
                  <a:lnTo>
                    <a:pt x="494" y="639"/>
                  </a:lnTo>
                  <a:lnTo>
                    <a:pt x="492" y="631"/>
                  </a:lnTo>
                  <a:lnTo>
                    <a:pt x="492" y="621"/>
                  </a:lnTo>
                  <a:lnTo>
                    <a:pt x="491" y="603"/>
                  </a:lnTo>
                  <a:lnTo>
                    <a:pt x="492" y="573"/>
                  </a:lnTo>
                  <a:lnTo>
                    <a:pt x="492" y="568"/>
                  </a:lnTo>
                  <a:lnTo>
                    <a:pt x="490" y="564"/>
                  </a:lnTo>
                  <a:lnTo>
                    <a:pt x="487" y="562"/>
                  </a:lnTo>
                  <a:lnTo>
                    <a:pt x="484" y="561"/>
                  </a:lnTo>
                  <a:lnTo>
                    <a:pt x="480" y="562"/>
                  </a:lnTo>
                  <a:lnTo>
                    <a:pt x="470" y="573"/>
                  </a:lnTo>
                  <a:lnTo>
                    <a:pt x="458" y="580"/>
                  </a:lnTo>
                  <a:lnTo>
                    <a:pt x="455" y="583"/>
                  </a:lnTo>
                  <a:lnTo>
                    <a:pt x="452" y="586"/>
                  </a:lnTo>
                  <a:lnTo>
                    <a:pt x="450" y="591"/>
                  </a:lnTo>
                  <a:lnTo>
                    <a:pt x="444" y="608"/>
                  </a:lnTo>
                  <a:lnTo>
                    <a:pt x="441" y="612"/>
                  </a:lnTo>
                  <a:lnTo>
                    <a:pt x="439" y="615"/>
                  </a:lnTo>
                  <a:lnTo>
                    <a:pt x="435" y="617"/>
                  </a:lnTo>
                  <a:lnTo>
                    <a:pt x="431" y="618"/>
                  </a:lnTo>
                  <a:lnTo>
                    <a:pt x="402" y="616"/>
                  </a:lnTo>
                  <a:lnTo>
                    <a:pt x="387" y="614"/>
                  </a:lnTo>
                  <a:lnTo>
                    <a:pt x="362" y="605"/>
                  </a:lnTo>
                  <a:lnTo>
                    <a:pt x="353" y="604"/>
                  </a:lnTo>
                  <a:lnTo>
                    <a:pt x="339" y="604"/>
                  </a:lnTo>
                  <a:lnTo>
                    <a:pt x="299" y="613"/>
                  </a:lnTo>
                  <a:lnTo>
                    <a:pt x="281" y="620"/>
                  </a:lnTo>
                  <a:lnTo>
                    <a:pt x="278" y="620"/>
                  </a:lnTo>
                  <a:lnTo>
                    <a:pt x="274" y="620"/>
                  </a:lnTo>
                  <a:lnTo>
                    <a:pt x="267" y="617"/>
                  </a:lnTo>
                  <a:lnTo>
                    <a:pt x="266" y="616"/>
                  </a:lnTo>
                  <a:lnTo>
                    <a:pt x="265" y="615"/>
                  </a:lnTo>
                  <a:lnTo>
                    <a:pt x="221" y="559"/>
                  </a:lnTo>
                  <a:lnTo>
                    <a:pt x="216" y="553"/>
                  </a:lnTo>
                  <a:lnTo>
                    <a:pt x="209" y="549"/>
                  </a:lnTo>
                  <a:lnTo>
                    <a:pt x="205" y="546"/>
                  </a:lnTo>
                  <a:lnTo>
                    <a:pt x="172" y="538"/>
                  </a:lnTo>
                  <a:lnTo>
                    <a:pt x="161" y="538"/>
                  </a:lnTo>
                  <a:lnTo>
                    <a:pt x="148" y="541"/>
                  </a:lnTo>
                  <a:lnTo>
                    <a:pt x="126" y="543"/>
                  </a:lnTo>
                  <a:lnTo>
                    <a:pt x="92" y="549"/>
                  </a:lnTo>
                  <a:lnTo>
                    <a:pt x="85" y="552"/>
                  </a:lnTo>
                  <a:lnTo>
                    <a:pt x="78" y="554"/>
                  </a:lnTo>
                  <a:lnTo>
                    <a:pt x="73" y="560"/>
                  </a:lnTo>
                  <a:lnTo>
                    <a:pt x="70" y="561"/>
                  </a:lnTo>
                  <a:lnTo>
                    <a:pt x="66" y="562"/>
                  </a:lnTo>
                  <a:lnTo>
                    <a:pt x="42" y="560"/>
                  </a:lnTo>
                  <a:lnTo>
                    <a:pt x="28" y="557"/>
                  </a:lnTo>
                  <a:lnTo>
                    <a:pt x="23" y="556"/>
                  </a:lnTo>
                  <a:lnTo>
                    <a:pt x="17" y="557"/>
                  </a:lnTo>
                  <a:lnTo>
                    <a:pt x="3" y="558"/>
                  </a:lnTo>
                  <a:lnTo>
                    <a:pt x="3" y="557"/>
                  </a:lnTo>
                  <a:lnTo>
                    <a:pt x="0" y="556"/>
                  </a:lnTo>
                  <a:lnTo>
                    <a:pt x="0" y="555"/>
                  </a:lnTo>
                  <a:lnTo>
                    <a:pt x="3" y="551"/>
                  </a:lnTo>
                  <a:lnTo>
                    <a:pt x="5" y="543"/>
                  </a:lnTo>
                  <a:lnTo>
                    <a:pt x="6" y="534"/>
                  </a:lnTo>
                  <a:lnTo>
                    <a:pt x="4" y="530"/>
                  </a:lnTo>
                  <a:lnTo>
                    <a:pt x="4" y="527"/>
                  </a:lnTo>
                  <a:lnTo>
                    <a:pt x="6" y="523"/>
                  </a:lnTo>
                  <a:lnTo>
                    <a:pt x="8" y="519"/>
                  </a:lnTo>
                  <a:lnTo>
                    <a:pt x="11" y="502"/>
                  </a:lnTo>
                  <a:lnTo>
                    <a:pt x="12" y="500"/>
                  </a:lnTo>
                  <a:lnTo>
                    <a:pt x="14" y="495"/>
                  </a:lnTo>
                  <a:lnTo>
                    <a:pt x="14" y="494"/>
                  </a:lnTo>
                  <a:lnTo>
                    <a:pt x="14" y="492"/>
                  </a:lnTo>
                  <a:lnTo>
                    <a:pt x="16" y="490"/>
                  </a:lnTo>
                  <a:lnTo>
                    <a:pt x="19" y="488"/>
                  </a:lnTo>
                  <a:lnTo>
                    <a:pt x="18" y="484"/>
                  </a:lnTo>
                  <a:lnTo>
                    <a:pt x="18" y="480"/>
                  </a:lnTo>
                  <a:lnTo>
                    <a:pt x="18" y="477"/>
                  </a:lnTo>
                  <a:lnTo>
                    <a:pt x="20" y="478"/>
                  </a:lnTo>
                  <a:lnTo>
                    <a:pt x="21" y="477"/>
                  </a:lnTo>
                  <a:lnTo>
                    <a:pt x="21" y="477"/>
                  </a:lnTo>
                  <a:lnTo>
                    <a:pt x="20" y="474"/>
                  </a:lnTo>
                  <a:lnTo>
                    <a:pt x="20" y="471"/>
                  </a:lnTo>
                  <a:lnTo>
                    <a:pt x="20" y="469"/>
                  </a:lnTo>
                  <a:lnTo>
                    <a:pt x="39" y="471"/>
                  </a:lnTo>
                  <a:lnTo>
                    <a:pt x="59" y="475"/>
                  </a:lnTo>
                  <a:lnTo>
                    <a:pt x="108" y="484"/>
                  </a:lnTo>
                  <a:lnTo>
                    <a:pt x="133" y="488"/>
                  </a:lnTo>
                  <a:lnTo>
                    <a:pt x="162" y="493"/>
                  </a:lnTo>
                  <a:lnTo>
                    <a:pt x="199" y="500"/>
                  </a:lnTo>
                  <a:lnTo>
                    <a:pt x="204" y="499"/>
                  </a:lnTo>
                  <a:lnTo>
                    <a:pt x="208" y="497"/>
                  </a:lnTo>
                  <a:lnTo>
                    <a:pt x="226" y="483"/>
                  </a:lnTo>
                  <a:lnTo>
                    <a:pt x="276" y="440"/>
                  </a:lnTo>
                  <a:lnTo>
                    <a:pt x="305" y="392"/>
                  </a:lnTo>
                  <a:lnTo>
                    <a:pt x="314" y="376"/>
                  </a:lnTo>
                  <a:lnTo>
                    <a:pt x="318" y="371"/>
                  </a:lnTo>
                  <a:lnTo>
                    <a:pt x="323" y="369"/>
                  </a:lnTo>
                  <a:lnTo>
                    <a:pt x="352" y="362"/>
                  </a:lnTo>
                  <a:lnTo>
                    <a:pt x="401" y="353"/>
                  </a:lnTo>
                  <a:lnTo>
                    <a:pt x="442" y="344"/>
                  </a:lnTo>
                  <a:lnTo>
                    <a:pt x="446" y="341"/>
                  </a:lnTo>
                  <a:lnTo>
                    <a:pt x="454" y="323"/>
                  </a:lnTo>
                  <a:lnTo>
                    <a:pt x="465" y="294"/>
                  </a:lnTo>
                  <a:lnTo>
                    <a:pt x="470" y="282"/>
                  </a:lnTo>
                  <a:lnTo>
                    <a:pt x="472" y="279"/>
                  </a:lnTo>
                  <a:lnTo>
                    <a:pt x="476" y="276"/>
                  </a:lnTo>
                  <a:lnTo>
                    <a:pt x="514" y="254"/>
                  </a:lnTo>
                  <a:lnTo>
                    <a:pt x="526" y="247"/>
                  </a:lnTo>
                  <a:lnTo>
                    <a:pt x="528" y="246"/>
                  </a:lnTo>
                  <a:lnTo>
                    <a:pt x="483" y="193"/>
                  </a:lnTo>
                  <a:lnTo>
                    <a:pt x="464" y="172"/>
                  </a:lnTo>
                  <a:lnTo>
                    <a:pt x="444" y="147"/>
                  </a:lnTo>
                  <a:lnTo>
                    <a:pt x="401" y="99"/>
                  </a:lnTo>
                  <a:lnTo>
                    <a:pt x="357" y="52"/>
                  </a:lnTo>
                  <a:lnTo>
                    <a:pt x="439" y="27"/>
                  </a:lnTo>
                  <a:lnTo>
                    <a:pt x="522" y="2"/>
                  </a:lnTo>
                  <a:lnTo>
                    <a:pt x="529" y="0"/>
                  </a:lnTo>
                  <a:lnTo>
                    <a:pt x="508" y="75"/>
                  </a:lnTo>
                  <a:lnTo>
                    <a:pt x="507" y="82"/>
                  </a:lnTo>
                  <a:lnTo>
                    <a:pt x="508" y="94"/>
                  </a:lnTo>
                  <a:lnTo>
                    <a:pt x="510" y="101"/>
                  </a:lnTo>
                  <a:lnTo>
                    <a:pt x="510" y="103"/>
                  </a:lnTo>
                  <a:lnTo>
                    <a:pt x="512" y="106"/>
                  </a:lnTo>
                  <a:lnTo>
                    <a:pt x="514" y="110"/>
                  </a:lnTo>
                  <a:lnTo>
                    <a:pt x="529" y="120"/>
                  </a:lnTo>
                  <a:lnTo>
                    <a:pt x="533" y="126"/>
                  </a:lnTo>
                  <a:lnTo>
                    <a:pt x="539" y="133"/>
                  </a:lnTo>
                  <a:lnTo>
                    <a:pt x="544" y="142"/>
                  </a:lnTo>
                  <a:lnTo>
                    <a:pt x="547" y="149"/>
                  </a:lnTo>
                  <a:lnTo>
                    <a:pt x="552" y="158"/>
                  </a:lnTo>
                  <a:lnTo>
                    <a:pt x="556" y="162"/>
                  </a:lnTo>
                  <a:lnTo>
                    <a:pt x="560" y="165"/>
                  </a:lnTo>
                  <a:lnTo>
                    <a:pt x="563" y="167"/>
                  </a:lnTo>
                  <a:lnTo>
                    <a:pt x="567" y="169"/>
                  </a:lnTo>
                  <a:lnTo>
                    <a:pt x="574" y="171"/>
                  </a:lnTo>
                  <a:lnTo>
                    <a:pt x="583" y="172"/>
                  </a:lnTo>
                  <a:lnTo>
                    <a:pt x="657" y="164"/>
                  </a:lnTo>
                  <a:lnTo>
                    <a:pt x="708" y="156"/>
                  </a:lnTo>
                  <a:lnTo>
                    <a:pt x="730" y="157"/>
                  </a:lnTo>
                  <a:lnTo>
                    <a:pt x="844" y="174"/>
                  </a:lnTo>
                  <a:lnTo>
                    <a:pt x="849" y="175"/>
                  </a:lnTo>
                  <a:lnTo>
                    <a:pt x="853" y="178"/>
                  </a:lnTo>
                  <a:lnTo>
                    <a:pt x="857" y="180"/>
                  </a:lnTo>
                  <a:lnTo>
                    <a:pt x="869" y="192"/>
                  </a:lnTo>
                  <a:lnTo>
                    <a:pt x="874" y="195"/>
                  </a:lnTo>
                  <a:lnTo>
                    <a:pt x="879" y="196"/>
                  </a:lnTo>
                  <a:lnTo>
                    <a:pt x="895" y="200"/>
                  </a:lnTo>
                  <a:lnTo>
                    <a:pt x="986" y="202"/>
                  </a:lnTo>
                  <a:lnTo>
                    <a:pt x="996" y="201"/>
                  </a:lnTo>
                  <a:lnTo>
                    <a:pt x="1012" y="201"/>
                  </a:lnTo>
                  <a:lnTo>
                    <a:pt x="1019" y="203"/>
                  </a:lnTo>
                  <a:lnTo>
                    <a:pt x="1025" y="205"/>
                  </a:lnTo>
                  <a:lnTo>
                    <a:pt x="1057" y="232"/>
                  </a:lnTo>
                  <a:lnTo>
                    <a:pt x="1063" y="234"/>
                  </a:lnTo>
                  <a:lnTo>
                    <a:pt x="1068" y="236"/>
                  </a:lnTo>
                  <a:lnTo>
                    <a:pt x="1077" y="237"/>
                  </a:lnTo>
                  <a:lnTo>
                    <a:pt x="1091" y="237"/>
                  </a:lnTo>
                  <a:lnTo>
                    <a:pt x="1110" y="241"/>
                  </a:lnTo>
                  <a:lnTo>
                    <a:pt x="1116" y="242"/>
                  </a:lnTo>
                  <a:lnTo>
                    <a:pt x="1122" y="246"/>
                  </a:lnTo>
                  <a:lnTo>
                    <a:pt x="1124" y="249"/>
                  </a:lnTo>
                  <a:lnTo>
                    <a:pt x="1129" y="255"/>
                  </a:lnTo>
                  <a:lnTo>
                    <a:pt x="1132" y="258"/>
                  </a:lnTo>
                  <a:lnTo>
                    <a:pt x="1139" y="276"/>
                  </a:lnTo>
                  <a:lnTo>
                    <a:pt x="1144" y="284"/>
                  </a:lnTo>
                  <a:lnTo>
                    <a:pt x="1147" y="288"/>
                  </a:lnTo>
                  <a:lnTo>
                    <a:pt x="1155" y="296"/>
                  </a:lnTo>
                  <a:lnTo>
                    <a:pt x="1180" y="316"/>
                  </a:lnTo>
                  <a:lnTo>
                    <a:pt x="1183" y="319"/>
                  </a:lnTo>
                  <a:lnTo>
                    <a:pt x="1185" y="324"/>
                  </a:lnTo>
                  <a:lnTo>
                    <a:pt x="1183" y="327"/>
                  </a:lnTo>
                  <a:lnTo>
                    <a:pt x="1180" y="331"/>
                  </a:lnTo>
                  <a:lnTo>
                    <a:pt x="1173" y="339"/>
                  </a:lnTo>
                  <a:lnTo>
                    <a:pt x="1159" y="350"/>
                  </a:lnTo>
                  <a:lnTo>
                    <a:pt x="1019" y="438"/>
                  </a:lnTo>
                  <a:lnTo>
                    <a:pt x="1001" y="452"/>
                  </a:lnTo>
                  <a:lnTo>
                    <a:pt x="997" y="455"/>
                  </a:lnTo>
                  <a:lnTo>
                    <a:pt x="994" y="460"/>
                  </a:lnTo>
                  <a:lnTo>
                    <a:pt x="991" y="463"/>
                  </a:lnTo>
                  <a:lnTo>
                    <a:pt x="990" y="468"/>
                  </a:lnTo>
                  <a:lnTo>
                    <a:pt x="989" y="472"/>
                  </a:lnTo>
                  <a:lnTo>
                    <a:pt x="985" y="536"/>
                  </a:lnTo>
                  <a:lnTo>
                    <a:pt x="984" y="539"/>
                  </a:lnTo>
                  <a:lnTo>
                    <a:pt x="983" y="543"/>
                  </a:lnTo>
                  <a:lnTo>
                    <a:pt x="980" y="547"/>
                  </a:lnTo>
                  <a:lnTo>
                    <a:pt x="957" y="571"/>
                  </a:lnTo>
                  <a:lnTo>
                    <a:pt x="957" y="571"/>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299" name="Freeform 15">
              <a:extLst>
                <a:ext uri="{FF2B5EF4-FFF2-40B4-BE49-F238E27FC236}"/>
              </a:extLst>
            </p:cNvPr>
            <p:cNvSpPr>
              <a:spLocks/>
            </p:cNvSpPr>
            <p:nvPr/>
          </p:nvSpPr>
          <p:spPr bwMode="auto">
            <a:xfrm>
              <a:off x="3351213" y="5237163"/>
              <a:ext cx="328613" cy="395288"/>
            </a:xfrm>
            <a:custGeom>
              <a:avLst/>
              <a:gdLst>
                <a:gd name="T0" fmla="*/ 198 w 207"/>
                <a:gd name="T1" fmla="*/ 52 h 249"/>
                <a:gd name="T2" fmla="*/ 200 w 207"/>
                <a:gd name="T3" fmla="*/ 61 h 249"/>
                <a:gd name="T4" fmla="*/ 206 w 207"/>
                <a:gd name="T5" fmla="*/ 69 h 249"/>
                <a:gd name="T6" fmla="*/ 206 w 207"/>
                <a:gd name="T7" fmla="*/ 78 h 249"/>
                <a:gd name="T8" fmla="*/ 198 w 207"/>
                <a:gd name="T9" fmla="*/ 87 h 249"/>
                <a:gd name="T10" fmla="*/ 175 w 207"/>
                <a:gd name="T11" fmla="*/ 104 h 249"/>
                <a:gd name="T12" fmla="*/ 171 w 207"/>
                <a:gd name="T13" fmla="*/ 114 h 249"/>
                <a:gd name="T14" fmla="*/ 168 w 207"/>
                <a:gd name="T15" fmla="*/ 135 h 249"/>
                <a:gd name="T16" fmla="*/ 146 w 207"/>
                <a:gd name="T17" fmla="*/ 174 h 249"/>
                <a:gd name="T18" fmla="*/ 125 w 207"/>
                <a:gd name="T19" fmla="*/ 175 h 249"/>
                <a:gd name="T20" fmla="*/ 118 w 207"/>
                <a:gd name="T21" fmla="*/ 177 h 249"/>
                <a:gd name="T22" fmla="*/ 115 w 207"/>
                <a:gd name="T23" fmla="*/ 181 h 249"/>
                <a:gd name="T24" fmla="*/ 99 w 207"/>
                <a:gd name="T25" fmla="*/ 217 h 249"/>
                <a:gd name="T26" fmla="*/ 94 w 207"/>
                <a:gd name="T27" fmla="*/ 240 h 249"/>
                <a:gd name="T28" fmla="*/ 88 w 207"/>
                <a:gd name="T29" fmla="*/ 245 h 249"/>
                <a:gd name="T30" fmla="*/ 82 w 207"/>
                <a:gd name="T31" fmla="*/ 248 h 249"/>
                <a:gd name="T32" fmla="*/ 74 w 207"/>
                <a:gd name="T33" fmla="*/ 249 h 249"/>
                <a:gd name="T34" fmla="*/ 65 w 207"/>
                <a:gd name="T35" fmla="*/ 246 h 249"/>
                <a:gd name="T36" fmla="*/ 51 w 207"/>
                <a:gd name="T37" fmla="*/ 229 h 249"/>
                <a:gd name="T38" fmla="*/ 35 w 207"/>
                <a:gd name="T39" fmla="*/ 218 h 249"/>
                <a:gd name="T40" fmla="*/ 30 w 207"/>
                <a:gd name="T41" fmla="*/ 214 h 249"/>
                <a:gd name="T42" fmla="*/ 28 w 207"/>
                <a:gd name="T43" fmla="*/ 207 h 249"/>
                <a:gd name="T44" fmla="*/ 28 w 207"/>
                <a:gd name="T45" fmla="*/ 189 h 249"/>
                <a:gd name="T46" fmla="*/ 25 w 207"/>
                <a:gd name="T47" fmla="*/ 174 h 249"/>
                <a:gd name="T48" fmla="*/ 27 w 207"/>
                <a:gd name="T49" fmla="*/ 152 h 249"/>
                <a:gd name="T50" fmla="*/ 26 w 207"/>
                <a:gd name="T51" fmla="*/ 144 h 249"/>
                <a:gd name="T52" fmla="*/ 21 w 207"/>
                <a:gd name="T53" fmla="*/ 137 h 249"/>
                <a:gd name="T54" fmla="*/ 7 w 207"/>
                <a:gd name="T55" fmla="*/ 132 h 249"/>
                <a:gd name="T56" fmla="*/ 1 w 207"/>
                <a:gd name="T57" fmla="*/ 128 h 249"/>
                <a:gd name="T58" fmla="*/ 0 w 207"/>
                <a:gd name="T59" fmla="*/ 121 h 249"/>
                <a:gd name="T60" fmla="*/ 16 w 207"/>
                <a:gd name="T61" fmla="*/ 104 h 249"/>
                <a:gd name="T62" fmla="*/ 24 w 207"/>
                <a:gd name="T63" fmla="*/ 99 h 249"/>
                <a:gd name="T64" fmla="*/ 45 w 207"/>
                <a:gd name="T65" fmla="*/ 95 h 249"/>
                <a:gd name="T66" fmla="*/ 53 w 207"/>
                <a:gd name="T67" fmla="*/ 92 h 249"/>
                <a:gd name="T68" fmla="*/ 59 w 207"/>
                <a:gd name="T69" fmla="*/ 85 h 249"/>
                <a:gd name="T70" fmla="*/ 75 w 207"/>
                <a:gd name="T71" fmla="*/ 52 h 249"/>
                <a:gd name="T72" fmla="*/ 77 w 207"/>
                <a:gd name="T73" fmla="*/ 46 h 249"/>
                <a:gd name="T74" fmla="*/ 73 w 207"/>
                <a:gd name="T75" fmla="*/ 30 h 249"/>
                <a:gd name="T76" fmla="*/ 72 w 207"/>
                <a:gd name="T77" fmla="*/ 18 h 249"/>
                <a:gd name="T78" fmla="*/ 73 w 207"/>
                <a:gd name="T79" fmla="*/ 11 h 249"/>
                <a:gd name="T80" fmla="*/ 75 w 207"/>
                <a:gd name="T81" fmla="*/ 7 h 249"/>
                <a:gd name="T82" fmla="*/ 81 w 207"/>
                <a:gd name="T83" fmla="*/ 1 h 249"/>
                <a:gd name="T84" fmla="*/ 89 w 207"/>
                <a:gd name="T85" fmla="*/ 0 h 249"/>
                <a:gd name="T86" fmla="*/ 98 w 207"/>
                <a:gd name="T87" fmla="*/ 2 h 249"/>
                <a:gd name="T88" fmla="*/ 104 w 207"/>
                <a:gd name="T89" fmla="*/ 9 h 249"/>
                <a:gd name="T90" fmla="*/ 111 w 207"/>
                <a:gd name="T91" fmla="*/ 27 h 249"/>
                <a:gd name="T92" fmla="*/ 117 w 207"/>
                <a:gd name="T93" fmla="*/ 32 h 249"/>
                <a:gd name="T94" fmla="*/ 122 w 207"/>
                <a:gd name="T95" fmla="*/ 33 h 249"/>
                <a:gd name="T96" fmla="*/ 135 w 207"/>
                <a:gd name="T97" fmla="*/ 29 h 249"/>
                <a:gd name="T98" fmla="*/ 145 w 207"/>
                <a:gd name="T99" fmla="*/ 27 h 249"/>
                <a:gd name="T100" fmla="*/ 167 w 207"/>
                <a:gd name="T101" fmla="*/ 25 h 249"/>
                <a:gd name="T102" fmla="*/ 186 w 207"/>
                <a:gd name="T103" fmla="*/ 15 h 249"/>
                <a:gd name="T104" fmla="*/ 193 w 207"/>
                <a:gd name="T105" fmla="*/ 15 h 249"/>
                <a:gd name="T106" fmla="*/ 207 w 207"/>
                <a:gd name="T107" fmla="*/ 2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249">
                  <a:moveTo>
                    <a:pt x="207" y="24"/>
                  </a:moveTo>
                  <a:lnTo>
                    <a:pt x="198" y="52"/>
                  </a:lnTo>
                  <a:lnTo>
                    <a:pt x="199" y="56"/>
                  </a:lnTo>
                  <a:lnTo>
                    <a:pt x="200" y="61"/>
                  </a:lnTo>
                  <a:lnTo>
                    <a:pt x="204" y="66"/>
                  </a:lnTo>
                  <a:lnTo>
                    <a:pt x="206" y="69"/>
                  </a:lnTo>
                  <a:lnTo>
                    <a:pt x="207" y="73"/>
                  </a:lnTo>
                  <a:lnTo>
                    <a:pt x="206" y="78"/>
                  </a:lnTo>
                  <a:lnTo>
                    <a:pt x="201" y="84"/>
                  </a:lnTo>
                  <a:lnTo>
                    <a:pt x="198" y="87"/>
                  </a:lnTo>
                  <a:lnTo>
                    <a:pt x="178" y="100"/>
                  </a:lnTo>
                  <a:lnTo>
                    <a:pt x="175" y="104"/>
                  </a:lnTo>
                  <a:lnTo>
                    <a:pt x="172" y="108"/>
                  </a:lnTo>
                  <a:lnTo>
                    <a:pt x="171" y="114"/>
                  </a:lnTo>
                  <a:lnTo>
                    <a:pt x="170" y="126"/>
                  </a:lnTo>
                  <a:lnTo>
                    <a:pt x="168" y="135"/>
                  </a:lnTo>
                  <a:lnTo>
                    <a:pt x="150" y="172"/>
                  </a:lnTo>
                  <a:lnTo>
                    <a:pt x="146" y="174"/>
                  </a:lnTo>
                  <a:lnTo>
                    <a:pt x="141" y="175"/>
                  </a:lnTo>
                  <a:lnTo>
                    <a:pt x="125" y="175"/>
                  </a:lnTo>
                  <a:lnTo>
                    <a:pt x="121" y="175"/>
                  </a:lnTo>
                  <a:lnTo>
                    <a:pt x="118" y="177"/>
                  </a:lnTo>
                  <a:lnTo>
                    <a:pt x="117" y="178"/>
                  </a:lnTo>
                  <a:lnTo>
                    <a:pt x="115" y="181"/>
                  </a:lnTo>
                  <a:lnTo>
                    <a:pt x="110" y="189"/>
                  </a:lnTo>
                  <a:lnTo>
                    <a:pt x="99" y="217"/>
                  </a:lnTo>
                  <a:lnTo>
                    <a:pt x="95" y="236"/>
                  </a:lnTo>
                  <a:lnTo>
                    <a:pt x="94" y="240"/>
                  </a:lnTo>
                  <a:lnTo>
                    <a:pt x="92" y="243"/>
                  </a:lnTo>
                  <a:lnTo>
                    <a:pt x="88" y="245"/>
                  </a:lnTo>
                  <a:lnTo>
                    <a:pt x="86" y="247"/>
                  </a:lnTo>
                  <a:lnTo>
                    <a:pt x="82" y="248"/>
                  </a:lnTo>
                  <a:lnTo>
                    <a:pt x="78" y="249"/>
                  </a:lnTo>
                  <a:lnTo>
                    <a:pt x="74" y="249"/>
                  </a:lnTo>
                  <a:lnTo>
                    <a:pt x="70" y="248"/>
                  </a:lnTo>
                  <a:lnTo>
                    <a:pt x="65" y="246"/>
                  </a:lnTo>
                  <a:lnTo>
                    <a:pt x="62" y="244"/>
                  </a:lnTo>
                  <a:lnTo>
                    <a:pt x="51" y="229"/>
                  </a:lnTo>
                  <a:lnTo>
                    <a:pt x="48" y="225"/>
                  </a:lnTo>
                  <a:lnTo>
                    <a:pt x="35" y="218"/>
                  </a:lnTo>
                  <a:lnTo>
                    <a:pt x="33" y="217"/>
                  </a:lnTo>
                  <a:lnTo>
                    <a:pt x="30" y="214"/>
                  </a:lnTo>
                  <a:lnTo>
                    <a:pt x="28" y="211"/>
                  </a:lnTo>
                  <a:lnTo>
                    <a:pt x="28" y="207"/>
                  </a:lnTo>
                  <a:lnTo>
                    <a:pt x="28" y="204"/>
                  </a:lnTo>
                  <a:lnTo>
                    <a:pt x="28" y="189"/>
                  </a:lnTo>
                  <a:lnTo>
                    <a:pt x="28" y="185"/>
                  </a:lnTo>
                  <a:lnTo>
                    <a:pt x="25" y="174"/>
                  </a:lnTo>
                  <a:lnTo>
                    <a:pt x="25" y="170"/>
                  </a:lnTo>
                  <a:lnTo>
                    <a:pt x="27" y="152"/>
                  </a:lnTo>
                  <a:lnTo>
                    <a:pt x="27" y="148"/>
                  </a:lnTo>
                  <a:lnTo>
                    <a:pt x="26" y="144"/>
                  </a:lnTo>
                  <a:lnTo>
                    <a:pt x="24" y="140"/>
                  </a:lnTo>
                  <a:lnTo>
                    <a:pt x="21" y="137"/>
                  </a:lnTo>
                  <a:lnTo>
                    <a:pt x="20" y="136"/>
                  </a:lnTo>
                  <a:lnTo>
                    <a:pt x="7" y="132"/>
                  </a:lnTo>
                  <a:lnTo>
                    <a:pt x="4" y="130"/>
                  </a:lnTo>
                  <a:lnTo>
                    <a:pt x="1" y="128"/>
                  </a:lnTo>
                  <a:lnTo>
                    <a:pt x="0" y="124"/>
                  </a:lnTo>
                  <a:lnTo>
                    <a:pt x="0" y="121"/>
                  </a:lnTo>
                  <a:lnTo>
                    <a:pt x="3" y="117"/>
                  </a:lnTo>
                  <a:lnTo>
                    <a:pt x="16" y="104"/>
                  </a:lnTo>
                  <a:lnTo>
                    <a:pt x="20" y="101"/>
                  </a:lnTo>
                  <a:lnTo>
                    <a:pt x="24" y="99"/>
                  </a:lnTo>
                  <a:lnTo>
                    <a:pt x="28" y="98"/>
                  </a:lnTo>
                  <a:lnTo>
                    <a:pt x="45" y="95"/>
                  </a:lnTo>
                  <a:lnTo>
                    <a:pt x="49" y="94"/>
                  </a:lnTo>
                  <a:lnTo>
                    <a:pt x="53" y="92"/>
                  </a:lnTo>
                  <a:lnTo>
                    <a:pt x="57" y="89"/>
                  </a:lnTo>
                  <a:lnTo>
                    <a:pt x="59" y="85"/>
                  </a:lnTo>
                  <a:lnTo>
                    <a:pt x="64" y="73"/>
                  </a:lnTo>
                  <a:lnTo>
                    <a:pt x="75" y="52"/>
                  </a:lnTo>
                  <a:lnTo>
                    <a:pt x="77" y="47"/>
                  </a:lnTo>
                  <a:lnTo>
                    <a:pt x="77" y="46"/>
                  </a:lnTo>
                  <a:lnTo>
                    <a:pt x="76" y="40"/>
                  </a:lnTo>
                  <a:lnTo>
                    <a:pt x="73" y="30"/>
                  </a:lnTo>
                  <a:lnTo>
                    <a:pt x="72" y="22"/>
                  </a:lnTo>
                  <a:lnTo>
                    <a:pt x="72" y="18"/>
                  </a:lnTo>
                  <a:lnTo>
                    <a:pt x="73" y="15"/>
                  </a:lnTo>
                  <a:lnTo>
                    <a:pt x="73" y="11"/>
                  </a:lnTo>
                  <a:lnTo>
                    <a:pt x="74" y="9"/>
                  </a:lnTo>
                  <a:lnTo>
                    <a:pt x="75" y="7"/>
                  </a:lnTo>
                  <a:lnTo>
                    <a:pt x="78" y="4"/>
                  </a:lnTo>
                  <a:lnTo>
                    <a:pt x="81" y="1"/>
                  </a:lnTo>
                  <a:lnTo>
                    <a:pt x="85" y="0"/>
                  </a:lnTo>
                  <a:lnTo>
                    <a:pt x="89" y="0"/>
                  </a:lnTo>
                  <a:lnTo>
                    <a:pt x="93" y="0"/>
                  </a:lnTo>
                  <a:lnTo>
                    <a:pt x="98" y="2"/>
                  </a:lnTo>
                  <a:lnTo>
                    <a:pt x="102" y="6"/>
                  </a:lnTo>
                  <a:lnTo>
                    <a:pt x="104" y="9"/>
                  </a:lnTo>
                  <a:lnTo>
                    <a:pt x="110" y="23"/>
                  </a:lnTo>
                  <a:lnTo>
                    <a:pt x="111" y="27"/>
                  </a:lnTo>
                  <a:lnTo>
                    <a:pt x="114" y="30"/>
                  </a:lnTo>
                  <a:lnTo>
                    <a:pt x="117" y="32"/>
                  </a:lnTo>
                  <a:lnTo>
                    <a:pt x="118" y="33"/>
                  </a:lnTo>
                  <a:lnTo>
                    <a:pt x="122" y="33"/>
                  </a:lnTo>
                  <a:lnTo>
                    <a:pt x="127" y="32"/>
                  </a:lnTo>
                  <a:lnTo>
                    <a:pt x="135" y="29"/>
                  </a:lnTo>
                  <a:lnTo>
                    <a:pt x="140" y="27"/>
                  </a:lnTo>
                  <a:lnTo>
                    <a:pt x="145" y="27"/>
                  </a:lnTo>
                  <a:lnTo>
                    <a:pt x="163" y="27"/>
                  </a:lnTo>
                  <a:lnTo>
                    <a:pt x="167" y="25"/>
                  </a:lnTo>
                  <a:lnTo>
                    <a:pt x="171" y="23"/>
                  </a:lnTo>
                  <a:lnTo>
                    <a:pt x="186" y="15"/>
                  </a:lnTo>
                  <a:lnTo>
                    <a:pt x="189" y="14"/>
                  </a:lnTo>
                  <a:lnTo>
                    <a:pt x="193" y="15"/>
                  </a:lnTo>
                  <a:lnTo>
                    <a:pt x="197" y="16"/>
                  </a:lnTo>
                  <a:lnTo>
                    <a:pt x="207" y="24"/>
                  </a:lnTo>
                  <a:lnTo>
                    <a:pt x="207" y="24"/>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00" name="Freeform 16">
              <a:extLst>
                <a:ext uri="{FF2B5EF4-FFF2-40B4-BE49-F238E27FC236}"/>
              </a:extLst>
            </p:cNvPr>
            <p:cNvSpPr>
              <a:spLocks/>
            </p:cNvSpPr>
            <p:nvPr/>
          </p:nvSpPr>
          <p:spPr bwMode="auto">
            <a:xfrm>
              <a:off x="3506788" y="5175250"/>
              <a:ext cx="831850" cy="996950"/>
            </a:xfrm>
            <a:custGeom>
              <a:avLst/>
              <a:gdLst>
                <a:gd name="T0" fmla="*/ 522 w 524"/>
                <a:gd name="T1" fmla="*/ 294 h 628"/>
                <a:gd name="T2" fmla="*/ 502 w 524"/>
                <a:gd name="T3" fmla="*/ 307 h 628"/>
                <a:gd name="T4" fmla="*/ 503 w 524"/>
                <a:gd name="T5" fmla="*/ 345 h 628"/>
                <a:gd name="T6" fmla="*/ 502 w 524"/>
                <a:gd name="T7" fmla="*/ 371 h 628"/>
                <a:gd name="T8" fmla="*/ 494 w 524"/>
                <a:gd name="T9" fmla="*/ 385 h 628"/>
                <a:gd name="T10" fmla="*/ 459 w 524"/>
                <a:gd name="T11" fmla="*/ 399 h 628"/>
                <a:gd name="T12" fmla="*/ 446 w 524"/>
                <a:gd name="T13" fmla="*/ 412 h 628"/>
                <a:gd name="T14" fmla="*/ 432 w 524"/>
                <a:gd name="T15" fmla="*/ 434 h 628"/>
                <a:gd name="T16" fmla="*/ 379 w 524"/>
                <a:gd name="T17" fmla="*/ 490 h 628"/>
                <a:gd name="T18" fmla="*/ 381 w 524"/>
                <a:gd name="T19" fmla="*/ 515 h 628"/>
                <a:gd name="T20" fmla="*/ 378 w 524"/>
                <a:gd name="T21" fmla="*/ 576 h 628"/>
                <a:gd name="T22" fmla="*/ 381 w 524"/>
                <a:gd name="T23" fmla="*/ 605 h 628"/>
                <a:gd name="T24" fmla="*/ 366 w 524"/>
                <a:gd name="T25" fmla="*/ 621 h 628"/>
                <a:gd name="T26" fmla="*/ 344 w 524"/>
                <a:gd name="T27" fmla="*/ 614 h 628"/>
                <a:gd name="T28" fmla="*/ 313 w 524"/>
                <a:gd name="T29" fmla="*/ 600 h 628"/>
                <a:gd name="T30" fmla="*/ 291 w 524"/>
                <a:gd name="T31" fmla="*/ 586 h 628"/>
                <a:gd name="T32" fmla="*/ 277 w 524"/>
                <a:gd name="T33" fmla="*/ 564 h 628"/>
                <a:gd name="T34" fmla="*/ 261 w 524"/>
                <a:gd name="T35" fmla="*/ 537 h 628"/>
                <a:gd name="T36" fmla="*/ 250 w 524"/>
                <a:gd name="T37" fmla="*/ 530 h 628"/>
                <a:gd name="T38" fmla="*/ 230 w 524"/>
                <a:gd name="T39" fmla="*/ 546 h 628"/>
                <a:gd name="T40" fmla="*/ 215 w 524"/>
                <a:gd name="T41" fmla="*/ 588 h 628"/>
                <a:gd name="T42" fmla="*/ 201 w 524"/>
                <a:gd name="T43" fmla="*/ 585 h 628"/>
                <a:gd name="T44" fmla="*/ 178 w 524"/>
                <a:gd name="T45" fmla="*/ 557 h 628"/>
                <a:gd name="T46" fmla="*/ 164 w 524"/>
                <a:gd name="T47" fmla="*/ 546 h 628"/>
                <a:gd name="T48" fmla="*/ 127 w 524"/>
                <a:gd name="T49" fmla="*/ 539 h 628"/>
                <a:gd name="T50" fmla="*/ 120 w 524"/>
                <a:gd name="T51" fmla="*/ 524 h 628"/>
                <a:gd name="T52" fmla="*/ 96 w 524"/>
                <a:gd name="T53" fmla="*/ 522 h 628"/>
                <a:gd name="T54" fmla="*/ 89 w 524"/>
                <a:gd name="T55" fmla="*/ 510 h 628"/>
                <a:gd name="T56" fmla="*/ 92 w 524"/>
                <a:gd name="T57" fmla="*/ 477 h 628"/>
                <a:gd name="T58" fmla="*/ 71 w 524"/>
                <a:gd name="T59" fmla="*/ 451 h 628"/>
                <a:gd name="T60" fmla="*/ 58 w 524"/>
                <a:gd name="T61" fmla="*/ 402 h 628"/>
                <a:gd name="T62" fmla="*/ 47 w 524"/>
                <a:gd name="T63" fmla="*/ 392 h 628"/>
                <a:gd name="T64" fmla="*/ 12 w 524"/>
                <a:gd name="T65" fmla="*/ 389 h 628"/>
                <a:gd name="T66" fmla="*/ 2 w 524"/>
                <a:gd name="T67" fmla="*/ 378 h 628"/>
                <a:gd name="T68" fmla="*/ 2 w 524"/>
                <a:gd name="T69" fmla="*/ 322 h 628"/>
                <a:gd name="T70" fmla="*/ 12 w 524"/>
                <a:gd name="T71" fmla="*/ 326 h 628"/>
                <a:gd name="T72" fmla="*/ 35 w 524"/>
                <a:gd name="T73" fmla="*/ 313 h 628"/>
                <a:gd name="T74" fmla="*/ 64 w 524"/>
                <a:gd name="T75" fmla="*/ 313 h 628"/>
                <a:gd name="T76" fmla="*/ 75 w 524"/>
                <a:gd name="T77" fmla="*/ 309 h 628"/>
                <a:gd name="T78" fmla="*/ 84 w 524"/>
                <a:gd name="T79" fmla="*/ 280 h 628"/>
                <a:gd name="T80" fmla="*/ 75 w 524"/>
                <a:gd name="T81" fmla="*/ 255 h 628"/>
                <a:gd name="T82" fmla="*/ 80 w 524"/>
                <a:gd name="T83" fmla="*/ 222 h 628"/>
                <a:gd name="T84" fmla="*/ 73 w 524"/>
                <a:gd name="T85" fmla="*/ 209 h 628"/>
                <a:gd name="T86" fmla="*/ 52 w 524"/>
                <a:gd name="T87" fmla="*/ 211 h 628"/>
                <a:gd name="T88" fmla="*/ 74 w 524"/>
                <a:gd name="T89" fmla="*/ 147 h 628"/>
                <a:gd name="T90" fmla="*/ 103 w 524"/>
                <a:gd name="T91" fmla="*/ 123 h 628"/>
                <a:gd name="T92" fmla="*/ 106 w 524"/>
                <a:gd name="T93" fmla="*/ 105 h 628"/>
                <a:gd name="T94" fmla="*/ 109 w 524"/>
                <a:gd name="T95" fmla="*/ 63 h 628"/>
                <a:gd name="T96" fmla="*/ 134 w 524"/>
                <a:gd name="T97" fmla="*/ 110 h 628"/>
                <a:gd name="T98" fmla="*/ 152 w 524"/>
                <a:gd name="T99" fmla="*/ 111 h 628"/>
                <a:gd name="T100" fmla="*/ 242 w 524"/>
                <a:gd name="T101" fmla="*/ 45 h 628"/>
                <a:gd name="T102" fmla="*/ 262 w 524"/>
                <a:gd name="T103" fmla="*/ 30 h 628"/>
                <a:gd name="T104" fmla="*/ 284 w 524"/>
                <a:gd name="T105" fmla="*/ 27 h 628"/>
                <a:gd name="T106" fmla="*/ 312 w 524"/>
                <a:gd name="T107" fmla="*/ 20 h 628"/>
                <a:gd name="T108" fmla="*/ 338 w 524"/>
                <a:gd name="T109" fmla="*/ 23 h 628"/>
                <a:gd name="T110" fmla="*/ 416 w 524"/>
                <a:gd name="T111" fmla="*/ 32 h 628"/>
                <a:gd name="T112" fmla="*/ 447 w 524"/>
                <a:gd name="T113" fmla="*/ 75 h 628"/>
                <a:gd name="T114" fmla="*/ 447 w 524"/>
                <a:gd name="T115" fmla="*/ 90 h 628"/>
                <a:gd name="T116" fmla="*/ 426 w 524"/>
                <a:gd name="T117" fmla="*/ 146 h 628"/>
                <a:gd name="T118" fmla="*/ 439 w 524"/>
                <a:gd name="T119" fmla="*/ 171 h 628"/>
                <a:gd name="T120" fmla="*/ 524 w 524"/>
                <a:gd name="T121" fmla="*/ 26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628">
                  <a:moveTo>
                    <a:pt x="524" y="261"/>
                  </a:moveTo>
                  <a:lnTo>
                    <a:pt x="524" y="284"/>
                  </a:lnTo>
                  <a:lnTo>
                    <a:pt x="524" y="290"/>
                  </a:lnTo>
                  <a:lnTo>
                    <a:pt x="522" y="294"/>
                  </a:lnTo>
                  <a:lnTo>
                    <a:pt x="520" y="296"/>
                  </a:lnTo>
                  <a:lnTo>
                    <a:pt x="518" y="298"/>
                  </a:lnTo>
                  <a:lnTo>
                    <a:pt x="507" y="304"/>
                  </a:lnTo>
                  <a:lnTo>
                    <a:pt x="502" y="307"/>
                  </a:lnTo>
                  <a:lnTo>
                    <a:pt x="499" y="313"/>
                  </a:lnTo>
                  <a:lnTo>
                    <a:pt x="498" y="319"/>
                  </a:lnTo>
                  <a:lnTo>
                    <a:pt x="498" y="322"/>
                  </a:lnTo>
                  <a:lnTo>
                    <a:pt x="503" y="345"/>
                  </a:lnTo>
                  <a:lnTo>
                    <a:pt x="504" y="353"/>
                  </a:lnTo>
                  <a:lnTo>
                    <a:pt x="504" y="359"/>
                  </a:lnTo>
                  <a:lnTo>
                    <a:pt x="504" y="366"/>
                  </a:lnTo>
                  <a:lnTo>
                    <a:pt x="502" y="371"/>
                  </a:lnTo>
                  <a:lnTo>
                    <a:pt x="501" y="375"/>
                  </a:lnTo>
                  <a:lnTo>
                    <a:pt x="499" y="379"/>
                  </a:lnTo>
                  <a:lnTo>
                    <a:pt x="496" y="382"/>
                  </a:lnTo>
                  <a:lnTo>
                    <a:pt x="494" y="385"/>
                  </a:lnTo>
                  <a:lnTo>
                    <a:pt x="486" y="390"/>
                  </a:lnTo>
                  <a:lnTo>
                    <a:pt x="478" y="394"/>
                  </a:lnTo>
                  <a:lnTo>
                    <a:pt x="471" y="397"/>
                  </a:lnTo>
                  <a:lnTo>
                    <a:pt x="459" y="399"/>
                  </a:lnTo>
                  <a:lnTo>
                    <a:pt x="456" y="401"/>
                  </a:lnTo>
                  <a:lnTo>
                    <a:pt x="451" y="404"/>
                  </a:lnTo>
                  <a:lnTo>
                    <a:pt x="448" y="407"/>
                  </a:lnTo>
                  <a:lnTo>
                    <a:pt x="446" y="412"/>
                  </a:lnTo>
                  <a:lnTo>
                    <a:pt x="441" y="421"/>
                  </a:lnTo>
                  <a:lnTo>
                    <a:pt x="440" y="425"/>
                  </a:lnTo>
                  <a:lnTo>
                    <a:pt x="437" y="427"/>
                  </a:lnTo>
                  <a:lnTo>
                    <a:pt x="432" y="434"/>
                  </a:lnTo>
                  <a:lnTo>
                    <a:pt x="413" y="450"/>
                  </a:lnTo>
                  <a:lnTo>
                    <a:pt x="386" y="478"/>
                  </a:lnTo>
                  <a:lnTo>
                    <a:pt x="382" y="484"/>
                  </a:lnTo>
                  <a:lnTo>
                    <a:pt x="379" y="490"/>
                  </a:lnTo>
                  <a:lnTo>
                    <a:pt x="377" y="496"/>
                  </a:lnTo>
                  <a:lnTo>
                    <a:pt x="377" y="500"/>
                  </a:lnTo>
                  <a:lnTo>
                    <a:pt x="379" y="508"/>
                  </a:lnTo>
                  <a:lnTo>
                    <a:pt x="381" y="515"/>
                  </a:lnTo>
                  <a:lnTo>
                    <a:pt x="383" y="522"/>
                  </a:lnTo>
                  <a:lnTo>
                    <a:pt x="383" y="530"/>
                  </a:lnTo>
                  <a:lnTo>
                    <a:pt x="379" y="569"/>
                  </a:lnTo>
                  <a:lnTo>
                    <a:pt x="378" y="576"/>
                  </a:lnTo>
                  <a:lnTo>
                    <a:pt x="377" y="580"/>
                  </a:lnTo>
                  <a:lnTo>
                    <a:pt x="378" y="585"/>
                  </a:lnTo>
                  <a:lnTo>
                    <a:pt x="381" y="596"/>
                  </a:lnTo>
                  <a:lnTo>
                    <a:pt x="381" y="605"/>
                  </a:lnTo>
                  <a:lnTo>
                    <a:pt x="377" y="623"/>
                  </a:lnTo>
                  <a:lnTo>
                    <a:pt x="377" y="628"/>
                  </a:lnTo>
                  <a:lnTo>
                    <a:pt x="374" y="625"/>
                  </a:lnTo>
                  <a:lnTo>
                    <a:pt x="366" y="621"/>
                  </a:lnTo>
                  <a:lnTo>
                    <a:pt x="354" y="615"/>
                  </a:lnTo>
                  <a:lnTo>
                    <a:pt x="351" y="614"/>
                  </a:lnTo>
                  <a:lnTo>
                    <a:pt x="346" y="614"/>
                  </a:lnTo>
                  <a:lnTo>
                    <a:pt x="344" y="614"/>
                  </a:lnTo>
                  <a:lnTo>
                    <a:pt x="339" y="614"/>
                  </a:lnTo>
                  <a:lnTo>
                    <a:pt x="336" y="616"/>
                  </a:lnTo>
                  <a:lnTo>
                    <a:pt x="328" y="621"/>
                  </a:lnTo>
                  <a:lnTo>
                    <a:pt x="313" y="600"/>
                  </a:lnTo>
                  <a:lnTo>
                    <a:pt x="311" y="596"/>
                  </a:lnTo>
                  <a:lnTo>
                    <a:pt x="307" y="593"/>
                  </a:lnTo>
                  <a:lnTo>
                    <a:pt x="294" y="588"/>
                  </a:lnTo>
                  <a:lnTo>
                    <a:pt x="291" y="586"/>
                  </a:lnTo>
                  <a:lnTo>
                    <a:pt x="289" y="582"/>
                  </a:lnTo>
                  <a:lnTo>
                    <a:pt x="283" y="572"/>
                  </a:lnTo>
                  <a:lnTo>
                    <a:pt x="281" y="568"/>
                  </a:lnTo>
                  <a:lnTo>
                    <a:pt x="277" y="564"/>
                  </a:lnTo>
                  <a:lnTo>
                    <a:pt x="264" y="553"/>
                  </a:lnTo>
                  <a:lnTo>
                    <a:pt x="261" y="549"/>
                  </a:lnTo>
                  <a:lnTo>
                    <a:pt x="261" y="544"/>
                  </a:lnTo>
                  <a:lnTo>
                    <a:pt x="261" y="537"/>
                  </a:lnTo>
                  <a:lnTo>
                    <a:pt x="260" y="534"/>
                  </a:lnTo>
                  <a:lnTo>
                    <a:pt x="258" y="531"/>
                  </a:lnTo>
                  <a:lnTo>
                    <a:pt x="252" y="529"/>
                  </a:lnTo>
                  <a:lnTo>
                    <a:pt x="250" y="530"/>
                  </a:lnTo>
                  <a:lnTo>
                    <a:pt x="242" y="534"/>
                  </a:lnTo>
                  <a:lnTo>
                    <a:pt x="235" y="540"/>
                  </a:lnTo>
                  <a:lnTo>
                    <a:pt x="232" y="542"/>
                  </a:lnTo>
                  <a:lnTo>
                    <a:pt x="230" y="546"/>
                  </a:lnTo>
                  <a:lnTo>
                    <a:pt x="226" y="553"/>
                  </a:lnTo>
                  <a:lnTo>
                    <a:pt x="218" y="582"/>
                  </a:lnTo>
                  <a:lnTo>
                    <a:pt x="217" y="586"/>
                  </a:lnTo>
                  <a:lnTo>
                    <a:pt x="215" y="588"/>
                  </a:lnTo>
                  <a:lnTo>
                    <a:pt x="212" y="589"/>
                  </a:lnTo>
                  <a:lnTo>
                    <a:pt x="208" y="589"/>
                  </a:lnTo>
                  <a:lnTo>
                    <a:pt x="204" y="587"/>
                  </a:lnTo>
                  <a:lnTo>
                    <a:pt x="201" y="585"/>
                  </a:lnTo>
                  <a:lnTo>
                    <a:pt x="185" y="569"/>
                  </a:lnTo>
                  <a:lnTo>
                    <a:pt x="182" y="564"/>
                  </a:lnTo>
                  <a:lnTo>
                    <a:pt x="180" y="561"/>
                  </a:lnTo>
                  <a:lnTo>
                    <a:pt x="178" y="557"/>
                  </a:lnTo>
                  <a:lnTo>
                    <a:pt x="177" y="553"/>
                  </a:lnTo>
                  <a:lnTo>
                    <a:pt x="173" y="549"/>
                  </a:lnTo>
                  <a:lnTo>
                    <a:pt x="169" y="547"/>
                  </a:lnTo>
                  <a:lnTo>
                    <a:pt x="164" y="546"/>
                  </a:lnTo>
                  <a:lnTo>
                    <a:pt x="139" y="546"/>
                  </a:lnTo>
                  <a:lnTo>
                    <a:pt x="134" y="545"/>
                  </a:lnTo>
                  <a:lnTo>
                    <a:pt x="131" y="543"/>
                  </a:lnTo>
                  <a:lnTo>
                    <a:pt x="127" y="539"/>
                  </a:lnTo>
                  <a:lnTo>
                    <a:pt x="125" y="535"/>
                  </a:lnTo>
                  <a:lnTo>
                    <a:pt x="124" y="529"/>
                  </a:lnTo>
                  <a:lnTo>
                    <a:pt x="123" y="526"/>
                  </a:lnTo>
                  <a:lnTo>
                    <a:pt x="120" y="524"/>
                  </a:lnTo>
                  <a:lnTo>
                    <a:pt x="116" y="521"/>
                  </a:lnTo>
                  <a:lnTo>
                    <a:pt x="111" y="520"/>
                  </a:lnTo>
                  <a:lnTo>
                    <a:pt x="108" y="520"/>
                  </a:lnTo>
                  <a:lnTo>
                    <a:pt x="96" y="522"/>
                  </a:lnTo>
                  <a:lnTo>
                    <a:pt x="94" y="520"/>
                  </a:lnTo>
                  <a:lnTo>
                    <a:pt x="91" y="519"/>
                  </a:lnTo>
                  <a:lnTo>
                    <a:pt x="89" y="513"/>
                  </a:lnTo>
                  <a:lnTo>
                    <a:pt x="89" y="510"/>
                  </a:lnTo>
                  <a:lnTo>
                    <a:pt x="89" y="505"/>
                  </a:lnTo>
                  <a:lnTo>
                    <a:pt x="93" y="484"/>
                  </a:lnTo>
                  <a:lnTo>
                    <a:pt x="93" y="481"/>
                  </a:lnTo>
                  <a:lnTo>
                    <a:pt x="92" y="477"/>
                  </a:lnTo>
                  <a:lnTo>
                    <a:pt x="90" y="474"/>
                  </a:lnTo>
                  <a:lnTo>
                    <a:pt x="84" y="473"/>
                  </a:lnTo>
                  <a:lnTo>
                    <a:pt x="65" y="474"/>
                  </a:lnTo>
                  <a:lnTo>
                    <a:pt x="71" y="451"/>
                  </a:lnTo>
                  <a:lnTo>
                    <a:pt x="72" y="447"/>
                  </a:lnTo>
                  <a:lnTo>
                    <a:pt x="72" y="443"/>
                  </a:lnTo>
                  <a:lnTo>
                    <a:pt x="70" y="437"/>
                  </a:lnTo>
                  <a:lnTo>
                    <a:pt x="58" y="402"/>
                  </a:lnTo>
                  <a:lnTo>
                    <a:pt x="57" y="398"/>
                  </a:lnTo>
                  <a:lnTo>
                    <a:pt x="54" y="396"/>
                  </a:lnTo>
                  <a:lnTo>
                    <a:pt x="50" y="394"/>
                  </a:lnTo>
                  <a:lnTo>
                    <a:pt x="47" y="392"/>
                  </a:lnTo>
                  <a:lnTo>
                    <a:pt x="40" y="391"/>
                  </a:lnTo>
                  <a:lnTo>
                    <a:pt x="33" y="390"/>
                  </a:lnTo>
                  <a:lnTo>
                    <a:pt x="14" y="390"/>
                  </a:lnTo>
                  <a:lnTo>
                    <a:pt x="12" y="389"/>
                  </a:lnTo>
                  <a:lnTo>
                    <a:pt x="8" y="388"/>
                  </a:lnTo>
                  <a:lnTo>
                    <a:pt x="5" y="385"/>
                  </a:lnTo>
                  <a:lnTo>
                    <a:pt x="3" y="382"/>
                  </a:lnTo>
                  <a:lnTo>
                    <a:pt x="2" y="378"/>
                  </a:lnTo>
                  <a:lnTo>
                    <a:pt x="1" y="374"/>
                  </a:lnTo>
                  <a:lnTo>
                    <a:pt x="0" y="366"/>
                  </a:lnTo>
                  <a:lnTo>
                    <a:pt x="1" y="326"/>
                  </a:lnTo>
                  <a:lnTo>
                    <a:pt x="2" y="322"/>
                  </a:lnTo>
                  <a:lnTo>
                    <a:pt x="3" y="321"/>
                  </a:lnTo>
                  <a:lnTo>
                    <a:pt x="5" y="322"/>
                  </a:lnTo>
                  <a:lnTo>
                    <a:pt x="8" y="324"/>
                  </a:lnTo>
                  <a:lnTo>
                    <a:pt x="12" y="326"/>
                  </a:lnTo>
                  <a:lnTo>
                    <a:pt x="15" y="326"/>
                  </a:lnTo>
                  <a:lnTo>
                    <a:pt x="19" y="324"/>
                  </a:lnTo>
                  <a:lnTo>
                    <a:pt x="27" y="318"/>
                  </a:lnTo>
                  <a:lnTo>
                    <a:pt x="35" y="313"/>
                  </a:lnTo>
                  <a:lnTo>
                    <a:pt x="38" y="313"/>
                  </a:lnTo>
                  <a:lnTo>
                    <a:pt x="42" y="312"/>
                  </a:lnTo>
                  <a:lnTo>
                    <a:pt x="45" y="312"/>
                  </a:lnTo>
                  <a:lnTo>
                    <a:pt x="64" y="313"/>
                  </a:lnTo>
                  <a:lnTo>
                    <a:pt x="66" y="313"/>
                  </a:lnTo>
                  <a:lnTo>
                    <a:pt x="69" y="313"/>
                  </a:lnTo>
                  <a:lnTo>
                    <a:pt x="72" y="312"/>
                  </a:lnTo>
                  <a:lnTo>
                    <a:pt x="75" y="309"/>
                  </a:lnTo>
                  <a:lnTo>
                    <a:pt x="77" y="306"/>
                  </a:lnTo>
                  <a:lnTo>
                    <a:pt x="79" y="303"/>
                  </a:lnTo>
                  <a:lnTo>
                    <a:pt x="84" y="284"/>
                  </a:lnTo>
                  <a:lnTo>
                    <a:pt x="84" y="280"/>
                  </a:lnTo>
                  <a:lnTo>
                    <a:pt x="83" y="276"/>
                  </a:lnTo>
                  <a:lnTo>
                    <a:pt x="76" y="264"/>
                  </a:lnTo>
                  <a:lnTo>
                    <a:pt x="75" y="260"/>
                  </a:lnTo>
                  <a:lnTo>
                    <a:pt x="75" y="255"/>
                  </a:lnTo>
                  <a:lnTo>
                    <a:pt x="75" y="252"/>
                  </a:lnTo>
                  <a:lnTo>
                    <a:pt x="80" y="229"/>
                  </a:lnTo>
                  <a:lnTo>
                    <a:pt x="80" y="225"/>
                  </a:lnTo>
                  <a:lnTo>
                    <a:pt x="80" y="222"/>
                  </a:lnTo>
                  <a:lnTo>
                    <a:pt x="80" y="217"/>
                  </a:lnTo>
                  <a:lnTo>
                    <a:pt x="77" y="214"/>
                  </a:lnTo>
                  <a:lnTo>
                    <a:pt x="75" y="211"/>
                  </a:lnTo>
                  <a:lnTo>
                    <a:pt x="73" y="209"/>
                  </a:lnTo>
                  <a:lnTo>
                    <a:pt x="70" y="208"/>
                  </a:lnTo>
                  <a:lnTo>
                    <a:pt x="67" y="207"/>
                  </a:lnTo>
                  <a:lnTo>
                    <a:pt x="60" y="208"/>
                  </a:lnTo>
                  <a:lnTo>
                    <a:pt x="52" y="211"/>
                  </a:lnTo>
                  <a:lnTo>
                    <a:pt x="70" y="174"/>
                  </a:lnTo>
                  <a:lnTo>
                    <a:pt x="72" y="165"/>
                  </a:lnTo>
                  <a:lnTo>
                    <a:pt x="73" y="153"/>
                  </a:lnTo>
                  <a:lnTo>
                    <a:pt x="74" y="147"/>
                  </a:lnTo>
                  <a:lnTo>
                    <a:pt x="77" y="143"/>
                  </a:lnTo>
                  <a:lnTo>
                    <a:pt x="80" y="139"/>
                  </a:lnTo>
                  <a:lnTo>
                    <a:pt x="100" y="126"/>
                  </a:lnTo>
                  <a:lnTo>
                    <a:pt x="103" y="123"/>
                  </a:lnTo>
                  <a:lnTo>
                    <a:pt x="108" y="117"/>
                  </a:lnTo>
                  <a:lnTo>
                    <a:pt x="109" y="112"/>
                  </a:lnTo>
                  <a:lnTo>
                    <a:pt x="108" y="108"/>
                  </a:lnTo>
                  <a:lnTo>
                    <a:pt x="106" y="105"/>
                  </a:lnTo>
                  <a:lnTo>
                    <a:pt x="102" y="100"/>
                  </a:lnTo>
                  <a:lnTo>
                    <a:pt x="101" y="95"/>
                  </a:lnTo>
                  <a:lnTo>
                    <a:pt x="100" y="91"/>
                  </a:lnTo>
                  <a:lnTo>
                    <a:pt x="109" y="63"/>
                  </a:lnTo>
                  <a:lnTo>
                    <a:pt x="111" y="68"/>
                  </a:lnTo>
                  <a:lnTo>
                    <a:pt x="128" y="103"/>
                  </a:lnTo>
                  <a:lnTo>
                    <a:pt x="132" y="107"/>
                  </a:lnTo>
                  <a:lnTo>
                    <a:pt x="134" y="110"/>
                  </a:lnTo>
                  <a:lnTo>
                    <a:pt x="138" y="112"/>
                  </a:lnTo>
                  <a:lnTo>
                    <a:pt x="141" y="114"/>
                  </a:lnTo>
                  <a:lnTo>
                    <a:pt x="147" y="113"/>
                  </a:lnTo>
                  <a:lnTo>
                    <a:pt x="152" y="111"/>
                  </a:lnTo>
                  <a:lnTo>
                    <a:pt x="161" y="106"/>
                  </a:lnTo>
                  <a:lnTo>
                    <a:pt x="167" y="102"/>
                  </a:lnTo>
                  <a:lnTo>
                    <a:pt x="209" y="63"/>
                  </a:lnTo>
                  <a:lnTo>
                    <a:pt x="242" y="45"/>
                  </a:lnTo>
                  <a:lnTo>
                    <a:pt x="247" y="41"/>
                  </a:lnTo>
                  <a:lnTo>
                    <a:pt x="253" y="34"/>
                  </a:lnTo>
                  <a:lnTo>
                    <a:pt x="258" y="31"/>
                  </a:lnTo>
                  <a:lnTo>
                    <a:pt x="262" y="30"/>
                  </a:lnTo>
                  <a:lnTo>
                    <a:pt x="268" y="29"/>
                  </a:lnTo>
                  <a:lnTo>
                    <a:pt x="278" y="29"/>
                  </a:lnTo>
                  <a:lnTo>
                    <a:pt x="282" y="28"/>
                  </a:lnTo>
                  <a:lnTo>
                    <a:pt x="284" y="27"/>
                  </a:lnTo>
                  <a:lnTo>
                    <a:pt x="295" y="23"/>
                  </a:lnTo>
                  <a:lnTo>
                    <a:pt x="300" y="21"/>
                  </a:lnTo>
                  <a:lnTo>
                    <a:pt x="307" y="20"/>
                  </a:lnTo>
                  <a:lnTo>
                    <a:pt x="312" y="20"/>
                  </a:lnTo>
                  <a:lnTo>
                    <a:pt x="316" y="21"/>
                  </a:lnTo>
                  <a:lnTo>
                    <a:pt x="328" y="25"/>
                  </a:lnTo>
                  <a:lnTo>
                    <a:pt x="332" y="24"/>
                  </a:lnTo>
                  <a:lnTo>
                    <a:pt x="338" y="23"/>
                  </a:lnTo>
                  <a:lnTo>
                    <a:pt x="365" y="7"/>
                  </a:lnTo>
                  <a:lnTo>
                    <a:pt x="382" y="0"/>
                  </a:lnTo>
                  <a:lnTo>
                    <a:pt x="406" y="22"/>
                  </a:lnTo>
                  <a:lnTo>
                    <a:pt x="416" y="32"/>
                  </a:lnTo>
                  <a:lnTo>
                    <a:pt x="421" y="41"/>
                  </a:lnTo>
                  <a:lnTo>
                    <a:pt x="431" y="55"/>
                  </a:lnTo>
                  <a:lnTo>
                    <a:pt x="445" y="70"/>
                  </a:lnTo>
                  <a:lnTo>
                    <a:pt x="447" y="75"/>
                  </a:lnTo>
                  <a:lnTo>
                    <a:pt x="448" y="78"/>
                  </a:lnTo>
                  <a:lnTo>
                    <a:pt x="449" y="82"/>
                  </a:lnTo>
                  <a:lnTo>
                    <a:pt x="448" y="85"/>
                  </a:lnTo>
                  <a:lnTo>
                    <a:pt x="447" y="90"/>
                  </a:lnTo>
                  <a:lnTo>
                    <a:pt x="446" y="92"/>
                  </a:lnTo>
                  <a:lnTo>
                    <a:pt x="435" y="108"/>
                  </a:lnTo>
                  <a:lnTo>
                    <a:pt x="433" y="115"/>
                  </a:lnTo>
                  <a:lnTo>
                    <a:pt x="426" y="146"/>
                  </a:lnTo>
                  <a:lnTo>
                    <a:pt x="426" y="150"/>
                  </a:lnTo>
                  <a:lnTo>
                    <a:pt x="426" y="156"/>
                  </a:lnTo>
                  <a:lnTo>
                    <a:pt x="430" y="160"/>
                  </a:lnTo>
                  <a:lnTo>
                    <a:pt x="439" y="171"/>
                  </a:lnTo>
                  <a:lnTo>
                    <a:pt x="456" y="199"/>
                  </a:lnTo>
                  <a:lnTo>
                    <a:pt x="521" y="260"/>
                  </a:lnTo>
                  <a:lnTo>
                    <a:pt x="524" y="261"/>
                  </a:lnTo>
                  <a:lnTo>
                    <a:pt x="524" y="261"/>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01" name="Freeform 17">
              <a:extLst>
                <a:ext uri="{FF2B5EF4-FFF2-40B4-BE49-F238E27FC236}"/>
              </a:extLst>
            </p:cNvPr>
            <p:cNvSpPr>
              <a:spLocks noEditPoints="1"/>
            </p:cNvSpPr>
            <p:nvPr/>
          </p:nvSpPr>
          <p:spPr bwMode="auto">
            <a:xfrm>
              <a:off x="3562350" y="5926138"/>
              <a:ext cx="465138" cy="544513"/>
            </a:xfrm>
            <a:custGeom>
              <a:avLst/>
              <a:gdLst>
                <a:gd name="T0" fmla="*/ 67 w 293"/>
                <a:gd name="T1" fmla="*/ 278 h 343"/>
                <a:gd name="T2" fmla="*/ 74 w 293"/>
                <a:gd name="T3" fmla="*/ 279 h 343"/>
                <a:gd name="T4" fmla="*/ 81 w 293"/>
                <a:gd name="T5" fmla="*/ 266 h 343"/>
                <a:gd name="T6" fmla="*/ 93 w 293"/>
                <a:gd name="T7" fmla="*/ 282 h 343"/>
                <a:gd name="T8" fmla="*/ 99 w 293"/>
                <a:gd name="T9" fmla="*/ 302 h 343"/>
                <a:gd name="T10" fmla="*/ 83 w 293"/>
                <a:gd name="T11" fmla="*/ 297 h 343"/>
                <a:gd name="T12" fmla="*/ 78 w 293"/>
                <a:gd name="T13" fmla="*/ 287 h 343"/>
                <a:gd name="T14" fmla="*/ 51 w 293"/>
                <a:gd name="T15" fmla="*/ 283 h 343"/>
                <a:gd name="T16" fmla="*/ 33 w 293"/>
                <a:gd name="T17" fmla="*/ 266 h 343"/>
                <a:gd name="T18" fmla="*/ 28 w 293"/>
                <a:gd name="T19" fmla="*/ 251 h 343"/>
                <a:gd name="T20" fmla="*/ 45 w 293"/>
                <a:gd name="T21" fmla="*/ 264 h 343"/>
                <a:gd name="T22" fmla="*/ 59 w 293"/>
                <a:gd name="T23" fmla="*/ 243 h 343"/>
                <a:gd name="T24" fmla="*/ 59 w 293"/>
                <a:gd name="T25" fmla="*/ 258 h 343"/>
                <a:gd name="T26" fmla="*/ 68 w 293"/>
                <a:gd name="T27" fmla="*/ 272 h 343"/>
                <a:gd name="T28" fmla="*/ 45 w 293"/>
                <a:gd name="T29" fmla="*/ 259 h 343"/>
                <a:gd name="T30" fmla="*/ 53 w 293"/>
                <a:gd name="T31" fmla="*/ 244 h 343"/>
                <a:gd name="T32" fmla="*/ 45 w 293"/>
                <a:gd name="T33" fmla="*/ 233 h 343"/>
                <a:gd name="T34" fmla="*/ 51 w 293"/>
                <a:gd name="T35" fmla="*/ 232 h 343"/>
                <a:gd name="T36" fmla="*/ 286 w 293"/>
                <a:gd name="T37" fmla="*/ 152 h 343"/>
                <a:gd name="T38" fmla="*/ 278 w 293"/>
                <a:gd name="T39" fmla="*/ 185 h 343"/>
                <a:gd name="T40" fmla="*/ 261 w 293"/>
                <a:gd name="T41" fmla="*/ 199 h 343"/>
                <a:gd name="T42" fmla="*/ 257 w 293"/>
                <a:gd name="T43" fmla="*/ 223 h 343"/>
                <a:gd name="T44" fmla="*/ 254 w 293"/>
                <a:gd name="T45" fmla="*/ 248 h 343"/>
                <a:gd name="T46" fmla="*/ 271 w 293"/>
                <a:gd name="T47" fmla="*/ 268 h 343"/>
                <a:gd name="T48" fmla="*/ 263 w 293"/>
                <a:gd name="T49" fmla="*/ 279 h 343"/>
                <a:gd name="T50" fmla="*/ 256 w 293"/>
                <a:gd name="T51" fmla="*/ 289 h 343"/>
                <a:gd name="T52" fmla="*/ 243 w 293"/>
                <a:gd name="T53" fmla="*/ 311 h 343"/>
                <a:gd name="T54" fmla="*/ 219 w 293"/>
                <a:gd name="T55" fmla="*/ 323 h 343"/>
                <a:gd name="T56" fmla="*/ 208 w 293"/>
                <a:gd name="T57" fmla="*/ 340 h 343"/>
                <a:gd name="T58" fmla="*/ 200 w 293"/>
                <a:gd name="T59" fmla="*/ 325 h 343"/>
                <a:gd name="T60" fmla="*/ 191 w 293"/>
                <a:gd name="T61" fmla="*/ 289 h 343"/>
                <a:gd name="T62" fmla="*/ 187 w 293"/>
                <a:gd name="T63" fmla="*/ 280 h 343"/>
                <a:gd name="T64" fmla="*/ 173 w 293"/>
                <a:gd name="T65" fmla="*/ 264 h 343"/>
                <a:gd name="T66" fmla="*/ 160 w 293"/>
                <a:gd name="T67" fmla="*/ 244 h 343"/>
                <a:gd name="T68" fmla="*/ 151 w 293"/>
                <a:gd name="T69" fmla="*/ 226 h 343"/>
                <a:gd name="T70" fmla="*/ 138 w 293"/>
                <a:gd name="T71" fmla="*/ 213 h 343"/>
                <a:gd name="T72" fmla="*/ 129 w 293"/>
                <a:gd name="T73" fmla="*/ 206 h 343"/>
                <a:gd name="T74" fmla="*/ 128 w 293"/>
                <a:gd name="T75" fmla="*/ 213 h 343"/>
                <a:gd name="T76" fmla="*/ 120 w 293"/>
                <a:gd name="T77" fmla="*/ 159 h 343"/>
                <a:gd name="T78" fmla="*/ 113 w 293"/>
                <a:gd name="T79" fmla="*/ 149 h 343"/>
                <a:gd name="T80" fmla="*/ 89 w 293"/>
                <a:gd name="T81" fmla="*/ 127 h 343"/>
                <a:gd name="T82" fmla="*/ 77 w 293"/>
                <a:gd name="T83" fmla="*/ 118 h 343"/>
                <a:gd name="T84" fmla="*/ 63 w 293"/>
                <a:gd name="T85" fmla="*/ 106 h 343"/>
                <a:gd name="T86" fmla="*/ 32 w 293"/>
                <a:gd name="T87" fmla="*/ 86 h 343"/>
                <a:gd name="T88" fmla="*/ 13 w 293"/>
                <a:gd name="T89" fmla="*/ 61 h 343"/>
                <a:gd name="T90" fmla="*/ 3 w 293"/>
                <a:gd name="T91" fmla="*/ 44 h 343"/>
                <a:gd name="T92" fmla="*/ 8 w 293"/>
                <a:gd name="T93" fmla="*/ 22 h 343"/>
                <a:gd name="T94" fmla="*/ 49 w 293"/>
                <a:gd name="T95" fmla="*/ 0 h 343"/>
                <a:gd name="T96" fmla="*/ 54 w 293"/>
                <a:gd name="T97" fmla="*/ 37 h 343"/>
                <a:gd name="T98" fmla="*/ 76 w 293"/>
                <a:gd name="T99" fmla="*/ 47 h 343"/>
                <a:gd name="T100" fmla="*/ 92 w 293"/>
                <a:gd name="T101" fmla="*/ 66 h 343"/>
                <a:gd name="T102" fmla="*/ 138 w 293"/>
                <a:gd name="T103" fmla="*/ 76 h 343"/>
                <a:gd name="T104" fmla="*/ 166 w 293"/>
                <a:gd name="T105" fmla="*/ 112 h 343"/>
                <a:gd name="T106" fmla="*/ 183 w 293"/>
                <a:gd name="T107" fmla="*/ 109 h 343"/>
                <a:gd name="T108" fmla="*/ 215 w 293"/>
                <a:gd name="T109" fmla="*/ 57 h 343"/>
                <a:gd name="T110" fmla="*/ 226 w 293"/>
                <a:gd name="T111" fmla="*/ 76 h 343"/>
                <a:gd name="T112" fmla="*/ 256 w 293"/>
                <a:gd name="T113" fmla="*/ 113 h 343"/>
                <a:gd name="T114" fmla="*/ 293 w 293"/>
                <a:gd name="T115" fmla="*/ 1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3" h="343">
                  <a:moveTo>
                    <a:pt x="51" y="276"/>
                  </a:moveTo>
                  <a:lnTo>
                    <a:pt x="53" y="277"/>
                  </a:lnTo>
                  <a:lnTo>
                    <a:pt x="58" y="276"/>
                  </a:lnTo>
                  <a:lnTo>
                    <a:pt x="60" y="279"/>
                  </a:lnTo>
                  <a:lnTo>
                    <a:pt x="63" y="279"/>
                  </a:lnTo>
                  <a:lnTo>
                    <a:pt x="67" y="278"/>
                  </a:lnTo>
                  <a:lnTo>
                    <a:pt x="70" y="278"/>
                  </a:lnTo>
                  <a:lnTo>
                    <a:pt x="72" y="281"/>
                  </a:lnTo>
                  <a:lnTo>
                    <a:pt x="72" y="282"/>
                  </a:lnTo>
                  <a:lnTo>
                    <a:pt x="74" y="282"/>
                  </a:lnTo>
                  <a:lnTo>
                    <a:pt x="79" y="280"/>
                  </a:lnTo>
                  <a:lnTo>
                    <a:pt x="74" y="279"/>
                  </a:lnTo>
                  <a:lnTo>
                    <a:pt x="72" y="275"/>
                  </a:lnTo>
                  <a:lnTo>
                    <a:pt x="74" y="272"/>
                  </a:lnTo>
                  <a:lnTo>
                    <a:pt x="75" y="267"/>
                  </a:lnTo>
                  <a:lnTo>
                    <a:pt x="76" y="266"/>
                  </a:lnTo>
                  <a:lnTo>
                    <a:pt x="78" y="265"/>
                  </a:lnTo>
                  <a:lnTo>
                    <a:pt x="81" y="266"/>
                  </a:lnTo>
                  <a:lnTo>
                    <a:pt x="85" y="268"/>
                  </a:lnTo>
                  <a:lnTo>
                    <a:pt x="86" y="272"/>
                  </a:lnTo>
                  <a:lnTo>
                    <a:pt x="88" y="275"/>
                  </a:lnTo>
                  <a:lnTo>
                    <a:pt x="88" y="277"/>
                  </a:lnTo>
                  <a:lnTo>
                    <a:pt x="91" y="278"/>
                  </a:lnTo>
                  <a:lnTo>
                    <a:pt x="93" y="282"/>
                  </a:lnTo>
                  <a:lnTo>
                    <a:pt x="99" y="284"/>
                  </a:lnTo>
                  <a:lnTo>
                    <a:pt x="99" y="286"/>
                  </a:lnTo>
                  <a:lnTo>
                    <a:pt x="98" y="289"/>
                  </a:lnTo>
                  <a:lnTo>
                    <a:pt x="98" y="293"/>
                  </a:lnTo>
                  <a:lnTo>
                    <a:pt x="98" y="297"/>
                  </a:lnTo>
                  <a:lnTo>
                    <a:pt x="99" y="302"/>
                  </a:lnTo>
                  <a:lnTo>
                    <a:pt x="98" y="305"/>
                  </a:lnTo>
                  <a:lnTo>
                    <a:pt x="98" y="305"/>
                  </a:lnTo>
                  <a:lnTo>
                    <a:pt x="94" y="305"/>
                  </a:lnTo>
                  <a:lnTo>
                    <a:pt x="90" y="299"/>
                  </a:lnTo>
                  <a:lnTo>
                    <a:pt x="86" y="298"/>
                  </a:lnTo>
                  <a:lnTo>
                    <a:pt x="83" y="297"/>
                  </a:lnTo>
                  <a:lnTo>
                    <a:pt x="81" y="297"/>
                  </a:lnTo>
                  <a:lnTo>
                    <a:pt x="85" y="294"/>
                  </a:lnTo>
                  <a:lnTo>
                    <a:pt x="88" y="292"/>
                  </a:lnTo>
                  <a:lnTo>
                    <a:pt x="86" y="289"/>
                  </a:lnTo>
                  <a:lnTo>
                    <a:pt x="83" y="286"/>
                  </a:lnTo>
                  <a:lnTo>
                    <a:pt x="78" y="287"/>
                  </a:lnTo>
                  <a:lnTo>
                    <a:pt x="73" y="287"/>
                  </a:lnTo>
                  <a:lnTo>
                    <a:pt x="70" y="288"/>
                  </a:lnTo>
                  <a:lnTo>
                    <a:pt x="64" y="291"/>
                  </a:lnTo>
                  <a:lnTo>
                    <a:pt x="60" y="290"/>
                  </a:lnTo>
                  <a:lnTo>
                    <a:pt x="54" y="284"/>
                  </a:lnTo>
                  <a:lnTo>
                    <a:pt x="51" y="283"/>
                  </a:lnTo>
                  <a:lnTo>
                    <a:pt x="45" y="280"/>
                  </a:lnTo>
                  <a:lnTo>
                    <a:pt x="42" y="277"/>
                  </a:lnTo>
                  <a:lnTo>
                    <a:pt x="40" y="274"/>
                  </a:lnTo>
                  <a:lnTo>
                    <a:pt x="38" y="268"/>
                  </a:lnTo>
                  <a:lnTo>
                    <a:pt x="36" y="266"/>
                  </a:lnTo>
                  <a:lnTo>
                    <a:pt x="33" y="266"/>
                  </a:lnTo>
                  <a:lnTo>
                    <a:pt x="31" y="265"/>
                  </a:lnTo>
                  <a:lnTo>
                    <a:pt x="31" y="264"/>
                  </a:lnTo>
                  <a:lnTo>
                    <a:pt x="31" y="260"/>
                  </a:lnTo>
                  <a:lnTo>
                    <a:pt x="29" y="257"/>
                  </a:lnTo>
                  <a:lnTo>
                    <a:pt x="27" y="254"/>
                  </a:lnTo>
                  <a:lnTo>
                    <a:pt x="28" y="251"/>
                  </a:lnTo>
                  <a:lnTo>
                    <a:pt x="30" y="251"/>
                  </a:lnTo>
                  <a:lnTo>
                    <a:pt x="30" y="252"/>
                  </a:lnTo>
                  <a:lnTo>
                    <a:pt x="33" y="254"/>
                  </a:lnTo>
                  <a:lnTo>
                    <a:pt x="39" y="258"/>
                  </a:lnTo>
                  <a:lnTo>
                    <a:pt x="43" y="261"/>
                  </a:lnTo>
                  <a:lnTo>
                    <a:pt x="45" y="264"/>
                  </a:lnTo>
                  <a:lnTo>
                    <a:pt x="45" y="268"/>
                  </a:lnTo>
                  <a:lnTo>
                    <a:pt x="45" y="270"/>
                  </a:lnTo>
                  <a:lnTo>
                    <a:pt x="48" y="274"/>
                  </a:lnTo>
                  <a:lnTo>
                    <a:pt x="51" y="276"/>
                  </a:lnTo>
                  <a:lnTo>
                    <a:pt x="51" y="276"/>
                  </a:lnTo>
                  <a:close/>
                  <a:moveTo>
                    <a:pt x="59" y="243"/>
                  </a:moveTo>
                  <a:lnTo>
                    <a:pt x="59" y="246"/>
                  </a:lnTo>
                  <a:lnTo>
                    <a:pt x="58" y="250"/>
                  </a:lnTo>
                  <a:lnTo>
                    <a:pt x="59" y="252"/>
                  </a:lnTo>
                  <a:lnTo>
                    <a:pt x="64" y="254"/>
                  </a:lnTo>
                  <a:lnTo>
                    <a:pt x="66" y="258"/>
                  </a:lnTo>
                  <a:lnTo>
                    <a:pt x="59" y="258"/>
                  </a:lnTo>
                  <a:lnTo>
                    <a:pt x="57" y="261"/>
                  </a:lnTo>
                  <a:lnTo>
                    <a:pt x="58" y="264"/>
                  </a:lnTo>
                  <a:lnTo>
                    <a:pt x="61" y="265"/>
                  </a:lnTo>
                  <a:lnTo>
                    <a:pt x="64" y="267"/>
                  </a:lnTo>
                  <a:lnTo>
                    <a:pt x="68" y="268"/>
                  </a:lnTo>
                  <a:lnTo>
                    <a:pt x="68" y="272"/>
                  </a:lnTo>
                  <a:lnTo>
                    <a:pt x="68" y="274"/>
                  </a:lnTo>
                  <a:lnTo>
                    <a:pt x="63" y="272"/>
                  </a:lnTo>
                  <a:lnTo>
                    <a:pt x="58" y="269"/>
                  </a:lnTo>
                  <a:lnTo>
                    <a:pt x="54" y="269"/>
                  </a:lnTo>
                  <a:lnTo>
                    <a:pt x="52" y="267"/>
                  </a:lnTo>
                  <a:lnTo>
                    <a:pt x="45" y="259"/>
                  </a:lnTo>
                  <a:lnTo>
                    <a:pt x="40" y="251"/>
                  </a:lnTo>
                  <a:lnTo>
                    <a:pt x="42" y="250"/>
                  </a:lnTo>
                  <a:lnTo>
                    <a:pt x="46" y="250"/>
                  </a:lnTo>
                  <a:lnTo>
                    <a:pt x="49" y="249"/>
                  </a:lnTo>
                  <a:lnTo>
                    <a:pt x="52" y="247"/>
                  </a:lnTo>
                  <a:lnTo>
                    <a:pt x="53" y="244"/>
                  </a:lnTo>
                  <a:lnTo>
                    <a:pt x="55" y="244"/>
                  </a:lnTo>
                  <a:lnTo>
                    <a:pt x="56" y="240"/>
                  </a:lnTo>
                  <a:lnTo>
                    <a:pt x="54" y="236"/>
                  </a:lnTo>
                  <a:lnTo>
                    <a:pt x="51" y="234"/>
                  </a:lnTo>
                  <a:lnTo>
                    <a:pt x="48" y="234"/>
                  </a:lnTo>
                  <a:lnTo>
                    <a:pt x="45" y="233"/>
                  </a:lnTo>
                  <a:lnTo>
                    <a:pt x="42" y="233"/>
                  </a:lnTo>
                  <a:lnTo>
                    <a:pt x="42" y="232"/>
                  </a:lnTo>
                  <a:lnTo>
                    <a:pt x="43" y="231"/>
                  </a:lnTo>
                  <a:lnTo>
                    <a:pt x="45" y="230"/>
                  </a:lnTo>
                  <a:lnTo>
                    <a:pt x="45" y="231"/>
                  </a:lnTo>
                  <a:lnTo>
                    <a:pt x="51" y="232"/>
                  </a:lnTo>
                  <a:lnTo>
                    <a:pt x="54" y="234"/>
                  </a:lnTo>
                  <a:lnTo>
                    <a:pt x="58" y="237"/>
                  </a:lnTo>
                  <a:lnTo>
                    <a:pt x="59" y="243"/>
                  </a:lnTo>
                  <a:lnTo>
                    <a:pt x="59" y="243"/>
                  </a:lnTo>
                  <a:close/>
                  <a:moveTo>
                    <a:pt x="293" y="148"/>
                  </a:moveTo>
                  <a:lnTo>
                    <a:pt x="286" y="152"/>
                  </a:lnTo>
                  <a:lnTo>
                    <a:pt x="271" y="164"/>
                  </a:lnTo>
                  <a:lnTo>
                    <a:pt x="263" y="175"/>
                  </a:lnTo>
                  <a:lnTo>
                    <a:pt x="263" y="175"/>
                  </a:lnTo>
                  <a:lnTo>
                    <a:pt x="272" y="178"/>
                  </a:lnTo>
                  <a:lnTo>
                    <a:pt x="276" y="181"/>
                  </a:lnTo>
                  <a:lnTo>
                    <a:pt x="278" y="185"/>
                  </a:lnTo>
                  <a:lnTo>
                    <a:pt x="277" y="188"/>
                  </a:lnTo>
                  <a:lnTo>
                    <a:pt x="273" y="190"/>
                  </a:lnTo>
                  <a:lnTo>
                    <a:pt x="270" y="190"/>
                  </a:lnTo>
                  <a:lnTo>
                    <a:pt x="264" y="193"/>
                  </a:lnTo>
                  <a:lnTo>
                    <a:pt x="262" y="196"/>
                  </a:lnTo>
                  <a:lnTo>
                    <a:pt x="261" y="199"/>
                  </a:lnTo>
                  <a:lnTo>
                    <a:pt x="261" y="203"/>
                  </a:lnTo>
                  <a:lnTo>
                    <a:pt x="259" y="206"/>
                  </a:lnTo>
                  <a:lnTo>
                    <a:pt x="256" y="213"/>
                  </a:lnTo>
                  <a:lnTo>
                    <a:pt x="256" y="217"/>
                  </a:lnTo>
                  <a:lnTo>
                    <a:pt x="256" y="221"/>
                  </a:lnTo>
                  <a:lnTo>
                    <a:pt x="257" y="223"/>
                  </a:lnTo>
                  <a:lnTo>
                    <a:pt x="258" y="227"/>
                  </a:lnTo>
                  <a:lnTo>
                    <a:pt x="258" y="231"/>
                  </a:lnTo>
                  <a:lnTo>
                    <a:pt x="257" y="234"/>
                  </a:lnTo>
                  <a:lnTo>
                    <a:pt x="255" y="241"/>
                  </a:lnTo>
                  <a:lnTo>
                    <a:pt x="254" y="245"/>
                  </a:lnTo>
                  <a:lnTo>
                    <a:pt x="254" y="248"/>
                  </a:lnTo>
                  <a:lnTo>
                    <a:pt x="257" y="255"/>
                  </a:lnTo>
                  <a:lnTo>
                    <a:pt x="260" y="261"/>
                  </a:lnTo>
                  <a:lnTo>
                    <a:pt x="262" y="263"/>
                  </a:lnTo>
                  <a:lnTo>
                    <a:pt x="268" y="265"/>
                  </a:lnTo>
                  <a:lnTo>
                    <a:pt x="270" y="267"/>
                  </a:lnTo>
                  <a:lnTo>
                    <a:pt x="271" y="268"/>
                  </a:lnTo>
                  <a:lnTo>
                    <a:pt x="271" y="270"/>
                  </a:lnTo>
                  <a:lnTo>
                    <a:pt x="270" y="272"/>
                  </a:lnTo>
                  <a:lnTo>
                    <a:pt x="269" y="273"/>
                  </a:lnTo>
                  <a:lnTo>
                    <a:pt x="268" y="274"/>
                  </a:lnTo>
                  <a:lnTo>
                    <a:pt x="266" y="274"/>
                  </a:lnTo>
                  <a:lnTo>
                    <a:pt x="263" y="279"/>
                  </a:lnTo>
                  <a:lnTo>
                    <a:pt x="263" y="281"/>
                  </a:lnTo>
                  <a:lnTo>
                    <a:pt x="265" y="283"/>
                  </a:lnTo>
                  <a:lnTo>
                    <a:pt x="266" y="288"/>
                  </a:lnTo>
                  <a:lnTo>
                    <a:pt x="265" y="291"/>
                  </a:lnTo>
                  <a:lnTo>
                    <a:pt x="263" y="291"/>
                  </a:lnTo>
                  <a:lnTo>
                    <a:pt x="256" y="289"/>
                  </a:lnTo>
                  <a:lnTo>
                    <a:pt x="252" y="289"/>
                  </a:lnTo>
                  <a:lnTo>
                    <a:pt x="249" y="289"/>
                  </a:lnTo>
                  <a:lnTo>
                    <a:pt x="248" y="292"/>
                  </a:lnTo>
                  <a:lnTo>
                    <a:pt x="248" y="296"/>
                  </a:lnTo>
                  <a:lnTo>
                    <a:pt x="248" y="299"/>
                  </a:lnTo>
                  <a:lnTo>
                    <a:pt x="243" y="311"/>
                  </a:lnTo>
                  <a:lnTo>
                    <a:pt x="241" y="313"/>
                  </a:lnTo>
                  <a:lnTo>
                    <a:pt x="238" y="316"/>
                  </a:lnTo>
                  <a:lnTo>
                    <a:pt x="231" y="320"/>
                  </a:lnTo>
                  <a:lnTo>
                    <a:pt x="228" y="321"/>
                  </a:lnTo>
                  <a:lnTo>
                    <a:pt x="221" y="323"/>
                  </a:lnTo>
                  <a:lnTo>
                    <a:pt x="219" y="323"/>
                  </a:lnTo>
                  <a:lnTo>
                    <a:pt x="219" y="326"/>
                  </a:lnTo>
                  <a:lnTo>
                    <a:pt x="219" y="328"/>
                  </a:lnTo>
                  <a:lnTo>
                    <a:pt x="219" y="331"/>
                  </a:lnTo>
                  <a:lnTo>
                    <a:pt x="218" y="334"/>
                  </a:lnTo>
                  <a:lnTo>
                    <a:pt x="214" y="337"/>
                  </a:lnTo>
                  <a:lnTo>
                    <a:pt x="208" y="340"/>
                  </a:lnTo>
                  <a:lnTo>
                    <a:pt x="200" y="343"/>
                  </a:lnTo>
                  <a:lnTo>
                    <a:pt x="200" y="343"/>
                  </a:lnTo>
                  <a:lnTo>
                    <a:pt x="200" y="335"/>
                  </a:lnTo>
                  <a:lnTo>
                    <a:pt x="199" y="334"/>
                  </a:lnTo>
                  <a:lnTo>
                    <a:pt x="201" y="328"/>
                  </a:lnTo>
                  <a:lnTo>
                    <a:pt x="200" y="325"/>
                  </a:lnTo>
                  <a:lnTo>
                    <a:pt x="192" y="316"/>
                  </a:lnTo>
                  <a:lnTo>
                    <a:pt x="190" y="312"/>
                  </a:lnTo>
                  <a:lnTo>
                    <a:pt x="189" y="308"/>
                  </a:lnTo>
                  <a:lnTo>
                    <a:pt x="189" y="301"/>
                  </a:lnTo>
                  <a:lnTo>
                    <a:pt x="191" y="293"/>
                  </a:lnTo>
                  <a:lnTo>
                    <a:pt x="191" y="289"/>
                  </a:lnTo>
                  <a:lnTo>
                    <a:pt x="188" y="289"/>
                  </a:lnTo>
                  <a:lnTo>
                    <a:pt x="189" y="288"/>
                  </a:lnTo>
                  <a:lnTo>
                    <a:pt x="188" y="286"/>
                  </a:lnTo>
                  <a:lnTo>
                    <a:pt x="186" y="283"/>
                  </a:lnTo>
                  <a:lnTo>
                    <a:pt x="185" y="281"/>
                  </a:lnTo>
                  <a:lnTo>
                    <a:pt x="187" y="280"/>
                  </a:lnTo>
                  <a:lnTo>
                    <a:pt x="186" y="278"/>
                  </a:lnTo>
                  <a:lnTo>
                    <a:pt x="181" y="274"/>
                  </a:lnTo>
                  <a:lnTo>
                    <a:pt x="181" y="273"/>
                  </a:lnTo>
                  <a:lnTo>
                    <a:pt x="178" y="269"/>
                  </a:lnTo>
                  <a:lnTo>
                    <a:pt x="174" y="265"/>
                  </a:lnTo>
                  <a:lnTo>
                    <a:pt x="173" y="264"/>
                  </a:lnTo>
                  <a:lnTo>
                    <a:pt x="168" y="261"/>
                  </a:lnTo>
                  <a:lnTo>
                    <a:pt x="166" y="261"/>
                  </a:lnTo>
                  <a:lnTo>
                    <a:pt x="165" y="262"/>
                  </a:lnTo>
                  <a:lnTo>
                    <a:pt x="158" y="254"/>
                  </a:lnTo>
                  <a:lnTo>
                    <a:pt x="161" y="246"/>
                  </a:lnTo>
                  <a:lnTo>
                    <a:pt x="160" y="244"/>
                  </a:lnTo>
                  <a:lnTo>
                    <a:pt x="160" y="235"/>
                  </a:lnTo>
                  <a:lnTo>
                    <a:pt x="159" y="231"/>
                  </a:lnTo>
                  <a:lnTo>
                    <a:pt x="156" y="229"/>
                  </a:lnTo>
                  <a:lnTo>
                    <a:pt x="155" y="228"/>
                  </a:lnTo>
                  <a:lnTo>
                    <a:pt x="154" y="226"/>
                  </a:lnTo>
                  <a:lnTo>
                    <a:pt x="151" y="226"/>
                  </a:lnTo>
                  <a:lnTo>
                    <a:pt x="147" y="226"/>
                  </a:lnTo>
                  <a:lnTo>
                    <a:pt x="145" y="226"/>
                  </a:lnTo>
                  <a:lnTo>
                    <a:pt x="143" y="224"/>
                  </a:lnTo>
                  <a:lnTo>
                    <a:pt x="141" y="221"/>
                  </a:lnTo>
                  <a:lnTo>
                    <a:pt x="139" y="216"/>
                  </a:lnTo>
                  <a:lnTo>
                    <a:pt x="138" y="213"/>
                  </a:lnTo>
                  <a:lnTo>
                    <a:pt x="137" y="207"/>
                  </a:lnTo>
                  <a:lnTo>
                    <a:pt x="136" y="205"/>
                  </a:lnTo>
                  <a:lnTo>
                    <a:pt x="135" y="204"/>
                  </a:lnTo>
                  <a:lnTo>
                    <a:pt x="128" y="200"/>
                  </a:lnTo>
                  <a:lnTo>
                    <a:pt x="128" y="204"/>
                  </a:lnTo>
                  <a:lnTo>
                    <a:pt x="129" y="206"/>
                  </a:lnTo>
                  <a:lnTo>
                    <a:pt x="132" y="211"/>
                  </a:lnTo>
                  <a:lnTo>
                    <a:pt x="128" y="213"/>
                  </a:lnTo>
                  <a:lnTo>
                    <a:pt x="130" y="225"/>
                  </a:lnTo>
                  <a:lnTo>
                    <a:pt x="128" y="228"/>
                  </a:lnTo>
                  <a:lnTo>
                    <a:pt x="128" y="224"/>
                  </a:lnTo>
                  <a:lnTo>
                    <a:pt x="128" y="213"/>
                  </a:lnTo>
                  <a:lnTo>
                    <a:pt x="127" y="209"/>
                  </a:lnTo>
                  <a:lnTo>
                    <a:pt x="125" y="202"/>
                  </a:lnTo>
                  <a:lnTo>
                    <a:pt x="121" y="178"/>
                  </a:lnTo>
                  <a:lnTo>
                    <a:pt x="120" y="171"/>
                  </a:lnTo>
                  <a:lnTo>
                    <a:pt x="121" y="162"/>
                  </a:lnTo>
                  <a:lnTo>
                    <a:pt x="120" y="159"/>
                  </a:lnTo>
                  <a:lnTo>
                    <a:pt x="120" y="154"/>
                  </a:lnTo>
                  <a:lnTo>
                    <a:pt x="119" y="152"/>
                  </a:lnTo>
                  <a:lnTo>
                    <a:pt x="117" y="152"/>
                  </a:lnTo>
                  <a:lnTo>
                    <a:pt x="113" y="152"/>
                  </a:lnTo>
                  <a:lnTo>
                    <a:pt x="113" y="151"/>
                  </a:lnTo>
                  <a:lnTo>
                    <a:pt x="113" y="149"/>
                  </a:lnTo>
                  <a:lnTo>
                    <a:pt x="112" y="147"/>
                  </a:lnTo>
                  <a:lnTo>
                    <a:pt x="93" y="131"/>
                  </a:lnTo>
                  <a:lnTo>
                    <a:pt x="92" y="131"/>
                  </a:lnTo>
                  <a:lnTo>
                    <a:pt x="91" y="132"/>
                  </a:lnTo>
                  <a:lnTo>
                    <a:pt x="90" y="130"/>
                  </a:lnTo>
                  <a:lnTo>
                    <a:pt x="89" y="127"/>
                  </a:lnTo>
                  <a:lnTo>
                    <a:pt x="85" y="122"/>
                  </a:lnTo>
                  <a:lnTo>
                    <a:pt x="84" y="119"/>
                  </a:lnTo>
                  <a:lnTo>
                    <a:pt x="83" y="118"/>
                  </a:lnTo>
                  <a:lnTo>
                    <a:pt x="83" y="117"/>
                  </a:lnTo>
                  <a:lnTo>
                    <a:pt x="79" y="118"/>
                  </a:lnTo>
                  <a:lnTo>
                    <a:pt x="77" y="118"/>
                  </a:lnTo>
                  <a:lnTo>
                    <a:pt x="76" y="115"/>
                  </a:lnTo>
                  <a:lnTo>
                    <a:pt x="75" y="114"/>
                  </a:lnTo>
                  <a:lnTo>
                    <a:pt x="68" y="107"/>
                  </a:lnTo>
                  <a:lnTo>
                    <a:pt x="67" y="107"/>
                  </a:lnTo>
                  <a:lnTo>
                    <a:pt x="65" y="107"/>
                  </a:lnTo>
                  <a:lnTo>
                    <a:pt x="63" y="106"/>
                  </a:lnTo>
                  <a:lnTo>
                    <a:pt x="58" y="99"/>
                  </a:lnTo>
                  <a:lnTo>
                    <a:pt x="56" y="98"/>
                  </a:lnTo>
                  <a:lnTo>
                    <a:pt x="46" y="88"/>
                  </a:lnTo>
                  <a:lnTo>
                    <a:pt x="43" y="90"/>
                  </a:lnTo>
                  <a:lnTo>
                    <a:pt x="37" y="85"/>
                  </a:lnTo>
                  <a:lnTo>
                    <a:pt x="32" y="86"/>
                  </a:lnTo>
                  <a:lnTo>
                    <a:pt x="31" y="81"/>
                  </a:lnTo>
                  <a:lnTo>
                    <a:pt x="28" y="78"/>
                  </a:lnTo>
                  <a:lnTo>
                    <a:pt x="24" y="76"/>
                  </a:lnTo>
                  <a:lnTo>
                    <a:pt x="21" y="72"/>
                  </a:lnTo>
                  <a:lnTo>
                    <a:pt x="14" y="63"/>
                  </a:lnTo>
                  <a:lnTo>
                    <a:pt x="13" y="61"/>
                  </a:lnTo>
                  <a:lnTo>
                    <a:pt x="14" y="58"/>
                  </a:lnTo>
                  <a:lnTo>
                    <a:pt x="14" y="56"/>
                  </a:lnTo>
                  <a:lnTo>
                    <a:pt x="14" y="55"/>
                  </a:lnTo>
                  <a:lnTo>
                    <a:pt x="10" y="54"/>
                  </a:lnTo>
                  <a:lnTo>
                    <a:pt x="10" y="50"/>
                  </a:lnTo>
                  <a:lnTo>
                    <a:pt x="3" y="44"/>
                  </a:lnTo>
                  <a:lnTo>
                    <a:pt x="0" y="39"/>
                  </a:lnTo>
                  <a:lnTo>
                    <a:pt x="1" y="37"/>
                  </a:lnTo>
                  <a:lnTo>
                    <a:pt x="0" y="35"/>
                  </a:lnTo>
                  <a:lnTo>
                    <a:pt x="4" y="28"/>
                  </a:lnTo>
                  <a:lnTo>
                    <a:pt x="6" y="24"/>
                  </a:lnTo>
                  <a:lnTo>
                    <a:pt x="8" y="22"/>
                  </a:lnTo>
                  <a:lnTo>
                    <a:pt x="11" y="20"/>
                  </a:lnTo>
                  <a:lnTo>
                    <a:pt x="22" y="14"/>
                  </a:lnTo>
                  <a:lnTo>
                    <a:pt x="24" y="11"/>
                  </a:lnTo>
                  <a:lnTo>
                    <a:pt x="27" y="8"/>
                  </a:lnTo>
                  <a:lnTo>
                    <a:pt x="30" y="1"/>
                  </a:lnTo>
                  <a:lnTo>
                    <a:pt x="49" y="0"/>
                  </a:lnTo>
                  <a:lnTo>
                    <a:pt x="55" y="1"/>
                  </a:lnTo>
                  <a:lnTo>
                    <a:pt x="57" y="4"/>
                  </a:lnTo>
                  <a:lnTo>
                    <a:pt x="58" y="8"/>
                  </a:lnTo>
                  <a:lnTo>
                    <a:pt x="58" y="11"/>
                  </a:lnTo>
                  <a:lnTo>
                    <a:pt x="54" y="32"/>
                  </a:lnTo>
                  <a:lnTo>
                    <a:pt x="54" y="37"/>
                  </a:lnTo>
                  <a:lnTo>
                    <a:pt x="54" y="40"/>
                  </a:lnTo>
                  <a:lnTo>
                    <a:pt x="56" y="46"/>
                  </a:lnTo>
                  <a:lnTo>
                    <a:pt x="59" y="47"/>
                  </a:lnTo>
                  <a:lnTo>
                    <a:pt x="61" y="49"/>
                  </a:lnTo>
                  <a:lnTo>
                    <a:pt x="73" y="47"/>
                  </a:lnTo>
                  <a:lnTo>
                    <a:pt x="76" y="47"/>
                  </a:lnTo>
                  <a:lnTo>
                    <a:pt x="81" y="48"/>
                  </a:lnTo>
                  <a:lnTo>
                    <a:pt x="85" y="51"/>
                  </a:lnTo>
                  <a:lnTo>
                    <a:pt x="88" y="53"/>
                  </a:lnTo>
                  <a:lnTo>
                    <a:pt x="89" y="56"/>
                  </a:lnTo>
                  <a:lnTo>
                    <a:pt x="90" y="62"/>
                  </a:lnTo>
                  <a:lnTo>
                    <a:pt x="92" y="66"/>
                  </a:lnTo>
                  <a:lnTo>
                    <a:pt x="96" y="70"/>
                  </a:lnTo>
                  <a:lnTo>
                    <a:pt x="99" y="72"/>
                  </a:lnTo>
                  <a:lnTo>
                    <a:pt x="104" y="73"/>
                  </a:lnTo>
                  <a:lnTo>
                    <a:pt x="129" y="73"/>
                  </a:lnTo>
                  <a:lnTo>
                    <a:pt x="134" y="74"/>
                  </a:lnTo>
                  <a:lnTo>
                    <a:pt x="138" y="76"/>
                  </a:lnTo>
                  <a:lnTo>
                    <a:pt x="142" y="80"/>
                  </a:lnTo>
                  <a:lnTo>
                    <a:pt x="143" y="84"/>
                  </a:lnTo>
                  <a:lnTo>
                    <a:pt x="145" y="88"/>
                  </a:lnTo>
                  <a:lnTo>
                    <a:pt x="147" y="91"/>
                  </a:lnTo>
                  <a:lnTo>
                    <a:pt x="150" y="96"/>
                  </a:lnTo>
                  <a:lnTo>
                    <a:pt x="166" y="112"/>
                  </a:lnTo>
                  <a:lnTo>
                    <a:pt x="169" y="114"/>
                  </a:lnTo>
                  <a:lnTo>
                    <a:pt x="173" y="116"/>
                  </a:lnTo>
                  <a:lnTo>
                    <a:pt x="177" y="116"/>
                  </a:lnTo>
                  <a:lnTo>
                    <a:pt x="180" y="115"/>
                  </a:lnTo>
                  <a:lnTo>
                    <a:pt x="182" y="113"/>
                  </a:lnTo>
                  <a:lnTo>
                    <a:pt x="183" y="109"/>
                  </a:lnTo>
                  <a:lnTo>
                    <a:pt x="191" y="80"/>
                  </a:lnTo>
                  <a:lnTo>
                    <a:pt x="195" y="73"/>
                  </a:lnTo>
                  <a:lnTo>
                    <a:pt x="197" y="69"/>
                  </a:lnTo>
                  <a:lnTo>
                    <a:pt x="200" y="67"/>
                  </a:lnTo>
                  <a:lnTo>
                    <a:pt x="207" y="61"/>
                  </a:lnTo>
                  <a:lnTo>
                    <a:pt x="215" y="57"/>
                  </a:lnTo>
                  <a:lnTo>
                    <a:pt x="217" y="56"/>
                  </a:lnTo>
                  <a:lnTo>
                    <a:pt x="223" y="58"/>
                  </a:lnTo>
                  <a:lnTo>
                    <a:pt x="225" y="61"/>
                  </a:lnTo>
                  <a:lnTo>
                    <a:pt x="226" y="64"/>
                  </a:lnTo>
                  <a:lnTo>
                    <a:pt x="226" y="71"/>
                  </a:lnTo>
                  <a:lnTo>
                    <a:pt x="226" y="76"/>
                  </a:lnTo>
                  <a:lnTo>
                    <a:pt x="229" y="80"/>
                  </a:lnTo>
                  <a:lnTo>
                    <a:pt x="242" y="91"/>
                  </a:lnTo>
                  <a:lnTo>
                    <a:pt x="246" y="95"/>
                  </a:lnTo>
                  <a:lnTo>
                    <a:pt x="248" y="99"/>
                  </a:lnTo>
                  <a:lnTo>
                    <a:pt x="254" y="109"/>
                  </a:lnTo>
                  <a:lnTo>
                    <a:pt x="256" y="113"/>
                  </a:lnTo>
                  <a:lnTo>
                    <a:pt x="259" y="115"/>
                  </a:lnTo>
                  <a:lnTo>
                    <a:pt x="272" y="120"/>
                  </a:lnTo>
                  <a:lnTo>
                    <a:pt x="276" y="123"/>
                  </a:lnTo>
                  <a:lnTo>
                    <a:pt x="278" y="127"/>
                  </a:lnTo>
                  <a:lnTo>
                    <a:pt x="293" y="148"/>
                  </a:lnTo>
                  <a:lnTo>
                    <a:pt x="293" y="14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02" name="Freeform 18">
              <a:extLst>
                <a:ext uri="{FF2B5EF4-FFF2-40B4-BE49-F238E27FC236}"/>
              </a:extLst>
            </p:cNvPr>
            <p:cNvSpPr>
              <a:spLocks/>
            </p:cNvSpPr>
            <p:nvPr/>
          </p:nvSpPr>
          <p:spPr bwMode="auto">
            <a:xfrm>
              <a:off x="2779713" y="4313238"/>
              <a:ext cx="1333500" cy="1668463"/>
            </a:xfrm>
            <a:custGeom>
              <a:avLst/>
              <a:gdLst>
                <a:gd name="T0" fmla="*/ 593 w 840"/>
                <a:gd name="T1" fmla="*/ 99 h 1051"/>
                <a:gd name="T2" fmla="*/ 719 w 840"/>
                <a:gd name="T3" fmla="*/ 197 h 1051"/>
                <a:gd name="T4" fmla="*/ 745 w 840"/>
                <a:gd name="T5" fmla="*/ 264 h 1051"/>
                <a:gd name="T6" fmla="*/ 813 w 840"/>
                <a:gd name="T7" fmla="*/ 363 h 1051"/>
                <a:gd name="T8" fmla="*/ 793 w 840"/>
                <a:gd name="T9" fmla="*/ 466 h 1051"/>
                <a:gd name="T10" fmla="*/ 753 w 840"/>
                <a:gd name="T11" fmla="*/ 566 h 1051"/>
                <a:gd name="T12" fmla="*/ 610 w 840"/>
                <a:gd name="T13" fmla="*/ 654 h 1051"/>
                <a:gd name="T14" fmla="*/ 531 w 840"/>
                <a:gd name="T15" fmla="*/ 605 h 1051"/>
                <a:gd name="T16" fmla="*/ 464 w 840"/>
                <a:gd name="T17" fmla="*/ 591 h 1051"/>
                <a:gd name="T18" fmla="*/ 432 w 840"/>
                <a:gd name="T19" fmla="*/ 604 h 1051"/>
                <a:gd name="T20" fmla="*/ 384 w 840"/>
                <a:gd name="T21" fmla="*/ 681 h 1051"/>
                <a:gd name="T22" fmla="*/ 387 w 840"/>
                <a:gd name="T23" fmla="*/ 730 h 1051"/>
                <a:gd name="T24" fmla="*/ 411 w 840"/>
                <a:gd name="T25" fmla="*/ 811 h 1051"/>
                <a:gd name="T26" fmla="*/ 470 w 840"/>
                <a:gd name="T27" fmla="*/ 771 h 1051"/>
                <a:gd name="T28" fmla="*/ 533 w 840"/>
                <a:gd name="T29" fmla="*/ 754 h 1051"/>
                <a:gd name="T30" fmla="*/ 537 w 840"/>
                <a:gd name="T31" fmla="*/ 846 h 1051"/>
                <a:gd name="T32" fmla="*/ 473 w 840"/>
                <a:gd name="T33" fmla="*/ 869 h 1051"/>
                <a:gd name="T34" fmla="*/ 470 w 840"/>
                <a:gd name="T35" fmla="*/ 932 h 1051"/>
                <a:gd name="T36" fmla="*/ 523 w 840"/>
                <a:gd name="T37" fmla="*/ 1017 h 1051"/>
                <a:gd name="T38" fmla="*/ 487 w 840"/>
                <a:gd name="T39" fmla="*/ 1043 h 1051"/>
                <a:gd name="T40" fmla="*/ 478 w 840"/>
                <a:gd name="T41" fmla="*/ 1027 h 1051"/>
                <a:gd name="T42" fmla="*/ 466 w 840"/>
                <a:gd name="T43" fmla="*/ 989 h 1051"/>
                <a:gd name="T44" fmla="*/ 446 w 840"/>
                <a:gd name="T45" fmla="*/ 971 h 1051"/>
                <a:gd name="T46" fmla="*/ 434 w 840"/>
                <a:gd name="T47" fmla="*/ 928 h 1051"/>
                <a:gd name="T48" fmla="*/ 417 w 840"/>
                <a:gd name="T49" fmla="*/ 905 h 1051"/>
                <a:gd name="T50" fmla="*/ 403 w 840"/>
                <a:gd name="T51" fmla="*/ 869 h 1051"/>
                <a:gd name="T52" fmla="*/ 391 w 840"/>
                <a:gd name="T53" fmla="*/ 839 h 1051"/>
                <a:gd name="T54" fmla="*/ 386 w 840"/>
                <a:gd name="T55" fmla="*/ 810 h 1051"/>
                <a:gd name="T56" fmla="*/ 351 w 840"/>
                <a:gd name="T57" fmla="*/ 757 h 1051"/>
                <a:gd name="T58" fmla="*/ 314 w 840"/>
                <a:gd name="T59" fmla="*/ 734 h 1051"/>
                <a:gd name="T60" fmla="*/ 285 w 840"/>
                <a:gd name="T61" fmla="*/ 704 h 1051"/>
                <a:gd name="T62" fmla="*/ 247 w 840"/>
                <a:gd name="T63" fmla="*/ 674 h 1051"/>
                <a:gd name="T64" fmla="*/ 214 w 840"/>
                <a:gd name="T65" fmla="*/ 668 h 1051"/>
                <a:gd name="T66" fmla="*/ 168 w 840"/>
                <a:gd name="T67" fmla="*/ 635 h 1051"/>
                <a:gd name="T68" fmla="*/ 147 w 840"/>
                <a:gd name="T69" fmla="*/ 598 h 1051"/>
                <a:gd name="T70" fmla="*/ 129 w 840"/>
                <a:gd name="T71" fmla="*/ 574 h 1051"/>
                <a:gd name="T72" fmla="*/ 124 w 840"/>
                <a:gd name="T73" fmla="*/ 567 h 1051"/>
                <a:gd name="T74" fmla="*/ 109 w 840"/>
                <a:gd name="T75" fmla="*/ 551 h 1051"/>
                <a:gd name="T76" fmla="*/ 87 w 840"/>
                <a:gd name="T77" fmla="*/ 514 h 1051"/>
                <a:gd name="T78" fmla="*/ 87 w 840"/>
                <a:gd name="T79" fmla="*/ 455 h 1051"/>
                <a:gd name="T80" fmla="*/ 74 w 840"/>
                <a:gd name="T81" fmla="*/ 424 h 1051"/>
                <a:gd name="T82" fmla="*/ 70 w 840"/>
                <a:gd name="T83" fmla="*/ 407 h 1051"/>
                <a:gd name="T84" fmla="*/ 48 w 840"/>
                <a:gd name="T85" fmla="*/ 354 h 1051"/>
                <a:gd name="T86" fmla="*/ 64 w 840"/>
                <a:gd name="T87" fmla="*/ 338 h 1051"/>
                <a:gd name="T88" fmla="*/ 83 w 840"/>
                <a:gd name="T89" fmla="*/ 289 h 1051"/>
                <a:gd name="T90" fmla="*/ 72 w 840"/>
                <a:gd name="T91" fmla="*/ 259 h 1051"/>
                <a:gd name="T92" fmla="*/ 49 w 840"/>
                <a:gd name="T93" fmla="*/ 209 h 1051"/>
                <a:gd name="T94" fmla="*/ 44 w 840"/>
                <a:gd name="T95" fmla="*/ 202 h 1051"/>
                <a:gd name="T96" fmla="*/ 38 w 840"/>
                <a:gd name="T97" fmla="*/ 182 h 1051"/>
                <a:gd name="T98" fmla="*/ 23 w 840"/>
                <a:gd name="T99" fmla="*/ 149 h 1051"/>
                <a:gd name="T100" fmla="*/ 0 w 840"/>
                <a:gd name="T101" fmla="*/ 103 h 1051"/>
                <a:gd name="T102" fmla="*/ 94 w 840"/>
                <a:gd name="T103" fmla="*/ 147 h 1051"/>
                <a:gd name="T104" fmla="*/ 205 w 840"/>
                <a:gd name="T105" fmla="*/ 149 h 1051"/>
                <a:gd name="T106" fmla="*/ 209 w 840"/>
                <a:gd name="T107" fmla="*/ 213 h 1051"/>
                <a:gd name="T108" fmla="*/ 238 w 840"/>
                <a:gd name="T109" fmla="*/ 262 h 1051"/>
                <a:gd name="T110" fmla="*/ 330 w 840"/>
                <a:gd name="T111" fmla="*/ 254 h 1051"/>
                <a:gd name="T112" fmla="*/ 470 w 840"/>
                <a:gd name="T113" fmla="*/ 134 h 1051"/>
                <a:gd name="T114" fmla="*/ 514 w 840"/>
                <a:gd name="T115" fmla="*/ 60 h 1051"/>
                <a:gd name="T116" fmla="*/ 537 w 840"/>
                <a:gd name="T117"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0" h="1051">
                  <a:moveTo>
                    <a:pt x="559" y="3"/>
                  </a:moveTo>
                  <a:lnTo>
                    <a:pt x="557" y="20"/>
                  </a:lnTo>
                  <a:lnTo>
                    <a:pt x="558" y="33"/>
                  </a:lnTo>
                  <a:lnTo>
                    <a:pt x="559" y="36"/>
                  </a:lnTo>
                  <a:lnTo>
                    <a:pt x="561" y="39"/>
                  </a:lnTo>
                  <a:lnTo>
                    <a:pt x="562" y="41"/>
                  </a:lnTo>
                  <a:lnTo>
                    <a:pt x="568" y="44"/>
                  </a:lnTo>
                  <a:lnTo>
                    <a:pt x="572" y="47"/>
                  </a:lnTo>
                  <a:lnTo>
                    <a:pt x="576" y="50"/>
                  </a:lnTo>
                  <a:lnTo>
                    <a:pt x="579" y="56"/>
                  </a:lnTo>
                  <a:lnTo>
                    <a:pt x="588" y="85"/>
                  </a:lnTo>
                  <a:lnTo>
                    <a:pt x="592" y="94"/>
                  </a:lnTo>
                  <a:lnTo>
                    <a:pt x="593" y="99"/>
                  </a:lnTo>
                  <a:lnTo>
                    <a:pt x="598" y="125"/>
                  </a:lnTo>
                  <a:lnTo>
                    <a:pt x="620" y="177"/>
                  </a:lnTo>
                  <a:lnTo>
                    <a:pt x="621" y="179"/>
                  </a:lnTo>
                  <a:lnTo>
                    <a:pt x="624" y="182"/>
                  </a:lnTo>
                  <a:lnTo>
                    <a:pt x="628" y="185"/>
                  </a:lnTo>
                  <a:lnTo>
                    <a:pt x="631" y="187"/>
                  </a:lnTo>
                  <a:lnTo>
                    <a:pt x="635" y="189"/>
                  </a:lnTo>
                  <a:lnTo>
                    <a:pt x="638" y="190"/>
                  </a:lnTo>
                  <a:lnTo>
                    <a:pt x="644" y="191"/>
                  </a:lnTo>
                  <a:lnTo>
                    <a:pt x="670" y="191"/>
                  </a:lnTo>
                  <a:lnTo>
                    <a:pt x="706" y="193"/>
                  </a:lnTo>
                  <a:lnTo>
                    <a:pt x="714" y="195"/>
                  </a:lnTo>
                  <a:lnTo>
                    <a:pt x="719" y="197"/>
                  </a:lnTo>
                  <a:lnTo>
                    <a:pt x="722" y="199"/>
                  </a:lnTo>
                  <a:lnTo>
                    <a:pt x="727" y="202"/>
                  </a:lnTo>
                  <a:lnTo>
                    <a:pt x="729" y="207"/>
                  </a:lnTo>
                  <a:lnTo>
                    <a:pt x="730" y="210"/>
                  </a:lnTo>
                  <a:lnTo>
                    <a:pt x="729" y="213"/>
                  </a:lnTo>
                  <a:lnTo>
                    <a:pt x="727" y="222"/>
                  </a:lnTo>
                  <a:lnTo>
                    <a:pt x="726" y="239"/>
                  </a:lnTo>
                  <a:lnTo>
                    <a:pt x="726" y="245"/>
                  </a:lnTo>
                  <a:lnTo>
                    <a:pt x="727" y="249"/>
                  </a:lnTo>
                  <a:lnTo>
                    <a:pt x="731" y="255"/>
                  </a:lnTo>
                  <a:lnTo>
                    <a:pt x="734" y="259"/>
                  </a:lnTo>
                  <a:lnTo>
                    <a:pt x="738" y="262"/>
                  </a:lnTo>
                  <a:lnTo>
                    <a:pt x="745" y="264"/>
                  </a:lnTo>
                  <a:lnTo>
                    <a:pt x="749" y="264"/>
                  </a:lnTo>
                  <a:lnTo>
                    <a:pt x="753" y="264"/>
                  </a:lnTo>
                  <a:lnTo>
                    <a:pt x="773" y="259"/>
                  </a:lnTo>
                  <a:lnTo>
                    <a:pt x="777" y="258"/>
                  </a:lnTo>
                  <a:lnTo>
                    <a:pt x="780" y="258"/>
                  </a:lnTo>
                  <a:lnTo>
                    <a:pt x="800" y="262"/>
                  </a:lnTo>
                  <a:lnTo>
                    <a:pt x="803" y="263"/>
                  </a:lnTo>
                  <a:lnTo>
                    <a:pt x="807" y="264"/>
                  </a:lnTo>
                  <a:lnTo>
                    <a:pt x="809" y="268"/>
                  </a:lnTo>
                  <a:lnTo>
                    <a:pt x="809" y="269"/>
                  </a:lnTo>
                  <a:lnTo>
                    <a:pt x="805" y="295"/>
                  </a:lnTo>
                  <a:lnTo>
                    <a:pt x="805" y="302"/>
                  </a:lnTo>
                  <a:lnTo>
                    <a:pt x="813" y="363"/>
                  </a:lnTo>
                  <a:lnTo>
                    <a:pt x="813" y="367"/>
                  </a:lnTo>
                  <a:lnTo>
                    <a:pt x="813" y="370"/>
                  </a:lnTo>
                  <a:lnTo>
                    <a:pt x="812" y="374"/>
                  </a:lnTo>
                  <a:lnTo>
                    <a:pt x="810" y="377"/>
                  </a:lnTo>
                  <a:lnTo>
                    <a:pt x="808" y="381"/>
                  </a:lnTo>
                  <a:lnTo>
                    <a:pt x="803" y="388"/>
                  </a:lnTo>
                  <a:lnTo>
                    <a:pt x="801" y="391"/>
                  </a:lnTo>
                  <a:lnTo>
                    <a:pt x="800" y="395"/>
                  </a:lnTo>
                  <a:lnTo>
                    <a:pt x="799" y="399"/>
                  </a:lnTo>
                  <a:lnTo>
                    <a:pt x="802" y="429"/>
                  </a:lnTo>
                  <a:lnTo>
                    <a:pt x="800" y="437"/>
                  </a:lnTo>
                  <a:lnTo>
                    <a:pt x="794" y="462"/>
                  </a:lnTo>
                  <a:lnTo>
                    <a:pt x="793" y="466"/>
                  </a:lnTo>
                  <a:lnTo>
                    <a:pt x="794" y="470"/>
                  </a:lnTo>
                  <a:lnTo>
                    <a:pt x="794" y="474"/>
                  </a:lnTo>
                  <a:lnTo>
                    <a:pt x="796" y="477"/>
                  </a:lnTo>
                  <a:lnTo>
                    <a:pt x="840" y="543"/>
                  </a:lnTo>
                  <a:lnTo>
                    <a:pt x="823" y="550"/>
                  </a:lnTo>
                  <a:lnTo>
                    <a:pt x="796" y="566"/>
                  </a:lnTo>
                  <a:lnTo>
                    <a:pt x="790" y="567"/>
                  </a:lnTo>
                  <a:lnTo>
                    <a:pt x="786" y="568"/>
                  </a:lnTo>
                  <a:lnTo>
                    <a:pt x="774" y="564"/>
                  </a:lnTo>
                  <a:lnTo>
                    <a:pt x="770" y="563"/>
                  </a:lnTo>
                  <a:lnTo>
                    <a:pt x="765" y="563"/>
                  </a:lnTo>
                  <a:lnTo>
                    <a:pt x="758" y="564"/>
                  </a:lnTo>
                  <a:lnTo>
                    <a:pt x="753" y="566"/>
                  </a:lnTo>
                  <a:lnTo>
                    <a:pt x="742" y="570"/>
                  </a:lnTo>
                  <a:lnTo>
                    <a:pt x="740" y="571"/>
                  </a:lnTo>
                  <a:lnTo>
                    <a:pt x="736" y="572"/>
                  </a:lnTo>
                  <a:lnTo>
                    <a:pt x="726" y="572"/>
                  </a:lnTo>
                  <a:lnTo>
                    <a:pt x="720" y="573"/>
                  </a:lnTo>
                  <a:lnTo>
                    <a:pt x="716" y="574"/>
                  </a:lnTo>
                  <a:lnTo>
                    <a:pt x="711" y="577"/>
                  </a:lnTo>
                  <a:lnTo>
                    <a:pt x="705" y="584"/>
                  </a:lnTo>
                  <a:lnTo>
                    <a:pt x="700" y="588"/>
                  </a:lnTo>
                  <a:lnTo>
                    <a:pt x="667" y="606"/>
                  </a:lnTo>
                  <a:lnTo>
                    <a:pt x="625" y="645"/>
                  </a:lnTo>
                  <a:lnTo>
                    <a:pt x="619" y="649"/>
                  </a:lnTo>
                  <a:lnTo>
                    <a:pt x="610" y="654"/>
                  </a:lnTo>
                  <a:lnTo>
                    <a:pt x="605" y="656"/>
                  </a:lnTo>
                  <a:lnTo>
                    <a:pt x="599" y="657"/>
                  </a:lnTo>
                  <a:lnTo>
                    <a:pt x="596" y="655"/>
                  </a:lnTo>
                  <a:lnTo>
                    <a:pt x="592" y="653"/>
                  </a:lnTo>
                  <a:lnTo>
                    <a:pt x="590" y="650"/>
                  </a:lnTo>
                  <a:lnTo>
                    <a:pt x="586" y="646"/>
                  </a:lnTo>
                  <a:lnTo>
                    <a:pt x="569" y="611"/>
                  </a:lnTo>
                  <a:lnTo>
                    <a:pt x="567" y="606"/>
                  </a:lnTo>
                  <a:lnTo>
                    <a:pt x="557" y="598"/>
                  </a:lnTo>
                  <a:lnTo>
                    <a:pt x="553" y="597"/>
                  </a:lnTo>
                  <a:lnTo>
                    <a:pt x="549" y="596"/>
                  </a:lnTo>
                  <a:lnTo>
                    <a:pt x="546" y="597"/>
                  </a:lnTo>
                  <a:lnTo>
                    <a:pt x="531" y="605"/>
                  </a:lnTo>
                  <a:lnTo>
                    <a:pt x="527" y="607"/>
                  </a:lnTo>
                  <a:lnTo>
                    <a:pt x="523" y="609"/>
                  </a:lnTo>
                  <a:lnTo>
                    <a:pt x="505" y="609"/>
                  </a:lnTo>
                  <a:lnTo>
                    <a:pt x="500" y="609"/>
                  </a:lnTo>
                  <a:lnTo>
                    <a:pt x="495" y="611"/>
                  </a:lnTo>
                  <a:lnTo>
                    <a:pt x="487" y="614"/>
                  </a:lnTo>
                  <a:lnTo>
                    <a:pt x="482" y="615"/>
                  </a:lnTo>
                  <a:lnTo>
                    <a:pt x="478" y="615"/>
                  </a:lnTo>
                  <a:lnTo>
                    <a:pt x="477" y="614"/>
                  </a:lnTo>
                  <a:lnTo>
                    <a:pt x="474" y="612"/>
                  </a:lnTo>
                  <a:lnTo>
                    <a:pt x="471" y="609"/>
                  </a:lnTo>
                  <a:lnTo>
                    <a:pt x="470" y="605"/>
                  </a:lnTo>
                  <a:lnTo>
                    <a:pt x="464" y="591"/>
                  </a:lnTo>
                  <a:lnTo>
                    <a:pt x="462" y="588"/>
                  </a:lnTo>
                  <a:lnTo>
                    <a:pt x="458" y="584"/>
                  </a:lnTo>
                  <a:lnTo>
                    <a:pt x="453" y="582"/>
                  </a:lnTo>
                  <a:lnTo>
                    <a:pt x="449" y="582"/>
                  </a:lnTo>
                  <a:lnTo>
                    <a:pt x="445" y="582"/>
                  </a:lnTo>
                  <a:lnTo>
                    <a:pt x="441" y="583"/>
                  </a:lnTo>
                  <a:lnTo>
                    <a:pt x="438" y="586"/>
                  </a:lnTo>
                  <a:lnTo>
                    <a:pt x="435" y="589"/>
                  </a:lnTo>
                  <a:lnTo>
                    <a:pt x="434" y="591"/>
                  </a:lnTo>
                  <a:lnTo>
                    <a:pt x="433" y="593"/>
                  </a:lnTo>
                  <a:lnTo>
                    <a:pt x="433" y="597"/>
                  </a:lnTo>
                  <a:lnTo>
                    <a:pt x="432" y="600"/>
                  </a:lnTo>
                  <a:lnTo>
                    <a:pt x="432" y="604"/>
                  </a:lnTo>
                  <a:lnTo>
                    <a:pt x="433" y="612"/>
                  </a:lnTo>
                  <a:lnTo>
                    <a:pt x="436" y="622"/>
                  </a:lnTo>
                  <a:lnTo>
                    <a:pt x="437" y="628"/>
                  </a:lnTo>
                  <a:lnTo>
                    <a:pt x="437" y="629"/>
                  </a:lnTo>
                  <a:lnTo>
                    <a:pt x="435" y="634"/>
                  </a:lnTo>
                  <a:lnTo>
                    <a:pt x="424" y="655"/>
                  </a:lnTo>
                  <a:lnTo>
                    <a:pt x="419" y="667"/>
                  </a:lnTo>
                  <a:lnTo>
                    <a:pt x="417" y="671"/>
                  </a:lnTo>
                  <a:lnTo>
                    <a:pt x="413" y="674"/>
                  </a:lnTo>
                  <a:lnTo>
                    <a:pt x="409" y="676"/>
                  </a:lnTo>
                  <a:lnTo>
                    <a:pt x="405" y="677"/>
                  </a:lnTo>
                  <a:lnTo>
                    <a:pt x="388" y="680"/>
                  </a:lnTo>
                  <a:lnTo>
                    <a:pt x="384" y="681"/>
                  </a:lnTo>
                  <a:lnTo>
                    <a:pt x="380" y="683"/>
                  </a:lnTo>
                  <a:lnTo>
                    <a:pt x="376" y="686"/>
                  </a:lnTo>
                  <a:lnTo>
                    <a:pt x="363" y="699"/>
                  </a:lnTo>
                  <a:lnTo>
                    <a:pt x="360" y="703"/>
                  </a:lnTo>
                  <a:lnTo>
                    <a:pt x="360" y="706"/>
                  </a:lnTo>
                  <a:lnTo>
                    <a:pt x="361" y="710"/>
                  </a:lnTo>
                  <a:lnTo>
                    <a:pt x="364" y="712"/>
                  </a:lnTo>
                  <a:lnTo>
                    <a:pt x="367" y="714"/>
                  </a:lnTo>
                  <a:lnTo>
                    <a:pt x="380" y="718"/>
                  </a:lnTo>
                  <a:lnTo>
                    <a:pt x="381" y="719"/>
                  </a:lnTo>
                  <a:lnTo>
                    <a:pt x="384" y="722"/>
                  </a:lnTo>
                  <a:lnTo>
                    <a:pt x="386" y="726"/>
                  </a:lnTo>
                  <a:lnTo>
                    <a:pt x="387" y="730"/>
                  </a:lnTo>
                  <a:lnTo>
                    <a:pt x="387" y="734"/>
                  </a:lnTo>
                  <a:lnTo>
                    <a:pt x="385" y="752"/>
                  </a:lnTo>
                  <a:lnTo>
                    <a:pt x="385" y="756"/>
                  </a:lnTo>
                  <a:lnTo>
                    <a:pt x="388" y="767"/>
                  </a:lnTo>
                  <a:lnTo>
                    <a:pt x="388" y="771"/>
                  </a:lnTo>
                  <a:lnTo>
                    <a:pt x="388" y="786"/>
                  </a:lnTo>
                  <a:lnTo>
                    <a:pt x="388" y="789"/>
                  </a:lnTo>
                  <a:lnTo>
                    <a:pt x="388" y="793"/>
                  </a:lnTo>
                  <a:lnTo>
                    <a:pt x="390" y="796"/>
                  </a:lnTo>
                  <a:lnTo>
                    <a:pt x="393" y="799"/>
                  </a:lnTo>
                  <a:lnTo>
                    <a:pt x="395" y="800"/>
                  </a:lnTo>
                  <a:lnTo>
                    <a:pt x="408" y="807"/>
                  </a:lnTo>
                  <a:lnTo>
                    <a:pt x="411" y="811"/>
                  </a:lnTo>
                  <a:lnTo>
                    <a:pt x="422" y="826"/>
                  </a:lnTo>
                  <a:lnTo>
                    <a:pt x="425" y="828"/>
                  </a:lnTo>
                  <a:lnTo>
                    <a:pt x="430" y="830"/>
                  </a:lnTo>
                  <a:lnTo>
                    <a:pt x="434" y="831"/>
                  </a:lnTo>
                  <a:lnTo>
                    <a:pt x="438" y="831"/>
                  </a:lnTo>
                  <a:lnTo>
                    <a:pt x="442" y="830"/>
                  </a:lnTo>
                  <a:lnTo>
                    <a:pt x="446" y="829"/>
                  </a:lnTo>
                  <a:lnTo>
                    <a:pt x="448" y="827"/>
                  </a:lnTo>
                  <a:lnTo>
                    <a:pt x="452" y="825"/>
                  </a:lnTo>
                  <a:lnTo>
                    <a:pt x="454" y="822"/>
                  </a:lnTo>
                  <a:lnTo>
                    <a:pt x="455" y="818"/>
                  </a:lnTo>
                  <a:lnTo>
                    <a:pt x="459" y="799"/>
                  </a:lnTo>
                  <a:lnTo>
                    <a:pt x="470" y="771"/>
                  </a:lnTo>
                  <a:lnTo>
                    <a:pt x="475" y="763"/>
                  </a:lnTo>
                  <a:lnTo>
                    <a:pt x="477" y="760"/>
                  </a:lnTo>
                  <a:lnTo>
                    <a:pt x="478" y="759"/>
                  </a:lnTo>
                  <a:lnTo>
                    <a:pt x="481" y="757"/>
                  </a:lnTo>
                  <a:lnTo>
                    <a:pt x="485" y="757"/>
                  </a:lnTo>
                  <a:lnTo>
                    <a:pt x="501" y="757"/>
                  </a:lnTo>
                  <a:lnTo>
                    <a:pt x="506" y="756"/>
                  </a:lnTo>
                  <a:lnTo>
                    <a:pt x="510" y="754"/>
                  </a:lnTo>
                  <a:lnTo>
                    <a:pt x="518" y="751"/>
                  </a:lnTo>
                  <a:lnTo>
                    <a:pt x="525" y="750"/>
                  </a:lnTo>
                  <a:lnTo>
                    <a:pt x="528" y="751"/>
                  </a:lnTo>
                  <a:lnTo>
                    <a:pt x="531" y="752"/>
                  </a:lnTo>
                  <a:lnTo>
                    <a:pt x="533" y="754"/>
                  </a:lnTo>
                  <a:lnTo>
                    <a:pt x="535" y="757"/>
                  </a:lnTo>
                  <a:lnTo>
                    <a:pt x="538" y="760"/>
                  </a:lnTo>
                  <a:lnTo>
                    <a:pt x="538" y="765"/>
                  </a:lnTo>
                  <a:lnTo>
                    <a:pt x="538" y="768"/>
                  </a:lnTo>
                  <a:lnTo>
                    <a:pt x="538" y="772"/>
                  </a:lnTo>
                  <a:lnTo>
                    <a:pt x="533" y="795"/>
                  </a:lnTo>
                  <a:lnTo>
                    <a:pt x="533" y="798"/>
                  </a:lnTo>
                  <a:lnTo>
                    <a:pt x="533" y="803"/>
                  </a:lnTo>
                  <a:lnTo>
                    <a:pt x="534" y="807"/>
                  </a:lnTo>
                  <a:lnTo>
                    <a:pt x="541" y="819"/>
                  </a:lnTo>
                  <a:lnTo>
                    <a:pt x="542" y="823"/>
                  </a:lnTo>
                  <a:lnTo>
                    <a:pt x="542" y="827"/>
                  </a:lnTo>
                  <a:lnTo>
                    <a:pt x="537" y="846"/>
                  </a:lnTo>
                  <a:lnTo>
                    <a:pt x="535" y="849"/>
                  </a:lnTo>
                  <a:lnTo>
                    <a:pt x="533" y="852"/>
                  </a:lnTo>
                  <a:lnTo>
                    <a:pt x="530" y="855"/>
                  </a:lnTo>
                  <a:lnTo>
                    <a:pt x="527" y="856"/>
                  </a:lnTo>
                  <a:lnTo>
                    <a:pt x="524" y="856"/>
                  </a:lnTo>
                  <a:lnTo>
                    <a:pt x="522" y="856"/>
                  </a:lnTo>
                  <a:lnTo>
                    <a:pt x="503" y="855"/>
                  </a:lnTo>
                  <a:lnTo>
                    <a:pt x="500" y="855"/>
                  </a:lnTo>
                  <a:lnTo>
                    <a:pt x="496" y="856"/>
                  </a:lnTo>
                  <a:lnTo>
                    <a:pt x="493" y="856"/>
                  </a:lnTo>
                  <a:lnTo>
                    <a:pt x="485" y="861"/>
                  </a:lnTo>
                  <a:lnTo>
                    <a:pt x="477" y="867"/>
                  </a:lnTo>
                  <a:lnTo>
                    <a:pt x="473" y="869"/>
                  </a:lnTo>
                  <a:lnTo>
                    <a:pt x="470" y="869"/>
                  </a:lnTo>
                  <a:lnTo>
                    <a:pt x="466" y="867"/>
                  </a:lnTo>
                  <a:lnTo>
                    <a:pt x="463" y="865"/>
                  </a:lnTo>
                  <a:lnTo>
                    <a:pt x="461" y="864"/>
                  </a:lnTo>
                  <a:lnTo>
                    <a:pt x="460" y="865"/>
                  </a:lnTo>
                  <a:lnTo>
                    <a:pt x="459" y="869"/>
                  </a:lnTo>
                  <a:lnTo>
                    <a:pt x="458" y="909"/>
                  </a:lnTo>
                  <a:lnTo>
                    <a:pt x="459" y="917"/>
                  </a:lnTo>
                  <a:lnTo>
                    <a:pt x="460" y="921"/>
                  </a:lnTo>
                  <a:lnTo>
                    <a:pt x="461" y="925"/>
                  </a:lnTo>
                  <a:lnTo>
                    <a:pt x="463" y="928"/>
                  </a:lnTo>
                  <a:lnTo>
                    <a:pt x="466" y="931"/>
                  </a:lnTo>
                  <a:lnTo>
                    <a:pt x="470" y="932"/>
                  </a:lnTo>
                  <a:lnTo>
                    <a:pt x="472" y="933"/>
                  </a:lnTo>
                  <a:lnTo>
                    <a:pt x="491" y="933"/>
                  </a:lnTo>
                  <a:lnTo>
                    <a:pt x="498" y="934"/>
                  </a:lnTo>
                  <a:lnTo>
                    <a:pt x="505" y="935"/>
                  </a:lnTo>
                  <a:lnTo>
                    <a:pt x="508" y="937"/>
                  </a:lnTo>
                  <a:lnTo>
                    <a:pt x="512" y="939"/>
                  </a:lnTo>
                  <a:lnTo>
                    <a:pt x="515" y="941"/>
                  </a:lnTo>
                  <a:lnTo>
                    <a:pt x="516" y="945"/>
                  </a:lnTo>
                  <a:lnTo>
                    <a:pt x="528" y="980"/>
                  </a:lnTo>
                  <a:lnTo>
                    <a:pt x="530" y="986"/>
                  </a:lnTo>
                  <a:lnTo>
                    <a:pt x="530" y="990"/>
                  </a:lnTo>
                  <a:lnTo>
                    <a:pt x="529" y="994"/>
                  </a:lnTo>
                  <a:lnTo>
                    <a:pt x="523" y="1017"/>
                  </a:lnTo>
                  <a:lnTo>
                    <a:pt x="520" y="1024"/>
                  </a:lnTo>
                  <a:lnTo>
                    <a:pt x="517" y="1027"/>
                  </a:lnTo>
                  <a:lnTo>
                    <a:pt x="515" y="1030"/>
                  </a:lnTo>
                  <a:lnTo>
                    <a:pt x="504" y="1036"/>
                  </a:lnTo>
                  <a:lnTo>
                    <a:pt x="501" y="1038"/>
                  </a:lnTo>
                  <a:lnTo>
                    <a:pt x="499" y="1040"/>
                  </a:lnTo>
                  <a:lnTo>
                    <a:pt x="497" y="1044"/>
                  </a:lnTo>
                  <a:lnTo>
                    <a:pt x="493" y="1051"/>
                  </a:lnTo>
                  <a:lnTo>
                    <a:pt x="492" y="1049"/>
                  </a:lnTo>
                  <a:lnTo>
                    <a:pt x="491" y="1046"/>
                  </a:lnTo>
                  <a:lnTo>
                    <a:pt x="490" y="1045"/>
                  </a:lnTo>
                  <a:lnTo>
                    <a:pt x="489" y="1044"/>
                  </a:lnTo>
                  <a:lnTo>
                    <a:pt x="487" y="1043"/>
                  </a:lnTo>
                  <a:lnTo>
                    <a:pt x="487" y="1042"/>
                  </a:lnTo>
                  <a:lnTo>
                    <a:pt x="487" y="1039"/>
                  </a:lnTo>
                  <a:lnTo>
                    <a:pt x="484" y="1039"/>
                  </a:lnTo>
                  <a:lnTo>
                    <a:pt x="481" y="1038"/>
                  </a:lnTo>
                  <a:lnTo>
                    <a:pt x="482" y="1036"/>
                  </a:lnTo>
                  <a:lnTo>
                    <a:pt x="483" y="1035"/>
                  </a:lnTo>
                  <a:lnTo>
                    <a:pt x="482" y="1033"/>
                  </a:lnTo>
                  <a:lnTo>
                    <a:pt x="480" y="1032"/>
                  </a:lnTo>
                  <a:lnTo>
                    <a:pt x="478" y="1032"/>
                  </a:lnTo>
                  <a:lnTo>
                    <a:pt x="477" y="1033"/>
                  </a:lnTo>
                  <a:lnTo>
                    <a:pt x="478" y="1030"/>
                  </a:lnTo>
                  <a:lnTo>
                    <a:pt x="478" y="1028"/>
                  </a:lnTo>
                  <a:lnTo>
                    <a:pt x="478" y="1027"/>
                  </a:lnTo>
                  <a:lnTo>
                    <a:pt x="478" y="1024"/>
                  </a:lnTo>
                  <a:lnTo>
                    <a:pt x="478" y="1024"/>
                  </a:lnTo>
                  <a:lnTo>
                    <a:pt x="475" y="1023"/>
                  </a:lnTo>
                  <a:lnTo>
                    <a:pt x="473" y="1024"/>
                  </a:lnTo>
                  <a:lnTo>
                    <a:pt x="473" y="1021"/>
                  </a:lnTo>
                  <a:lnTo>
                    <a:pt x="473" y="1017"/>
                  </a:lnTo>
                  <a:lnTo>
                    <a:pt x="471" y="1014"/>
                  </a:lnTo>
                  <a:lnTo>
                    <a:pt x="470" y="1012"/>
                  </a:lnTo>
                  <a:lnTo>
                    <a:pt x="470" y="1009"/>
                  </a:lnTo>
                  <a:lnTo>
                    <a:pt x="468" y="1003"/>
                  </a:lnTo>
                  <a:lnTo>
                    <a:pt x="467" y="1000"/>
                  </a:lnTo>
                  <a:lnTo>
                    <a:pt x="467" y="991"/>
                  </a:lnTo>
                  <a:lnTo>
                    <a:pt x="466" y="989"/>
                  </a:lnTo>
                  <a:lnTo>
                    <a:pt x="464" y="988"/>
                  </a:lnTo>
                  <a:lnTo>
                    <a:pt x="463" y="987"/>
                  </a:lnTo>
                  <a:lnTo>
                    <a:pt x="463" y="985"/>
                  </a:lnTo>
                  <a:lnTo>
                    <a:pt x="463" y="984"/>
                  </a:lnTo>
                  <a:lnTo>
                    <a:pt x="456" y="979"/>
                  </a:lnTo>
                  <a:lnTo>
                    <a:pt x="455" y="978"/>
                  </a:lnTo>
                  <a:lnTo>
                    <a:pt x="455" y="976"/>
                  </a:lnTo>
                  <a:lnTo>
                    <a:pt x="455" y="974"/>
                  </a:lnTo>
                  <a:lnTo>
                    <a:pt x="454" y="972"/>
                  </a:lnTo>
                  <a:lnTo>
                    <a:pt x="450" y="971"/>
                  </a:lnTo>
                  <a:lnTo>
                    <a:pt x="448" y="969"/>
                  </a:lnTo>
                  <a:lnTo>
                    <a:pt x="448" y="970"/>
                  </a:lnTo>
                  <a:lnTo>
                    <a:pt x="446" y="971"/>
                  </a:lnTo>
                  <a:lnTo>
                    <a:pt x="445" y="971"/>
                  </a:lnTo>
                  <a:lnTo>
                    <a:pt x="443" y="970"/>
                  </a:lnTo>
                  <a:lnTo>
                    <a:pt x="441" y="970"/>
                  </a:lnTo>
                  <a:lnTo>
                    <a:pt x="440" y="968"/>
                  </a:lnTo>
                  <a:lnTo>
                    <a:pt x="439" y="966"/>
                  </a:lnTo>
                  <a:lnTo>
                    <a:pt x="434" y="956"/>
                  </a:lnTo>
                  <a:lnTo>
                    <a:pt x="433" y="954"/>
                  </a:lnTo>
                  <a:lnTo>
                    <a:pt x="430" y="951"/>
                  </a:lnTo>
                  <a:lnTo>
                    <a:pt x="429" y="949"/>
                  </a:lnTo>
                  <a:lnTo>
                    <a:pt x="429" y="947"/>
                  </a:lnTo>
                  <a:lnTo>
                    <a:pt x="429" y="943"/>
                  </a:lnTo>
                  <a:lnTo>
                    <a:pt x="433" y="932"/>
                  </a:lnTo>
                  <a:lnTo>
                    <a:pt x="434" y="928"/>
                  </a:lnTo>
                  <a:lnTo>
                    <a:pt x="434" y="927"/>
                  </a:lnTo>
                  <a:lnTo>
                    <a:pt x="435" y="926"/>
                  </a:lnTo>
                  <a:lnTo>
                    <a:pt x="435" y="925"/>
                  </a:lnTo>
                  <a:lnTo>
                    <a:pt x="434" y="923"/>
                  </a:lnTo>
                  <a:lnTo>
                    <a:pt x="433" y="923"/>
                  </a:lnTo>
                  <a:lnTo>
                    <a:pt x="429" y="920"/>
                  </a:lnTo>
                  <a:lnTo>
                    <a:pt x="429" y="920"/>
                  </a:lnTo>
                  <a:lnTo>
                    <a:pt x="422" y="918"/>
                  </a:lnTo>
                  <a:lnTo>
                    <a:pt x="420" y="913"/>
                  </a:lnTo>
                  <a:lnTo>
                    <a:pt x="420" y="912"/>
                  </a:lnTo>
                  <a:lnTo>
                    <a:pt x="418" y="908"/>
                  </a:lnTo>
                  <a:lnTo>
                    <a:pt x="417" y="907"/>
                  </a:lnTo>
                  <a:lnTo>
                    <a:pt x="417" y="905"/>
                  </a:lnTo>
                  <a:lnTo>
                    <a:pt x="417" y="903"/>
                  </a:lnTo>
                  <a:lnTo>
                    <a:pt x="418" y="900"/>
                  </a:lnTo>
                  <a:lnTo>
                    <a:pt x="418" y="898"/>
                  </a:lnTo>
                  <a:lnTo>
                    <a:pt x="420" y="895"/>
                  </a:lnTo>
                  <a:lnTo>
                    <a:pt x="420" y="892"/>
                  </a:lnTo>
                  <a:lnTo>
                    <a:pt x="421" y="888"/>
                  </a:lnTo>
                  <a:lnTo>
                    <a:pt x="424" y="884"/>
                  </a:lnTo>
                  <a:lnTo>
                    <a:pt x="422" y="881"/>
                  </a:lnTo>
                  <a:lnTo>
                    <a:pt x="418" y="879"/>
                  </a:lnTo>
                  <a:lnTo>
                    <a:pt x="415" y="878"/>
                  </a:lnTo>
                  <a:lnTo>
                    <a:pt x="408" y="876"/>
                  </a:lnTo>
                  <a:lnTo>
                    <a:pt x="405" y="873"/>
                  </a:lnTo>
                  <a:lnTo>
                    <a:pt x="403" y="869"/>
                  </a:lnTo>
                  <a:lnTo>
                    <a:pt x="401" y="865"/>
                  </a:lnTo>
                  <a:lnTo>
                    <a:pt x="401" y="864"/>
                  </a:lnTo>
                  <a:lnTo>
                    <a:pt x="401" y="861"/>
                  </a:lnTo>
                  <a:lnTo>
                    <a:pt x="402" y="857"/>
                  </a:lnTo>
                  <a:lnTo>
                    <a:pt x="402" y="856"/>
                  </a:lnTo>
                  <a:lnTo>
                    <a:pt x="401" y="852"/>
                  </a:lnTo>
                  <a:lnTo>
                    <a:pt x="401" y="850"/>
                  </a:lnTo>
                  <a:lnTo>
                    <a:pt x="400" y="848"/>
                  </a:lnTo>
                  <a:lnTo>
                    <a:pt x="397" y="847"/>
                  </a:lnTo>
                  <a:lnTo>
                    <a:pt x="395" y="846"/>
                  </a:lnTo>
                  <a:lnTo>
                    <a:pt x="395" y="841"/>
                  </a:lnTo>
                  <a:lnTo>
                    <a:pt x="394" y="840"/>
                  </a:lnTo>
                  <a:lnTo>
                    <a:pt x="391" y="839"/>
                  </a:lnTo>
                  <a:lnTo>
                    <a:pt x="387" y="835"/>
                  </a:lnTo>
                  <a:lnTo>
                    <a:pt x="387" y="832"/>
                  </a:lnTo>
                  <a:lnTo>
                    <a:pt x="387" y="830"/>
                  </a:lnTo>
                  <a:lnTo>
                    <a:pt x="385" y="827"/>
                  </a:lnTo>
                  <a:lnTo>
                    <a:pt x="384" y="824"/>
                  </a:lnTo>
                  <a:lnTo>
                    <a:pt x="383" y="821"/>
                  </a:lnTo>
                  <a:lnTo>
                    <a:pt x="383" y="819"/>
                  </a:lnTo>
                  <a:lnTo>
                    <a:pt x="385" y="818"/>
                  </a:lnTo>
                  <a:lnTo>
                    <a:pt x="386" y="816"/>
                  </a:lnTo>
                  <a:lnTo>
                    <a:pt x="387" y="815"/>
                  </a:lnTo>
                  <a:lnTo>
                    <a:pt x="386" y="813"/>
                  </a:lnTo>
                  <a:lnTo>
                    <a:pt x="387" y="811"/>
                  </a:lnTo>
                  <a:lnTo>
                    <a:pt x="386" y="810"/>
                  </a:lnTo>
                  <a:lnTo>
                    <a:pt x="385" y="808"/>
                  </a:lnTo>
                  <a:lnTo>
                    <a:pt x="385" y="806"/>
                  </a:lnTo>
                  <a:lnTo>
                    <a:pt x="370" y="801"/>
                  </a:lnTo>
                  <a:lnTo>
                    <a:pt x="366" y="798"/>
                  </a:lnTo>
                  <a:lnTo>
                    <a:pt x="357" y="789"/>
                  </a:lnTo>
                  <a:lnTo>
                    <a:pt x="354" y="788"/>
                  </a:lnTo>
                  <a:lnTo>
                    <a:pt x="354" y="787"/>
                  </a:lnTo>
                  <a:lnTo>
                    <a:pt x="356" y="787"/>
                  </a:lnTo>
                  <a:lnTo>
                    <a:pt x="359" y="789"/>
                  </a:lnTo>
                  <a:lnTo>
                    <a:pt x="360" y="781"/>
                  </a:lnTo>
                  <a:lnTo>
                    <a:pt x="360" y="772"/>
                  </a:lnTo>
                  <a:lnTo>
                    <a:pt x="358" y="769"/>
                  </a:lnTo>
                  <a:lnTo>
                    <a:pt x="351" y="757"/>
                  </a:lnTo>
                  <a:lnTo>
                    <a:pt x="348" y="756"/>
                  </a:lnTo>
                  <a:lnTo>
                    <a:pt x="339" y="754"/>
                  </a:lnTo>
                  <a:lnTo>
                    <a:pt x="335" y="755"/>
                  </a:lnTo>
                  <a:lnTo>
                    <a:pt x="335" y="756"/>
                  </a:lnTo>
                  <a:lnTo>
                    <a:pt x="336" y="761"/>
                  </a:lnTo>
                  <a:lnTo>
                    <a:pt x="334" y="758"/>
                  </a:lnTo>
                  <a:lnTo>
                    <a:pt x="332" y="755"/>
                  </a:lnTo>
                  <a:lnTo>
                    <a:pt x="330" y="751"/>
                  </a:lnTo>
                  <a:lnTo>
                    <a:pt x="330" y="749"/>
                  </a:lnTo>
                  <a:lnTo>
                    <a:pt x="327" y="749"/>
                  </a:lnTo>
                  <a:lnTo>
                    <a:pt x="321" y="738"/>
                  </a:lnTo>
                  <a:lnTo>
                    <a:pt x="316" y="734"/>
                  </a:lnTo>
                  <a:lnTo>
                    <a:pt x="314" y="734"/>
                  </a:lnTo>
                  <a:lnTo>
                    <a:pt x="314" y="733"/>
                  </a:lnTo>
                  <a:lnTo>
                    <a:pt x="317" y="727"/>
                  </a:lnTo>
                  <a:lnTo>
                    <a:pt x="316" y="725"/>
                  </a:lnTo>
                  <a:lnTo>
                    <a:pt x="314" y="723"/>
                  </a:lnTo>
                  <a:lnTo>
                    <a:pt x="309" y="720"/>
                  </a:lnTo>
                  <a:lnTo>
                    <a:pt x="303" y="717"/>
                  </a:lnTo>
                  <a:lnTo>
                    <a:pt x="301" y="716"/>
                  </a:lnTo>
                  <a:lnTo>
                    <a:pt x="299" y="713"/>
                  </a:lnTo>
                  <a:lnTo>
                    <a:pt x="297" y="712"/>
                  </a:lnTo>
                  <a:lnTo>
                    <a:pt x="292" y="706"/>
                  </a:lnTo>
                  <a:lnTo>
                    <a:pt x="291" y="705"/>
                  </a:lnTo>
                  <a:lnTo>
                    <a:pt x="287" y="704"/>
                  </a:lnTo>
                  <a:lnTo>
                    <a:pt x="285" y="704"/>
                  </a:lnTo>
                  <a:lnTo>
                    <a:pt x="282" y="704"/>
                  </a:lnTo>
                  <a:lnTo>
                    <a:pt x="279" y="702"/>
                  </a:lnTo>
                  <a:lnTo>
                    <a:pt x="271" y="696"/>
                  </a:lnTo>
                  <a:lnTo>
                    <a:pt x="265" y="689"/>
                  </a:lnTo>
                  <a:lnTo>
                    <a:pt x="267" y="686"/>
                  </a:lnTo>
                  <a:lnTo>
                    <a:pt x="263" y="684"/>
                  </a:lnTo>
                  <a:lnTo>
                    <a:pt x="260" y="683"/>
                  </a:lnTo>
                  <a:lnTo>
                    <a:pt x="254" y="682"/>
                  </a:lnTo>
                  <a:lnTo>
                    <a:pt x="253" y="681"/>
                  </a:lnTo>
                  <a:lnTo>
                    <a:pt x="252" y="679"/>
                  </a:lnTo>
                  <a:lnTo>
                    <a:pt x="249" y="676"/>
                  </a:lnTo>
                  <a:lnTo>
                    <a:pt x="247" y="674"/>
                  </a:lnTo>
                  <a:lnTo>
                    <a:pt x="247" y="674"/>
                  </a:lnTo>
                  <a:lnTo>
                    <a:pt x="245" y="673"/>
                  </a:lnTo>
                  <a:lnTo>
                    <a:pt x="240" y="668"/>
                  </a:lnTo>
                  <a:lnTo>
                    <a:pt x="237" y="666"/>
                  </a:lnTo>
                  <a:lnTo>
                    <a:pt x="234" y="666"/>
                  </a:lnTo>
                  <a:lnTo>
                    <a:pt x="230" y="667"/>
                  </a:lnTo>
                  <a:lnTo>
                    <a:pt x="226" y="669"/>
                  </a:lnTo>
                  <a:lnTo>
                    <a:pt x="225" y="670"/>
                  </a:lnTo>
                  <a:lnTo>
                    <a:pt x="221" y="669"/>
                  </a:lnTo>
                  <a:lnTo>
                    <a:pt x="214" y="665"/>
                  </a:lnTo>
                  <a:lnTo>
                    <a:pt x="210" y="663"/>
                  </a:lnTo>
                  <a:lnTo>
                    <a:pt x="210" y="665"/>
                  </a:lnTo>
                  <a:lnTo>
                    <a:pt x="212" y="666"/>
                  </a:lnTo>
                  <a:lnTo>
                    <a:pt x="214" y="668"/>
                  </a:lnTo>
                  <a:lnTo>
                    <a:pt x="216" y="670"/>
                  </a:lnTo>
                  <a:lnTo>
                    <a:pt x="217" y="671"/>
                  </a:lnTo>
                  <a:lnTo>
                    <a:pt x="216" y="672"/>
                  </a:lnTo>
                  <a:lnTo>
                    <a:pt x="214" y="671"/>
                  </a:lnTo>
                  <a:lnTo>
                    <a:pt x="198" y="660"/>
                  </a:lnTo>
                  <a:lnTo>
                    <a:pt x="195" y="658"/>
                  </a:lnTo>
                  <a:lnTo>
                    <a:pt x="192" y="658"/>
                  </a:lnTo>
                  <a:lnTo>
                    <a:pt x="189" y="657"/>
                  </a:lnTo>
                  <a:lnTo>
                    <a:pt x="186" y="655"/>
                  </a:lnTo>
                  <a:lnTo>
                    <a:pt x="184" y="650"/>
                  </a:lnTo>
                  <a:lnTo>
                    <a:pt x="181" y="647"/>
                  </a:lnTo>
                  <a:lnTo>
                    <a:pt x="172" y="640"/>
                  </a:lnTo>
                  <a:lnTo>
                    <a:pt x="168" y="635"/>
                  </a:lnTo>
                  <a:lnTo>
                    <a:pt x="157" y="620"/>
                  </a:lnTo>
                  <a:lnTo>
                    <a:pt x="154" y="616"/>
                  </a:lnTo>
                  <a:lnTo>
                    <a:pt x="154" y="615"/>
                  </a:lnTo>
                  <a:lnTo>
                    <a:pt x="155" y="615"/>
                  </a:lnTo>
                  <a:lnTo>
                    <a:pt x="157" y="615"/>
                  </a:lnTo>
                  <a:lnTo>
                    <a:pt x="158" y="614"/>
                  </a:lnTo>
                  <a:lnTo>
                    <a:pt x="159" y="612"/>
                  </a:lnTo>
                  <a:lnTo>
                    <a:pt x="156" y="612"/>
                  </a:lnTo>
                  <a:lnTo>
                    <a:pt x="154" y="611"/>
                  </a:lnTo>
                  <a:lnTo>
                    <a:pt x="150" y="607"/>
                  </a:lnTo>
                  <a:lnTo>
                    <a:pt x="149" y="605"/>
                  </a:lnTo>
                  <a:lnTo>
                    <a:pt x="148" y="600"/>
                  </a:lnTo>
                  <a:lnTo>
                    <a:pt x="147" y="598"/>
                  </a:lnTo>
                  <a:lnTo>
                    <a:pt x="141" y="591"/>
                  </a:lnTo>
                  <a:lnTo>
                    <a:pt x="141" y="589"/>
                  </a:lnTo>
                  <a:lnTo>
                    <a:pt x="144" y="584"/>
                  </a:lnTo>
                  <a:lnTo>
                    <a:pt x="138" y="582"/>
                  </a:lnTo>
                  <a:lnTo>
                    <a:pt x="136" y="582"/>
                  </a:lnTo>
                  <a:lnTo>
                    <a:pt x="136" y="583"/>
                  </a:lnTo>
                  <a:lnTo>
                    <a:pt x="136" y="584"/>
                  </a:lnTo>
                  <a:lnTo>
                    <a:pt x="132" y="582"/>
                  </a:lnTo>
                  <a:lnTo>
                    <a:pt x="130" y="580"/>
                  </a:lnTo>
                  <a:lnTo>
                    <a:pt x="131" y="577"/>
                  </a:lnTo>
                  <a:lnTo>
                    <a:pt x="130" y="576"/>
                  </a:lnTo>
                  <a:lnTo>
                    <a:pt x="129" y="575"/>
                  </a:lnTo>
                  <a:lnTo>
                    <a:pt x="129" y="574"/>
                  </a:lnTo>
                  <a:lnTo>
                    <a:pt x="130" y="572"/>
                  </a:lnTo>
                  <a:lnTo>
                    <a:pt x="131" y="574"/>
                  </a:lnTo>
                  <a:lnTo>
                    <a:pt x="132" y="574"/>
                  </a:lnTo>
                  <a:lnTo>
                    <a:pt x="134" y="575"/>
                  </a:lnTo>
                  <a:lnTo>
                    <a:pt x="136" y="575"/>
                  </a:lnTo>
                  <a:lnTo>
                    <a:pt x="135" y="574"/>
                  </a:lnTo>
                  <a:lnTo>
                    <a:pt x="134" y="570"/>
                  </a:lnTo>
                  <a:lnTo>
                    <a:pt x="132" y="570"/>
                  </a:lnTo>
                  <a:lnTo>
                    <a:pt x="131" y="570"/>
                  </a:lnTo>
                  <a:lnTo>
                    <a:pt x="129" y="567"/>
                  </a:lnTo>
                  <a:lnTo>
                    <a:pt x="128" y="567"/>
                  </a:lnTo>
                  <a:lnTo>
                    <a:pt x="128" y="570"/>
                  </a:lnTo>
                  <a:lnTo>
                    <a:pt x="124" y="567"/>
                  </a:lnTo>
                  <a:lnTo>
                    <a:pt x="119" y="563"/>
                  </a:lnTo>
                  <a:lnTo>
                    <a:pt x="116" y="559"/>
                  </a:lnTo>
                  <a:lnTo>
                    <a:pt x="117" y="555"/>
                  </a:lnTo>
                  <a:lnTo>
                    <a:pt x="118" y="557"/>
                  </a:lnTo>
                  <a:lnTo>
                    <a:pt x="119" y="558"/>
                  </a:lnTo>
                  <a:lnTo>
                    <a:pt x="120" y="556"/>
                  </a:lnTo>
                  <a:lnTo>
                    <a:pt x="119" y="554"/>
                  </a:lnTo>
                  <a:lnTo>
                    <a:pt x="118" y="553"/>
                  </a:lnTo>
                  <a:lnTo>
                    <a:pt x="117" y="552"/>
                  </a:lnTo>
                  <a:lnTo>
                    <a:pt x="114" y="551"/>
                  </a:lnTo>
                  <a:lnTo>
                    <a:pt x="112" y="551"/>
                  </a:lnTo>
                  <a:lnTo>
                    <a:pt x="109" y="552"/>
                  </a:lnTo>
                  <a:lnTo>
                    <a:pt x="109" y="551"/>
                  </a:lnTo>
                  <a:lnTo>
                    <a:pt x="104" y="544"/>
                  </a:lnTo>
                  <a:lnTo>
                    <a:pt x="103" y="542"/>
                  </a:lnTo>
                  <a:lnTo>
                    <a:pt x="102" y="538"/>
                  </a:lnTo>
                  <a:lnTo>
                    <a:pt x="102" y="535"/>
                  </a:lnTo>
                  <a:lnTo>
                    <a:pt x="102" y="533"/>
                  </a:lnTo>
                  <a:lnTo>
                    <a:pt x="100" y="531"/>
                  </a:lnTo>
                  <a:lnTo>
                    <a:pt x="99" y="529"/>
                  </a:lnTo>
                  <a:lnTo>
                    <a:pt x="99" y="528"/>
                  </a:lnTo>
                  <a:lnTo>
                    <a:pt x="98" y="527"/>
                  </a:lnTo>
                  <a:lnTo>
                    <a:pt x="97" y="526"/>
                  </a:lnTo>
                  <a:lnTo>
                    <a:pt x="90" y="521"/>
                  </a:lnTo>
                  <a:lnTo>
                    <a:pt x="88" y="519"/>
                  </a:lnTo>
                  <a:lnTo>
                    <a:pt x="87" y="514"/>
                  </a:lnTo>
                  <a:lnTo>
                    <a:pt x="86" y="511"/>
                  </a:lnTo>
                  <a:lnTo>
                    <a:pt x="86" y="508"/>
                  </a:lnTo>
                  <a:lnTo>
                    <a:pt x="86" y="508"/>
                  </a:lnTo>
                  <a:lnTo>
                    <a:pt x="87" y="506"/>
                  </a:lnTo>
                  <a:lnTo>
                    <a:pt x="87" y="505"/>
                  </a:lnTo>
                  <a:lnTo>
                    <a:pt x="87" y="502"/>
                  </a:lnTo>
                  <a:lnTo>
                    <a:pt x="80" y="492"/>
                  </a:lnTo>
                  <a:lnTo>
                    <a:pt x="78" y="490"/>
                  </a:lnTo>
                  <a:lnTo>
                    <a:pt x="72" y="482"/>
                  </a:lnTo>
                  <a:lnTo>
                    <a:pt x="86" y="470"/>
                  </a:lnTo>
                  <a:lnTo>
                    <a:pt x="88" y="466"/>
                  </a:lnTo>
                  <a:lnTo>
                    <a:pt x="88" y="460"/>
                  </a:lnTo>
                  <a:lnTo>
                    <a:pt x="87" y="455"/>
                  </a:lnTo>
                  <a:lnTo>
                    <a:pt x="84" y="452"/>
                  </a:lnTo>
                  <a:lnTo>
                    <a:pt x="84" y="452"/>
                  </a:lnTo>
                  <a:lnTo>
                    <a:pt x="87" y="450"/>
                  </a:lnTo>
                  <a:lnTo>
                    <a:pt x="86" y="447"/>
                  </a:lnTo>
                  <a:lnTo>
                    <a:pt x="83" y="441"/>
                  </a:lnTo>
                  <a:lnTo>
                    <a:pt x="81" y="445"/>
                  </a:lnTo>
                  <a:lnTo>
                    <a:pt x="79" y="445"/>
                  </a:lnTo>
                  <a:lnTo>
                    <a:pt x="78" y="444"/>
                  </a:lnTo>
                  <a:lnTo>
                    <a:pt x="76" y="440"/>
                  </a:lnTo>
                  <a:lnTo>
                    <a:pt x="78" y="439"/>
                  </a:lnTo>
                  <a:lnTo>
                    <a:pt x="74" y="435"/>
                  </a:lnTo>
                  <a:lnTo>
                    <a:pt x="74" y="430"/>
                  </a:lnTo>
                  <a:lnTo>
                    <a:pt x="74" y="424"/>
                  </a:lnTo>
                  <a:lnTo>
                    <a:pt x="74" y="419"/>
                  </a:lnTo>
                  <a:lnTo>
                    <a:pt x="72" y="414"/>
                  </a:lnTo>
                  <a:lnTo>
                    <a:pt x="72" y="412"/>
                  </a:lnTo>
                  <a:lnTo>
                    <a:pt x="76" y="410"/>
                  </a:lnTo>
                  <a:lnTo>
                    <a:pt x="77" y="409"/>
                  </a:lnTo>
                  <a:lnTo>
                    <a:pt x="78" y="407"/>
                  </a:lnTo>
                  <a:lnTo>
                    <a:pt x="78" y="404"/>
                  </a:lnTo>
                  <a:lnTo>
                    <a:pt x="76" y="402"/>
                  </a:lnTo>
                  <a:lnTo>
                    <a:pt x="75" y="406"/>
                  </a:lnTo>
                  <a:lnTo>
                    <a:pt x="74" y="407"/>
                  </a:lnTo>
                  <a:lnTo>
                    <a:pt x="72" y="408"/>
                  </a:lnTo>
                  <a:lnTo>
                    <a:pt x="71" y="408"/>
                  </a:lnTo>
                  <a:lnTo>
                    <a:pt x="70" y="407"/>
                  </a:lnTo>
                  <a:lnTo>
                    <a:pt x="70" y="406"/>
                  </a:lnTo>
                  <a:lnTo>
                    <a:pt x="69" y="404"/>
                  </a:lnTo>
                  <a:lnTo>
                    <a:pt x="67" y="402"/>
                  </a:lnTo>
                  <a:lnTo>
                    <a:pt x="66" y="400"/>
                  </a:lnTo>
                  <a:lnTo>
                    <a:pt x="65" y="399"/>
                  </a:lnTo>
                  <a:lnTo>
                    <a:pt x="65" y="396"/>
                  </a:lnTo>
                  <a:lnTo>
                    <a:pt x="64" y="394"/>
                  </a:lnTo>
                  <a:lnTo>
                    <a:pt x="63" y="393"/>
                  </a:lnTo>
                  <a:lnTo>
                    <a:pt x="61" y="391"/>
                  </a:lnTo>
                  <a:lnTo>
                    <a:pt x="56" y="384"/>
                  </a:lnTo>
                  <a:lnTo>
                    <a:pt x="51" y="373"/>
                  </a:lnTo>
                  <a:lnTo>
                    <a:pt x="48" y="358"/>
                  </a:lnTo>
                  <a:lnTo>
                    <a:pt x="48" y="354"/>
                  </a:lnTo>
                  <a:lnTo>
                    <a:pt x="52" y="353"/>
                  </a:lnTo>
                  <a:lnTo>
                    <a:pt x="56" y="358"/>
                  </a:lnTo>
                  <a:lnTo>
                    <a:pt x="60" y="358"/>
                  </a:lnTo>
                  <a:lnTo>
                    <a:pt x="61" y="354"/>
                  </a:lnTo>
                  <a:lnTo>
                    <a:pt x="61" y="351"/>
                  </a:lnTo>
                  <a:lnTo>
                    <a:pt x="61" y="349"/>
                  </a:lnTo>
                  <a:lnTo>
                    <a:pt x="64" y="346"/>
                  </a:lnTo>
                  <a:lnTo>
                    <a:pt x="64" y="346"/>
                  </a:lnTo>
                  <a:lnTo>
                    <a:pt x="65" y="342"/>
                  </a:lnTo>
                  <a:lnTo>
                    <a:pt x="67" y="335"/>
                  </a:lnTo>
                  <a:lnTo>
                    <a:pt x="67" y="331"/>
                  </a:lnTo>
                  <a:lnTo>
                    <a:pt x="66" y="331"/>
                  </a:lnTo>
                  <a:lnTo>
                    <a:pt x="64" y="338"/>
                  </a:lnTo>
                  <a:lnTo>
                    <a:pt x="63" y="335"/>
                  </a:lnTo>
                  <a:lnTo>
                    <a:pt x="63" y="333"/>
                  </a:lnTo>
                  <a:lnTo>
                    <a:pt x="64" y="331"/>
                  </a:lnTo>
                  <a:lnTo>
                    <a:pt x="64" y="328"/>
                  </a:lnTo>
                  <a:lnTo>
                    <a:pt x="64" y="321"/>
                  </a:lnTo>
                  <a:lnTo>
                    <a:pt x="66" y="315"/>
                  </a:lnTo>
                  <a:lnTo>
                    <a:pt x="71" y="309"/>
                  </a:lnTo>
                  <a:lnTo>
                    <a:pt x="73" y="301"/>
                  </a:lnTo>
                  <a:lnTo>
                    <a:pt x="74" y="300"/>
                  </a:lnTo>
                  <a:lnTo>
                    <a:pt x="76" y="299"/>
                  </a:lnTo>
                  <a:lnTo>
                    <a:pt x="78" y="296"/>
                  </a:lnTo>
                  <a:lnTo>
                    <a:pt x="79" y="292"/>
                  </a:lnTo>
                  <a:lnTo>
                    <a:pt x="83" y="289"/>
                  </a:lnTo>
                  <a:lnTo>
                    <a:pt x="83" y="288"/>
                  </a:lnTo>
                  <a:lnTo>
                    <a:pt x="83" y="285"/>
                  </a:lnTo>
                  <a:lnTo>
                    <a:pt x="82" y="284"/>
                  </a:lnTo>
                  <a:lnTo>
                    <a:pt x="80" y="282"/>
                  </a:lnTo>
                  <a:lnTo>
                    <a:pt x="79" y="283"/>
                  </a:lnTo>
                  <a:lnTo>
                    <a:pt x="78" y="285"/>
                  </a:lnTo>
                  <a:lnTo>
                    <a:pt x="76" y="290"/>
                  </a:lnTo>
                  <a:lnTo>
                    <a:pt x="75" y="292"/>
                  </a:lnTo>
                  <a:lnTo>
                    <a:pt x="71" y="292"/>
                  </a:lnTo>
                  <a:lnTo>
                    <a:pt x="71" y="287"/>
                  </a:lnTo>
                  <a:lnTo>
                    <a:pt x="72" y="279"/>
                  </a:lnTo>
                  <a:lnTo>
                    <a:pt x="71" y="270"/>
                  </a:lnTo>
                  <a:lnTo>
                    <a:pt x="72" y="259"/>
                  </a:lnTo>
                  <a:lnTo>
                    <a:pt x="71" y="254"/>
                  </a:lnTo>
                  <a:lnTo>
                    <a:pt x="71" y="252"/>
                  </a:lnTo>
                  <a:lnTo>
                    <a:pt x="65" y="246"/>
                  </a:lnTo>
                  <a:lnTo>
                    <a:pt x="61" y="236"/>
                  </a:lnTo>
                  <a:lnTo>
                    <a:pt x="58" y="230"/>
                  </a:lnTo>
                  <a:lnTo>
                    <a:pt x="56" y="227"/>
                  </a:lnTo>
                  <a:lnTo>
                    <a:pt x="57" y="225"/>
                  </a:lnTo>
                  <a:lnTo>
                    <a:pt x="62" y="221"/>
                  </a:lnTo>
                  <a:lnTo>
                    <a:pt x="62" y="219"/>
                  </a:lnTo>
                  <a:lnTo>
                    <a:pt x="53" y="210"/>
                  </a:lnTo>
                  <a:lnTo>
                    <a:pt x="50" y="208"/>
                  </a:lnTo>
                  <a:lnTo>
                    <a:pt x="49" y="209"/>
                  </a:lnTo>
                  <a:lnTo>
                    <a:pt x="49" y="209"/>
                  </a:lnTo>
                  <a:lnTo>
                    <a:pt x="52" y="213"/>
                  </a:lnTo>
                  <a:lnTo>
                    <a:pt x="53" y="215"/>
                  </a:lnTo>
                  <a:lnTo>
                    <a:pt x="54" y="216"/>
                  </a:lnTo>
                  <a:lnTo>
                    <a:pt x="55" y="220"/>
                  </a:lnTo>
                  <a:lnTo>
                    <a:pt x="56" y="222"/>
                  </a:lnTo>
                  <a:lnTo>
                    <a:pt x="55" y="224"/>
                  </a:lnTo>
                  <a:lnTo>
                    <a:pt x="52" y="218"/>
                  </a:lnTo>
                  <a:lnTo>
                    <a:pt x="48" y="210"/>
                  </a:lnTo>
                  <a:lnTo>
                    <a:pt x="42" y="206"/>
                  </a:lnTo>
                  <a:lnTo>
                    <a:pt x="34" y="190"/>
                  </a:lnTo>
                  <a:lnTo>
                    <a:pt x="34" y="187"/>
                  </a:lnTo>
                  <a:lnTo>
                    <a:pt x="39" y="190"/>
                  </a:lnTo>
                  <a:lnTo>
                    <a:pt x="44" y="202"/>
                  </a:lnTo>
                  <a:lnTo>
                    <a:pt x="48" y="203"/>
                  </a:lnTo>
                  <a:lnTo>
                    <a:pt x="49" y="204"/>
                  </a:lnTo>
                  <a:lnTo>
                    <a:pt x="51" y="204"/>
                  </a:lnTo>
                  <a:lnTo>
                    <a:pt x="52" y="202"/>
                  </a:lnTo>
                  <a:lnTo>
                    <a:pt x="53" y="201"/>
                  </a:lnTo>
                  <a:lnTo>
                    <a:pt x="51" y="199"/>
                  </a:lnTo>
                  <a:lnTo>
                    <a:pt x="49" y="193"/>
                  </a:lnTo>
                  <a:lnTo>
                    <a:pt x="46" y="192"/>
                  </a:lnTo>
                  <a:lnTo>
                    <a:pt x="44" y="190"/>
                  </a:lnTo>
                  <a:lnTo>
                    <a:pt x="43" y="188"/>
                  </a:lnTo>
                  <a:lnTo>
                    <a:pt x="42" y="186"/>
                  </a:lnTo>
                  <a:lnTo>
                    <a:pt x="41" y="183"/>
                  </a:lnTo>
                  <a:lnTo>
                    <a:pt x="38" y="182"/>
                  </a:lnTo>
                  <a:lnTo>
                    <a:pt x="34" y="181"/>
                  </a:lnTo>
                  <a:lnTo>
                    <a:pt x="32" y="179"/>
                  </a:lnTo>
                  <a:lnTo>
                    <a:pt x="28" y="180"/>
                  </a:lnTo>
                  <a:lnTo>
                    <a:pt x="26" y="178"/>
                  </a:lnTo>
                  <a:lnTo>
                    <a:pt x="22" y="170"/>
                  </a:lnTo>
                  <a:lnTo>
                    <a:pt x="24" y="168"/>
                  </a:lnTo>
                  <a:lnTo>
                    <a:pt x="26" y="165"/>
                  </a:lnTo>
                  <a:lnTo>
                    <a:pt x="26" y="163"/>
                  </a:lnTo>
                  <a:lnTo>
                    <a:pt x="26" y="160"/>
                  </a:lnTo>
                  <a:lnTo>
                    <a:pt x="26" y="155"/>
                  </a:lnTo>
                  <a:lnTo>
                    <a:pt x="26" y="152"/>
                  </a:lnTo>
                  <a:lnTo>
                    <a:pt x="26" y="149"/>
                  </a:lnTo>
                  <a:lnTo>
                    <a:pt x="23" y="149"/>
                  </a:lnTo>
                  <a:lnTo>
                    <a:pt x="22" y="151"/>
                  </a:lnTo>
                  <a:lnTo>
                    <a:pt x="19" y="148"/>
                  </a:lnTo>
                  <a:lnTo>
                    <a:pt x="17" y="144"/>
                  </a:lnTo>
                  <a:lnTo>
                    <a:pt x="14" y="138"/>
                  </a:lnTo>
                  <a:lnTo>
                    <a:pt x="11" y="134"/>
                  </a:lnTo>
                  <a:lnTo>
                    <a:pt x="10" y="130"/>
                  </a:lnTo>
                  <a:lnTo>
                    <a:pt x="7" y="127"/>
                  </a:lnTo>
                  <a:lnTo>
                    <a:pt x="7" y="125"/>
                  </a:lnTo>
                  <a:lnTo>
                    <a:pt x="5" y="121"/>
                  </a:lnTo>
                  <a:lnTo>
                    <a:pt x="5" y="119"/>
                  </a:lnTo>
                  <a:lnTo>
                    <a:pt x="4" y="114"/>
                  </a:lnTo>
                  <a:lnTo>
                    <a:pt x="2" y="109"/>
                  </a:lnTo>
                  <a:lnTo>
                    <a:pt x="0" y="103"/>
                  </a:lnTo>
                  <a:lnTo>
                    <a:pt x="0" y="101"/>
                  </a:lnTo>
                  <a:lnTo>
                    <a:pt x="4" y="100"/>
                  </a:lnTo>
                  <a:lnTo>
                    <a:pt x="26" y="98"/>
                  </a:lnTo>
                  <a:lnTo>
                    <a:pt x="37" y="95"/>
                  </a:lnTo>
                  <a:lnTo>
                    <a:pt x="42" y="94"/>
                  </a:lnTo>
                  <a:lnTo>
                    <a:pt x="47" y="96"/>
                  </a:lnTo>
                  <a:lnTo>
                    <a:pt x="50" y="100"/>
                  </a:lnTo>
                  <a:lnTo>
                    <a:pt x="57" y="110"/>
                  </a:lnTo>
                  <a:lnTo>
                    <a:pt x="59" y="113"/>
                  </a:lnTo>
                  <a:lnTo>
                    <a:pt x="72" y="125"/>
                  </a:lnTo>
                  <a:lnTo>
                    <a:pt x="86" y="140"/>
                  </a:lnTo>
                  <a:lnTo>
                    <a:pt x="90" y="144"/>
                  </a:lnTo>
                  <a:lnTo>
                    <a:pt x="94" y="147"/>
                  </a:lnTo>
                  <a:lnTo>
                    <a:pt x="99" y="148"/>
                  </a:lnTo>
                  <a:lnTo>
                    <a:pt x="106" y="148"/>
                  </a:lnTo>
                  <a:lnTo>
                    <a:pt x="124" y="144"/>
                  </a:lnTo>
                  <a:lnTo>
                    <a:pt x="129" y="144"/>
                  </a:lnTo>
                  <a:lnTo>
                    <a:pt x="132" y="146"/>
                  </a:lnTo>
                  <a:lnTo>
                    <a:pt x="133" y="149"/>
                  </a:lnTo>
                  <a:lnTo>
                    <a:pt x="134" y="153"/>
                  </a:lnTo>
                  <a:lnTo>
                    <a:pt x="135" y="160"/>
                  </a:lnTo>
                  <a:lnTo>
                    <a:pt x="137" y="163"/>
                  </a:lnTo>
                  <a:lnTo>
                    <a:pt x="140" y="164"/>
                  </a:lnTo>
                  <a:lnTo>
                    <a:pt x="154" y="162"/>
                  </a:lnTo>
                  <a:lnTo>
                    <a:pt x="189" y="151"/>
                  </a:lnTo>
                  <a:lnTo>
                    <a:pt x="205" y="149"/>
                  </a:lnTo>
                  <a:lnTo>
                    <a:pt x="208" y="149"/>
                  </a:lnTo>
                  <a:lnTo>
                    <a:pt x="212" y="150"/>
                  </a:lnTo>
                  <a:lnTo>
                    <a:pt x="215" y="153"/>
                  </a:lnTo>
                  <a:lnTo>
                    <a:pt x="217" y="156"/>
                  </a:lnTo>
                  <a:lnTo>
                    <a:pt x="218" y="160"/>
                  </a:lnTo>
                  <a:lnTo>
                    <a:pt x="219" y="163"/>
                  </a:lnTo>
                  <a:lnTo>
                    <a:pt x="219" y="169"/>
                  </a:lnTo>
                  <a:lnTo>
                    <a:pt x="217" y="178"/>
                  </a:lnTo>
                  <a:lnTo>
                    <a:pt x="217" y="180"/>
                  </a:lnTo>
                  <a:lnTo>
                    <a:pt x="207" y="202"/>
                  </a:lnTo>
                  <a:lnTo>
                    <a:pt x="207" y="206"/>
                  </a:lnTo>
                  <a:lnTo>
                    <a:pt x="207" y="209"/>
                  </a:lnTo>
                  <a:lnTo>
                    <a:pt x="209" y="213"/>
                  </a:lnTo>
                  <a:lnTo>
                    <a:pt x="213" y="214"/>
                  </a:lnTo>
                  <a:lnTo>
                    <a:pt x="224" y="217"/>
                  </a:lnTo>
                  <a:lnTo>
                    <a:pt x="229" y="220"/>
                  </a:lnTo>
                  <a:lnTo>
                    <a:pt x="232" y="222"/>
                  </a:lnTo>
                  <a:lnTo>
                    <a:pt x="235" y="225"/>
                  </a:lnTo>
                  <a:lnTo>
                    <a:pt x="237" y="229"/>
                  </a:lnTo>
                  <a:lnTo>
                    <a:pt x="239" y="232"/>
                  </a:lnTo>
                  <a:lnTo>
                    <a:pt x="240" y="236"/>
                  </a:lnTo>
                  <a:lnTo>
                    <a:pt x="240" y="240"/>
                  </a:lnTo>
                  <a:lnTo>
                    <a:pt x="239" y="248"/>
                  </a:lnTo>
                  <a:lnTo>
                    <a:pt x="237" y="255"/>
                  </a:lnTo>
                  <a:lnTo>
                    <a:pt x="237" y="259"/>
                  </a:lnTo>
                  <a:lnTo>
                    <a:pt x="238" y="262"/>
                  </a:lnTo>
                  <a:lnTo>
                    <a:pt x="240" y="266"/>
                  </a:lnTo>
                  <a:lnTo>
                    <a:pt x="244" y="268"/>
                  </a:lnTo>
                  <a:lnTo>
                    <a:pt x="244" y="268"/>
                  </a:lnTo>
                  <a:lnTo>
                    <a:pt x="255" y="270"/>
                  </a:lnTo>
                  <a:lnTo>
                    <a:pt x="259" y="270"/>
                  </a:lnTo>
                  <a:lnTo>
                    <a:pt x="262" y="270"/>
                  </a:lnTo>
                  <a:lnTo>
                    <a:pt x="267" y="268"/>
                  </a:lnTo>
                  <a:lnTo>
                    <a:pt x="271" y="266"/>
                  </a:lnTo>
                  <a:lnTo>
                    <a:pt x="288" y="251"/>
                  </a:lnTo>
                  <a:lnTo>
                    <a:pt x="295" y="247"/>
                  </a:lnTo>
                  <a:lnTo>
                    <a:pt x="300" y="246"/>
                  </a:lnTo>
                  <a:lnTo>
                    <a:pt x="304" y="247"/>
                  </a:lnTo>
                  <a:lnTo>
                    <a:pt x="330" y="254"/>
                  </a:lnTo>
                  <a:lnTo>
                    <a:pt x="334" y="254"/>
                  </a:lnTo>
                  <a:lnTo>
                    <a:pt x="337" y="252"/>
                  </a:lnTo>
                  <a:lnTo>
                    <a:pt x="342" y="247"/>
                  </a:lnTo>
                  <a:lnTo>
                    <a:pt x="354" y="229"/>
                  </a:lnTo>
                  <a:lnTo>
                    <a:pt x="360" y="221"/>
                  </a:lnTo>
                  <a:lnTo>
                    <a:pt x="408" y="183"/>
                  </a:lnTo>
                  <a:lnTo>
                    <a:pt x="432" y="160"/>
                  </a:lnTo>
                  <a:lnTo>
                    <a:pt x="437" y="155"/>
                  </a:lnTo>
                  <a:lnTo>
                    <a:pt x="441" y="153"/>
                  </a:lnTo>
                  <a:lnTo>
                    <a:pt x="461" y="146"/>
                  </a:lnTo>
                  <a:lnTo>
                    <a:pt x="464" y="143"/>
                  </a:lnTo>
                  <a:lnTo>
                    <a:pt x="468" y="140"/>
                  </a:lnTo>
                  <a:lnTo>
                    <a:pt x="470" y="134"/>
                  </a:lnTo>
                  <a:lnTo>
                    <a:pt x="469" y="131"/>
                  </a:lnTo>
                  <a:lnTo>
                    <a:pt x="466" y="128"/>
                  </a:lnTo>
                  <a:lnTo>
                    <a:pt x="448" y="117"/>
                  </a:lnTo>
                  <a:lnTo>
                    <a:pt x="444" y="115"/>
                  </a:lnTo>
                  <a:lnTo>
                    <a:pt x="441" y="112"/>
                  </a:lnTo>
                  <a:lnTo>
                    <a:pt x="440" y="108"/>
                  </a:lnTo>
                  <a:lnTo>
                    <a:pt x="441" y="103"/>
                  </a:lnTo>
                  <a:lnTo>
                    <a:pt x="447" y="98"/>
                  </a:lnTo>
                  <a:lnTo>
                    <a:pt x="454" y="93"/>
                  </a:lnTo>
                  <a:lnTo>
                    <a:pt x="476" y="80"/>
                  </a:lnTo>
                  <a:lnTo>
                    <a:pt x="506" y="67"/>
                  </a:lnTo>
                  <a:lnTo>
                    <a:pt x="509" y="64"/>
                  </a:lnTo>
                  <a:lnTo>
                    <a:pt x="514" y="60"/>
                  </a:lnTo>
                  <a:lnTo>
                    <a:pt x="518" y="53"/>
                  </a:lnTo>
                  <a:lnTo>
                    <a:pt x="521" y="49"/>
                  </a:lnTo>
                  <a:lnTo>
                    <a:pt x="522" y="43"/>
                  </a:lnTo>
                  <a:lnTo>
                    <a:pt x="522" y="35"/>
                  </a:lnTo>
                  <a:lnTo>
                    <a:pt x="522" y="32"/>
                  </a:lnTo>
                  <a:lnTo>
                    <a:pt x="521" y="27"/>
                  </a:lnTo>
                  <a:lnTo>
                    <a:pt x="516" y="16"/>
                  </a:lnTo>
                  <a:lnTo>
                    <a:pt x="516" y="11"/>
                  </a:lnTo>
                  <a:lnTo>
                    <a:pt x="517" y="8"/>
                  </a:lnTo>
                  <a:lnTo>
                    <a:pt x="519" y="4"/>
                  </a:lnTo>
                  <a:lnTo>
                    <a:pt x="523" y="3"/>
                  </a:lnTo>
                  <a:lnTo>
                    <a:pt x="526" y="1"/>
                  </a:lnTo>
                  <a:lnTo>
                    <a:pt x="537" y="0"/>
                  </a:lnTo>
                  <a:lnTo>
                    <a:pt x="559" y="3"/>
                  </a:lnTo>
                  <a:lnTo>
                    <a:pt x="559" y="3"/>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grpSp>
      <p:sp>
        <p:nvSpPr>
          <p:cNvPr id="304" name="Rectangle 2">
            <a:extLst>
              <a:ext uri="{FF2B5EF4-FFF2-40B4-BE49-F238E27FC236}"/>
            </a:extLst>
          </p:cNvPr>
          <p:cNvSpPr>
            <a:spLocks noChangeArrowheads="1"/>
          </p:cNvSpPr>
          <p:nvPr/>
        </p:nvSpPr>
        <p:spPr bwMode="gray">
          <a:xfrm>
            <a:off x="7032625" y="4813300"/>
            <a:ext cx="1863725" cy="1928813"/>
          </a:xfrm>
          <a:prstGeom prst="rect">
            <a:avLst/>
          </a:prstGeom>
          <a:solidFill>
            <a:schemeClr val="bg1"/>
          </a:solidFill>
          <a:ln w="9525" algn="ctr">
            <a:solidFill>
              <a:schemeClr val="accent3"/>
            </a:solidFill>
            <a:prstDash val="dash"/>
            <a:miter lim="800000"/>
            <a:headEnd/>
            <a:tailEnd/>
          </a:ln>
          <a:effectLst/>
          <a:extLst/>
        </p:spPr>
        <p:txBody>
          <a:bodyPr tIns="91440" bIns="91440" anchor="ctr"/>
          <a:lstStyle/>
          <a:p>
            <a:pPr>
              <a:spcBef>
                <a:spcPts val="100"/>
              </a:spcBef>
              <a:buClr>
                <a:srgbClr val="048962"/>
              </a:buClr>
              <a:buSzPct val="100000"/>
              <a:defRPr/>
            </a:pPr>
            <a:endParaRPr lang="en-US" sz="1200" dirty="0">
              <a:solidFill>
                <a:srgbClr val="000000"/>
              </a:solidFill>
              <a:latin typeface="Arial"/>
            </a:endParaRPr>
          </a:p>
        </p:txBody>
      </p:sp>
      <p:sp>
        <p:nvSpPr>
          <p:cNvPr id="305" name="Rectangle 2">
            <a:extLst>
              <a:ext uri="{FF2B5EF4-FFF2-40B4-BE49-F238E27FC236}"/>
            </a:extLst>
          </p:cNvPr>
          <p:cNvSpPr>
            <a:spLocks noChangeArrowheads="1"/>
          </p:cNvSpPr>
          <p:nvPr/>
        </p:nvSpPr>
        <p:spPr bwMode="gray">
          <a:xfrm>
            <a:off x="7092950" y="4765675"/>
            <a:ext cx="1736725" cy="884238"/>
          </a:xfrm>
          <a:prstGeom prst="rect">
            <a:avLst/>
          </a:prstGeom>
          <a:noFill/>
          <a:ln w="9525" algn="ctr">
            <a:noFill/>
            <a:miter lim="800000"/>
            <a:headEnd/>
            <a:tailEnd/>
          </a:ln>
          <a:effectLst/>
          <a:extLst/>
        </p:spPr>
        <p:txBody>
          <a:bodyPr tIns="91440" rIns="0" bIns="91440"/>
          <a:lstStyle/>
          <a:p>
            <a:pPr eaLnBrk="1" fontAlgn="auto" hangingPunct="1">
              <a:spcBef>
                <a:spcPts val="100"/>
              </a:spcBef>
              <a:spcAft>
                <a:spcPts val="0"/>
              </a:spcAft>
              <a:buClr>
                <a:srgbClr val="048962"/>
              </a:buClr>
              <a:buSzPct val="100000"/>
              <a:defRPr/>
            </a:pPr>
            <a:r>
              <a:rPr lang="en-US" sz="1200" dirty="0">
                <a:solidFill>
                  <a:srgbClr val="000000"/>
                </a:solidFill>
                <a:latin typeface="Arial"/>
                <a:cs typeface="+mn-cs"/>
              </a:rPr>
              <a:t>Planning for MoC roll out for </a:t>
            </a:r>
            <a:r>
              <a:rPr lang="en-US" sz="1400" b="1" dirty="0">
                <a:solidFill>
                  <a:schemeClr val="bg2"/>
                </a:solidFill>
                <a:latin typeface="Arial"/>
                <a:cs typeface="+mn-cs"/>
              </a:rPr>
              <a:t>national interventions</a:t>
            </a:r>
            <a:endParaRPr lang="en-US" sz="1200" b="1" dirty="0">
              <a:solidFill>
                <a:schemeClr val="bg2"/>
              </a:solidFill>
              <a:latin typeface="Arial"/>
              <a:cs typeface="+mn-cs"/>
            </a:endParaRPr>
          </a:p>
        </p:txBody>
      </p:sp>
      <p:grpSp>
        <p:nvGrpSpPr>
          <p:cNvPr id="79883" name="Group 305"/>
          <p:cNvGrpSpPr>
            <a:grpSpLocks/>
          </p:cNvGrpSpPr>
          <p:nvPr/>
        </p:nvGrpSpPr>
        <p:grpSpPr bwMode="auto">
          <a:xfrm>
            <a:off x="7412038" y="5667375"/>
            <a:ext cx="1090612" cy="893763"/>
            <a:chOff x="6804248" y="4530274"/>
            <a:chExt cx="1090550" cy="894080"/>
          </a:xfrm>
        </p:grpSpPr>
        <p:grpSp>
          <p:nvGrpSpPr>
            <p:cNvPr id="307" name="Group 306">
              <a:extLst>
                <a:ext uri="{FF2B5EF4-FFF2-40B4-BE49-F238E27FC236}"/>
              </a:extLst>
            </p:cNvPr>
            <p:cNvGrpSpPr/>
            <p:nvPr/>
          </p:nvGrpSpPr>
          <p:grpSpPr>
            <a:xfrm>
              <a:off x="6804248" y="4535507"/>
              <a:ext cx="1090550" cy="883615"/>
              <a:chOff x="1698625" y="1851025"/>
              <a:chExt cx="5592763" cy="4619626"/>
            </a:xfrm>
            <a:solidFill>
              <a:srgbClr val="5EAD8E"/>
            </a:solidFill>
          </p:grpSpPr>
          <p:sp>
            <p:nvSpPr>
              <p:cNvPr id="310" name="Freeform 5">
                <a:extLst>
                  <a:ext uri="{FF2B5EF4-FFF2-40B4-BE49-F238E27FC236}"/>
                </a:extLst>
              </p:cNvPr>
              <p:cNvSpPr>
                <a:spLocks noEditPoints="1"/>
              </p:cNvSpPr>
              <p:nvPr/>
            </p:nvSpPr>
            <p:spPr bwMode="auto">
              <a:xfrm>
                <a:off x="2009775" y="3376613"/>
                <a:ext cx="1587500" cy="2946400"/>
              </a:xfrm>
              <a:custGeom>
                <a:avLst/>
                <a:gdLst>
                  <a:gd name="T0" fmla="*/ 993 w 1000"/>
                  <a:gd name="T1" fmla="*/ 1856 h 1856"/>
                  <a:gd name="T2" fmla="*/ 992 w 1000"/>
                  <a:gd name="T3" fmla="*/ 1856 h 1856"/>
                  <a:gd name="T4" fmla="*/ 990 w 1000"/>
                  <a:gd name="T5" fmla="*/ 1855 h 1856"/>
                  <a:gd name="T6" fmla="*/ 989 w 1000"/>
                  <a:gd name="T7" fmla="*/ 1853 h 1856"/>
                  <a:gd name="T8" fmla="*/ 987 w 1000"/>
                  <a:gd name="T9" fmla="*/ 1851 h 1856"/>
                  <a:gd name="T10" fmla="*/ 989 w 1000"/>
                  <a:gd name="T11" fmla="*/ 1850 h 1856"/>
                  <a:gd name="T12" fmla="*/ 993 w 1000"/>
                  <a:gd name="T13" fmla="*/ 1844 h 1856"/>
                  <a:gd name="T14" fmla="*/ 995 w 1000"/>
                  <a:gd name="T15" fmla="*/ 1845 h 1856"/>
                  <a:gd name="T16" fmla="*/ 997 w 1000"/>
                  <a:gd name="T17" fmla="*/ 1846 h 1856"/>
                  <a:gd name="T18" fmla="*/ 999 w 1000"/>
                  <a:gd name="T19" fmla="*/ 1850 h 1856"/>
                  <a:gd name="T20" fmla="*/ 999 w 1000"/>
                  <a:gd name="T21" fmla="*/ 1850 h 1856"/>
                  <a:gd name="T22" fmla="*/ 1000 w 1000"/>
                  <a:gd name="T23" fmla="*/ 1852 h 1856"/>
                  <a:gd name="T24" fmla="*/ 999 w 1000"/>
                  <a:gd name="T25" fmla="*/ 1854 h 1856"/>
                  <a:gd name="T26" fmla="*/ 996 w 1000"/>
                  <a:gd name="T27" fmla="*/ 1856 h 1856"/>
                  <a:gd name="T28" fmla="*/ 993 w 1000"/>
                  <a:gd name="T29" fmla="*/ 1856 h 1856"/>
                  <a:gd name="T30" fmla="*/ 993 w 1000"/>
                  <a:gd name="T31" fmla="*/ 1856 h 1856"/>
                  <a:gd name="T32" fmla="*/ 229 w 1000"/>
                  <a:gd name="T33" fmla="*/ 408 h 1856"/>
                  <a:gd name="T34" fmla="*/ 228 w 1000"/>
                  <a:gd name="T35" fmla="*/ 410 h 1856"/>
                  <a:gd name="T36" fmla="*/ 226 w 1000"/>
                  <a:gd name="T37" fmla="*/ 409 h 1856"/>
                  <a:gd name="T38" fmla="*/ 224 w 1000"/>
                  <a:gd name="T39" fmla="*/ 408 h 1856"/>
                  <a:gd name="T40" fmla="*/ 222 w 1000"/>
                  <a:gd name="T41" fmla="*/ 408 h 1856"/>
                  <a:gd name="T42" fmla="*/ 221 w 1000"/>
                  <a:gd name="T43" fmla="*/ 409 h 1856"/>
                  <a:gd name="T44" fmla="*/ 221 w 1000"/>
                  <a:gd name="T45" fmla="*/ 405 h 1856"/>
                  <a:gd name="T46" fmla="*/ 222 w 1000"/>
                  <a:gd name="T47" fmla="*/ 403 h 1856"/>
                  <a:gd name="T48" fmla="*/ 224 w 1000"/>
                  <a:gd name="T49" fmla="*/ 403 h 1856"/>
                  <a:gd name="T50" fmla="*/ 225 w 1000"/>
                  <a:gd name="T51" fmla="*/ 404 h 1856"/>
                  <a:gd name="T52" fmla="*/ 229 w 1000"/>
                  <a:gd name="T53" fmla="*/ 408 h 1856"/>
                  <a:gd name="T54" fmla="*/ 229 w 1000"/>
                  <a:gd name="T55" fmla="*/ 408 h 1856"/>
                  <a:gd name="T56" fmla="*/ 6 w 1000"/>
                  <a:gd name="T57" fmla="*/ 10 h 1856"/>
                  <a:gd name="T58" fmla="*/ 7 w 1000"/>
                  <a:gd name="T59" fmla="*/ 12 h 1856"/>
                  <a:gd name="T60" fmla="*/ 3 w 1000"/>
                  <a:gd name="T61" fmla="*/ 7 h 1856"/>
                  <a:gd name="T62" fmla="*/ 0 w 1000"/>
                  <a:gd name="T63" fmla="*/ 6 h 1856"/>
                  <a:gd name="T64" fmla="*/ 0 w 1000"/>
                  <a:gd name="T65" fmla="*/ 3 h 1856"/>
                  <a:gd name="T66" fmla="*/ 0 w 1000"/>
                  <a:gd name="T67" fmla="*/ 1 h 1856"/>
                  <a:gd name="T68" fmla="*/ 1 w 1000"/>
                  <a:gd name="T69" fmla="*/ 0 h 1856"/>
                  <a:gd name="T70" fmla="*/ 5 w 1000"/>
                  <a:gd name="T71" fmla="*/ 6 h 1856"/>
                  <a:gd name="T72" fmla="*/ 6 w 1000"/>
                  <a:gd name="T73" fmla="*/ 8 h 1856"/>
                  <a:gd name="T74" fmla="*/ 6 w 1000"/>
                  <a:gd name="T75" fmla="*/ 10 h 1856"/>
                  <a:gd name="T76" fmla="*/ 6 w 1000"/>
                  <a:gd name="T77" fmla="*/ 10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0" h="1856">
                    <a:moveTo>
                      <a:pt x="993" y="1856"/>
                    </a:moveTo>
                    <a:lnTo>
                      <a:pt x="992" y="1856"/>
                    </a:lnTo>
                    <a:lnTo>
                      <a:pt x="990" y="1855"/>
                    </a:lnTo>
                    <a:lnTo>
                      <a:pt x="989" y="1853"/>
                    </a:lnTo>
                    <a:lnTo>
                      <a:pt x="987" y="1851"/>
                    </a:lnTo>
                    <a:lnTo>
                      <a:pt x="989" y="1850"/>
                    </a:lnTo>
                    <a:lnTo>
                      <a:pt x="993" y="1844"/>
                    </a:lnTo>
                    <a:lnTo>
                      <a:pt x="995" y="1845"/>
                    </a:lnTo>
                    <a:lnTo>
                      <a:pt x="997" y="1846"/>
                    </a:lnTo>
                    <a:lnTo>
                      <a:pt x="999" y="1850"/>
                    </a:lnTo>
                    <a:lnTo>
                      <a:pt x="999" y="1850"/>
                    </a:lnTo>
                    <a:lnTo>
                      <a:pt x="1000" y="1852"/>
                    </a:lnTo>
                    <a:lnTo>
                      <a:pt x="999" y="1854"/>
                    </a:lnTo>
                    <a:lnTo>
                      <a:pt x="996" y="1856"/>
                    </a:lnTo>
                    <a:lnTo>
                      <a:pt x="993" y="1856"/>
                    </a:lnTo>
                    <a:lnTo>
                      <a:pt x="993" y="1856"/>
                    </a:lnTo>
                    <a:close/>
                    <a:moveTo>
                      <a:pt x="229" y="408"/>
                    </a:moveTo>
                    <a:lnTo>
                      <a:pt x="228" y="410"/>
                    </a:lnTo>
                    <a:lnTo>
                      <a:pt x="226" y="409"/>
                    </a:lnTo>
                    <a:lnTo>
                      <a:pt x="224" y="408"/>
                    </a:lnTo>
                    <a:lnTo>
                      <a:pt x="222" y="408"/>
                    </a:lnTo>
                    <a:lnTo>
                      <a:pt x="221" y="409"/>
                    </a:lnTo>
                    <a:lnTo>
                      <a:pt x="221" y="405"/>
                    </a:lnTo>
                    <a:lnTo>
                      <a:pt x="222" y="403"/>
                    </a:lnTo>
                    <a:lnTo>
                      <a:pt x="224" y="403"/>
                    </a:lnTo>
                    <a:lnTo>
                      <a:pt x="225" y="404"/>
                    </a:lnTo>
                    <a:lnTo>
                      <a:pt x="229" y="408"/>
                    </a:lnTo>
                    <a:lnTo>
                      <a:pt x="229" y="408"/>
                    </a:lnTo>
                    <a:close/>
                    <a:moveTo>
                      <a:pt x="6" y="10"/>
                    </a:moveTo>
                    <a:lnTo>
                      <a:pt x="7" y="12"/>
                    </a:lnTo>
                    <a:lnTo>
                      <a:pt x="3" y="7"/>
                    </a:lnTo>
                    <a:lnTo>
                      <a:pt x="0" y="6"/>
                    </a:lnTo>
                    <a:lnTo>
                      <a:pt x="0" y="3"/>
                    </a:lnTo>
                    <a:lnTo>
                      <a:pt x="0" y="1"/>
                    </a:lnTo>
                    <a:lnTo>
                      <a:pt x="1" y="0"/>
                    </a:lnTo>
                    <a:lnTo>
                      <a:pt x="5" y="6"/>
                    </a:lnTo>
                    <a:lnTo>
                      <a:pt x="6" y="8"/>
                    </a:lnTo>
                    <a:lnTo>
                      <a:pt x="6" y="10"/>
                    </a:lnTo>
                    <a:lnTo>
                      <a:pt x="6" y="10"/>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11" name="Freeform 6">
                <a:extLst>
                  <a:ext uri="{FF2B5EF4-FFF2-40B4-BE49-F238E27FC236}"/>
                </a:extLst>
              </p:cNvPr>
              <p:cNvSpPr>
                <a:spLocks/>
              </p:cNvSpPr>
              <p:nvPr/>
            </p:nvSpPr>
            <p:spPr bwMode="auto">
              <a:xfrm>
                <a:off x="4105275" y="5586413"/>
                <a:ext cx="1090613" cy="725488"/>
              </a:xfrm>
              <a:custGeom>
                <a:avLst/>
                <a:gdLst>
                  <a:gd name="T0" fmla="*/ 634 w 687"/>
                  <a:gd name="T1" fmla="*/ 430 h 457"/>
                  <a:gd name="T2" fmla="*/ 594 w 687"/>
                  <a:gd name="T3" fmla="*/ 454 h 457"/>
                  <a:gd name="T4" fmla="*/ 584 w 687"/>
                  <a:gd name="T5" fmla="*/ 457 h 457"/>
                  <a:gd name="T6" fmla="*/ 558 w 687"/>
                  <a:gd name="T7" fmla="*/ 454 h 457"/>
                  <a:gd name="T8" fmla="*/ 520 w 687"/>
                  <a:gd name="T9" fmla="*/ 402 h 457"/>
                  <a:gd name="T10" fmla="*/ 449 w 687"/>
                  <a:gd name="T11" fmla="*/ 407 h 457"/>
                  <a:gd name="T12" fmla="*/ 335 w 687"/>
                  <a:gd name="T13" fmla="*/ 396 h 457"/>
                  <a:gd name="T14" fmla="*/ 292 w 687"/>
                  <a:gd name="T15" fmla="*/ 389 h 457"/>
                  <a:gd name="T16" fmla="*/ 256 w 687"/>
                  <a:gd name="T17" fmla="*/ 371 h 457"/>
                  <a:gd name="T18" fmla="*/ 169 w 687"/>
                  <a:gd name="T19" fmla="*/ 371 h 457"/>
                  <a:gd name="T20" fmla="*/ 155 w 687"/>
                  <a:gd name="T21" fmla="*/ 375 h 457"/>
                  <a:gd name="T22" fmla="*/ 139 w 687"/>
                  <a:gd name="T23" fmla="*/ 374 h 457"/>
                  <a:gd name="T24" fmla="*/ 112 w 687"/>
                  <a:gd name="T25" fmla="*/ 374 h 457"/>
                  <a:gd name="T26" fmla="*/ 96 w 687"/>
                  <a:gd name="T27" fmla="*/ 378 h 457"/>
                  <a:gd name="T28" fmla="*/ 86 w 687"/>
                  <a:gd name="T29" fmla="*/ 375 h 457"/>
                  <a:gd name="T30" fmla="*/ 80 w 687"/>
                  <a:gd name="T31" fmla="*/ 382 h 457"/>
                  <a:gd name="T32" fmla="*/ 75 w 687"/>
                  <a:gd name="T33" fmla="*/ 386 h 457"/>
                  <a:gd name="T34" fmla="*/ 64 w 687"/>
                  <a:gd name="T35" fmla="*/ 382 h 457"/>
                  <a:gd name="T36" fmla="*/ 57 w 687"/>
                  <a:gd name="T37" fmla="*/ 383 h 457"/>
                  <a:gd name="T38" fmla="*/ 53 w 687"/>
                  <a:gd name="T39" fmla="*/ 390 h 457"/>
                  <a:gd name="T40" fmla="*/ 46 w 687"/>
                  <a:gd name="T41" fmla="*/ 394 h 457"/>
                  <a:gd name="T42" fmla="*/ 43 w 687"/>
                  <a:gd name="T43" fmla="*/ 392 h 457"/>
                  <a:gd name="T44" fmla="*/ 42 w 687"/>
                  <a:gd name="T45" fmla="*/ 387 h 457"/>
                  <a:gd name="T46" fmla="*/ 42 w 687"/>
                  <a:gd name="T47" fmla="*/ 384 h 457"/>
                  <a:gd name="T48" fmla="*/ 34 w 687"/>
                  <a:gd name="T49" fmla="*/ 386 h 457"/>
                  <a:gd name="T50" fmla="*/ 22 w 687"/>
                  <a:gd name="T51" fmla="*/ 386 h 457"/>
                  <a:gd name="T52" fmla="*/ 16 w 687"/>
                  <a:gd name="T53" fmla="*/ 385 h 457"/>
                  <a:gd name="T54" fmla="*/ 0 w 687"/>
                  <a:gd name="T55" fmla="*/ 369 h 457"/>
                  <a:gd name="T56" fmla="*/ 4 w 687"/>
                  <a:gd name="T57" fmla="*/ 346 h 457"/>
                  <a:gd name="T58" fmla="*/ 1 w 687"/>
                  <a:gd name="T59" fmla="*/ 326 h 457"/>
                  <a:gd name="T60" fmla="*/ 1 w 687"/>
                  <a:gd name="T61" fmla="*/ 317 h 457"/>
                  <a:gd name="T62" fmla="*/ 6 w 687"/>
                  <a:gd name="T63" fmla="*/ 271 h 457"/>
                  <a:gd name="T64" fmla="*/ 4 w 687"/>
                  <a:gd name="T65" fmla="*/ 256 h 457"/>
                  <a:gd name="T66" fmla="*/ 0 w 687"/>
                  <a:gd name="T67" fmla="*/ 241 h 457"/>
                  <a:gd name="T68" fmla="*/ 2 w 687"/>
                  <a:gd name="T69" fmla="*/ 231 h 457"/>
                  <a:gd name="T70" fmla="*/ 9 w 687"/>
                  <a:gd name="T71" fmla="*/ 219 h 457"/>
                  <a:gd name="T72" fmla="*/ 55 w 687"/>
                  <a:gd name="T73" fmla="*/ 175 h 457"/>
                  <a:gd name="T74" fmla="*/ 63 w 687"/>
                  <a:gd name="T75" fmla="*/ 166 h 457"/>
                  <a:gd name="T76" fmla="*/ 69 w 687"/>
                  <a:gd name="T77" fmla="*/ 153 h 457"/>
                  <a:gd name="T78" fmla="*/ 74 w 687"/>
                  <a:gd name="T79" fmla="*/ 145 h 457"/>
                  <a:gd name="T80" fmla="*/ 82 w 687"/>
                  <a:gd name="T81" fmla="*/ 140 h 457"/>
                  <a:gd name="T82" fmla="*/ 101 w 687"/>
                  <a:gd name="T83" fmla="*/ 135 h 457"/>
                  <a:gd name="T84" fmla="*/ 117 w 687"/>
                  <a:gd name="T85" fmla="*/ 126 h 457"/>
                  <a:gd name="T86" fmla="*/ 122 w 687"/>
                  <a:gd name="T87" fmla="*/ 120 h 457"/>
                  <a:gd name="T88" fmla="*/ 125 w 687"/>
                  <a:gd name="T89" fmla="*/ 112 h 457"/>
                  <a:gd name="T90" fmla="*/ 127 w 687"/>
                  <a:gd name="T91" fmla="*/ 100 h 457"/>
                  <a:gd name="T92" fmla="*/ 126 w 687"/>
                  <a:gd name="T93" fmla="*/ 86 h 457"/>
                  <a:gd name="T94" fmla="*/ 121 w 687"/>
                  <a:gd name="T95" fmla="*/ 60 h 457"/>
                  <a:gd name="T96" fmla="*/ 125 w 687"/>
                  <a:gd name="T97" fmla="*/ 48 h 457"/>
                  <a:gd name="T98" fmla="*/ 141 w 687"/>
                  <a:gd name="T99" fmla="*/ 39 h 457"/>
                  <a:gd name="T100" fmla="*/ 145 w 687"/>
                  <a:gd name="T101" fmla="*/ 35 h 457"/>
                  <a:gd name="T102" fmla="*/ 147 w 687"/>
                  <a:gd name="T103" fmla="*/ 25 h 457"/>
                  <a:gd name="T104" fmla="*/ 193 w 687"/>
                  <a:gd name="T105" fmla="*/ 31 h 457"/>
                  <a:gd name="T106" fmla="*/ 215 w 687"/>
                  <a:gd name="T107" fmla="*/ 41 h 457"/>
                  <a:gd name="T108" fmla="*/ 274 w 687"/>
                  <a:gd name="T109" fmla="*/ 48 h 457"/>
                  <a:gd name="T110" fmla="*/ 687 w 687"/>
                  <a:gd name="T111" fmla="*/ 0 h 457"/>
                  <a:gd name="T112" fmla="*/ 634 w 687"/>
                  <a:gd name="T113" fmla="*/ 43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7" h="457">
                    <a:moveTo>
                      <a:pt x="634" y="430"/>
                    </a:moveTo>
                    <a:lnTo>
                      <a:pt x="634" y="430"/>
                    </a:lnTo>
                    <a:lnTo>
                      <a:pt x="614" y="442"/>
                    </a:lnTo>
                    <a:lnTo>
                      <a:pt x="594" y="454"/>
                    </a:lnTo>
                    <a:lnTo>
                      <a:pt x="590" y="456"/>
                    </a:lnTo>
                    <a:lnTo>
                      <a:pt x="584" y="457"/>
                    </a:lnTo>
                    <a:lnTo>
                      <a:pt x="560" y="456"/>
                    </a:lnTo>
                    <a:lnTo>
                      <a:pt x="558" y="454"/>
                    </a:lnTo>
                    <a:lnTo>
                      <a:pt x="544" y="435"/>
                    </a:lnTo>
                    <a:lnTo>
                      <a:pt x="520" y="402"/>
                    </a:lnTo>
                    <a:lnTo>
                      <a:pt x="514" y="398"/>
                    </a:lnTo>
                    <a:lnTo>
                      <a:pt x="449" y="407"/>
                    </a:lnTo>
                    <a:lnTo>
                      <a:pt x="377" y="399"/>
                    </a:lnTo>
                    <a:lnTo>
                      <a:pt x="335" y="396"/>
                    </a:lnTo>
                    <a:lnTo>
                      <a:pt x="300" y="392"/>
                    </a:lnTo>
                    <a:lnTo>
                      <a:pt x="292" y="389"/>
                    </a:lnTo>
                    <a:lnTo>
                      <a:pt x="265" y="373"/>
                    </a:lnTo>
                    <a:lnTo>
                      <a:pt x="256" y="371"/>
                    </a:lnTo>
                    <a:lnTo>
                      <a:pt x="203" y="371"/>
                    </a:lnTo>
                    <a:lnTo>
                      <a:pt x="169" y="371"/>
                    </a:lnTo>
                    <a:lnTo>
                      <a:pt x="165" y="371"/>
                    </a:lnTo>
                    <a:lnTo>
                      <a:pt x="155" y="375"/>
                    </a:lnTo>
                    <a:lnTo>
                      <a:pt x="150" y="375"/>
                    </a:lnTo>
                    <a:lnTo>
                      <a:pt x="139" y="374"/>
                    </a:lnTo>
                    <a:lnTo>
                      <a:pt x="128" y="373"/>
                    </a:lnTo>
                    <a:lnTo>
                      <a:pt x="112" y="374"/>
                    </a:lnTo>
                    <a:lnTo>
                      <a:pt x="99" y="378"/>
                    </a:lnTo>
                    <a:lnTo>
                      <a:pt x="96" y="378"/>
                    </a:lnTo>
                    <a:lnTo>
                      <a:pt x="89" y="376"/>
                    </a:lnTo>
                    <a:lnTo>
                      <a:pt x="86" y="375"/>
                    </a:lnTo>
                    <a:lnTo>
                      <a:pt x="83" y="377"/>
                    </a:lnTo>
                    <a:lnTo>
                      <a:pt x="80" y="382"/>
                    </a:lnTo>
                    <a:lnTo>
                      <a:pt x="78" y="385"/>
                    </a:lnTo>
                    <a:lnTo>
                      <a:pt x="75" y="386"/>
                    </a:lnTo>
                    <a:lnTo>
                      <a:pt x="71" y="385"/>
                    </a:lnTo>
                    <a:lnTo>
                      <a:pt x="64" y="382"/>
                    </a:lnTo>
                    <a:lnTo>
                      <a:pt x="61" y="382"/>
                    </a:lnTo>
                    <a:lnTo>
                      <a:pt x="57" y="383"/>
                    </a:lnTo>
                    <a:lnTo>
                      <a:pt x="55" y="387"/>
                    </a:lnTo>
                    <a:lnTo>
                      <a:pt x="53" y="390"/>
                    </a:lnTo>
                    <a:lnTo>
                      <a:pt x="50" y="393"/>
                    </a:lnTo>
                    <a:lnTo>
                      <a:pt x="46" y="394"/>
                    </a:lnTo>
                    <a:lnTo>
                      <a:pt x="44" y="393"/>
                    </a:lnTo>
                    <a:lnTo>
                      <a:pt x="43" y="392"/>
                    </a:lnTo>
                    <a:lnTo>
                      <a:pt x="42" y="390"/>
                    </a:lnTo>
                    <a:lnTo>
                      <a:pt x="42" y="387"/>
                    </a:lnTo>
                    <a:lnTo>
                      <a:pt x="42" y="385"/>
                    </a:lnTo>
                    <a:lnTo>
                      <a:pt x="42" y="384"/>
                    </a:lnTo>
                    <a:lnTo>
                      <a:pt x="38" y="385"/>
                    </a:lnTo>
                    <a:lnTo>
                      <a:pt x="34" y="386"/>
                    </a:lnTo>
                    <a:lnTo>
                      <a:pt x="28" y="385"/>
                    </a:lnTo>
                    <a:lnTo>
                      <a:pt x="22" y="386"/>
                    </a:lnTo>
                    <a:lnTo>
                      <a:pt x="19" y="386"/>
                    </a:lnTo>
                    <a:lnTo>
                      <a:pt x="16" y="385"/>
                    </a:lnTo>
                    <a:lnTo>
                      <a:pt x="9" y="379"/>
                    </a:lnTo>
                    <a:lnTo>
                      <a:pt x="0" y="369"/>
                    </a:lnTo>
                    <a:lnTo>
                      <a:pt x="0" y="364"/>
                    </a:lnTo>
                    <a:lnTo>
                      <a:pt x="4" y="346"/>
                    </a:lnTo>
                    <a:lnTo>
                      <a:pt x="4" y="337"/>
                    </a:lnTo>
                    <a:lnTo>
                      <a:pt x="1" y="326"/>
                    </a:lnTo>
                    <a:lnTo>
                      <a:pt x="0" y="321"/>
                    </a:lnTo>
                    <a:lnTo>
                      <a:pt x="1" y="317"/>
                    </a:lnTo>
                    <a:lnTo>
                      <a:pt x="2" y="310"/>
                    </a:lnTo>
                    <a:lnTo>
                      <a:pt x="6" y="271"/>
                    </a:lnTo>
                    <a:lnTo>
                      <a:pt x="6" y="263"/>
                    </a:lnTo>
                    <a:lnTo>
                      <a:pt x="4" y="256"/>
                    </a:lnTo>
                    <a:lnTo>
                      <a:pt x="2" y="249"/>
                    </a:lnTo>
                    <a:lnTo>
                      <a:pt x="0" y="241"/>
                    </a:lnTo>
                    <a:lnTo>
                      <a:pt x="0" y="237"/>
                    </a:lnTo>
                    <a:lnTo>
                      <a:pt x="2" y="231"/>
                    </a:lnTo>
                    <a:lnTo>
                      <a:pt x="5" y="225"/>
                    </a:lnTo>
                    <a:lnTo>
                      <a:pt x="9" y="219"/>
                    </a:lnTo>
                    <a:lnTo>
                      <a:pt x="36" y="191"/>
                    </a:lnTo>
                    <a:lnTo>
                      <a:pt x="55" y="175"/>
                    </a:lnTo>
                    <a:lnTo>
                      <a:pt x="60" y="168"/>
                    </a:lnTo>
                    <a:lnTo>
                      <a:pt x="63" y="166"/>
                    </a:lnTo>
                    <a:lnTo>
                      <a:pt x="64" y="162"/>
                    </a:lnTo>
                    <a:lnTo>
                      <a:pt x="69" y="153"/>
                    </a:lnTo>
                    <a:lnTo>
                      <a:pt x="71" y="148"/>
                    </a:lnTo>
                    <a:lnTo>
                      <a:pt x="74" y="145"/>
                    </a:lnTo>
                    <a:lnTo>
                      <a:pt x="79" y="142"/>
                    </a:lnTo>
                    <a:lnTo>
                      <a:pt x="82" y="140"/>
                    </a:lnTo>
                    <a:lnTo>
                      <a:pt x="94" y="138"/>
                    </a:lnTo>
                    <a:lnTo>
                      <a:pt x="101" y="135"/>
                    </a:lnTo>
                    <a:lnTo>
                      <a:pt x="109" y="131"/>
                    </a:lnTo>
                    <a:lnTo>
                      <a:pt x="117" y="126"/>
                    </a:lnTo>
                    <a:lnTo>
                      <a:pt x="119" y="123"/>
                    </a:lnTo>
                    <a:lnTo>
                      <a:pt x="122" y="120"/>
                    </a:lnTo>
                    <a:lnTo>
                      <a:pt x="124" y="116"/>
                    </a:lnTo>
                    <a:lnTo>
                      <a:pt x="125" y="112"/>
                    </a:lnTo>
                    <a:lnTo>
                      <a:pt x="127" y="107"/>
                    </a:lnTo>
                    <a:lnTo>
                      <a:pt x="127" y="100"/>
                    </a:lnTo>
                    <a:lnTo>
                      <a:pt x="127" y="94"/>
                    </a:lnTo>
                    <a:lnTo>
                      <a:pt x="126" y="86"/>
                    </a:lnTo>
                    <a:lnTo>
                      <a:pt x="121" y="63"/>
                    </a:lnTo>
                    <a:lnTo>
                      <a:pt x="121" y="60"/>
                    </a:lnTo>
                    <a:lnTo>
                      <a:pt x="122" y="54"/>
                    </a:lnTo>
                    <a:lnTo>
                      <a:pt x="125" y="48"/>
                    </a:lnTo>
                    <a:lnTo>
                      <a:pt x="130" y="45"/>
                    </a:lnTo>
                    <a:lnTo>
                      <a:pt x="141" y="39"/>
                    </a:lnTo>
                    <a:lnTo>
                      <a:pt x="143" y="37"/>
                    </a:lnTo>
                    <a:lnTo>
                      <a:pt x="145" y="35"/>
                    </a:lnTo>
                    <a:lnTo>
                      <a:pt x="147" y="31"/>
                    </a:lnTo>
                    <a:lnTo>
                      <a:pt x="147" y="25"/>
                    </a:lnTo>
                    <a:lnTo>
                      <a:pt x="147" y="2"/>
                    </a:lnTo>
                    <a:lnTo>
                      <a:pt x="193" y="31"/>
                    </a:lnTo>
                    <a:lnTo>
                      <a:pt x="206" y="38"/>
                    </a:lnTo>
                    <a:lnTo>
                      <a:pt x="215" y="41"/>
                    </a:lnTo>
                    <a:lnTo>
                      <a:pt x="230" y="46"/>
                    </a:lnTo>
                    <a:lnTo>
                      <a:pt x="274" y="48"/>
                    </a:lnTo>
                    <a:lnTo>
                      <a:pt x="666" y="6"/>
                    </a:lnTo>
                    <a:lnTo>
                      <a:pt x="687" y="0"/>
                    </a:lnTo>
                    <a:lnTo>
                      <a:pt x="634" y="430"/>
                    </a:lnTo>
                    <a:lnTo>
                      <a:pt x="634" y="430"/>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312" name="Freeform 7">
                <a:extLst>
                  <a:ext uri="{FF2B5EF4-FFF2-40B4-BE49-F238E27FC236}"/>
                </a:extLst>
              </p:cNvPr>
              <p:cNvSpPr>
                <a:spLocks/>
              </p:cNvSpPr>
              <p:nvPr/>
            </p:nvSpPr>
            <p:spPr bwMode="auto">
              <a:xfrm>
                <a:off x="3663950" y="3259138"/>
                <a:ext cx="1679575" cy="2403474"/>
              </a:xfrm>
              <a:custGeom>
                <a:avLst/>
                <a:gdLst>
                  <a:gd name="T0" fmla="*/ 493 w 1058"/>
                  <a:gd name="T1" fmla="*/ 1507 h 1514"/>
                  <a:gd name="T2" fmla="*/ 357 w 1058"/>
                  <a:gd name="T3" fmla="*/ 1406 h 1514"/>
                  <a:gd name="T4" fmla="*/ 327 w 1058"/>
                  <a:gd name="T5" fmla="*/ 1353 h 1514"/>
                  <a:gd name="T6" fmla="*/ 349 w 1058"/>
                  <a:gd name="T7" fmla="*/ 1292 h 1514"/>
                  <a:gd name="T8" fmla="*/ 332 w 1058"/>
                  <a:gd name="T9" fmla="*/ 1262 h 1514"/>
                  <a:gd name="T10" fmla="*/ 239 w 1058"/>
                  <a:gd name="T11" fmla="*/ 1141 h 1514"/>
                  <a:gd name="T12" fmla="*/ 243 w 1058"/>
                  <a:gd name="T13" fmla="*/ 1101 h 1514"/>
                  <a:gd name="T14" fmla="*/ 246 w 1058"/>
                  <a:gd name="T15" fmla="*/ 1052 h 1514"/>
                  <a:gd name="T16" fmla="*/ 256 w 1058"/>
                  <a:gd name="T17" fmla="*/ 1031 h 1514"/>
                  <a:gd name="T18" fmla="*/ 252 w 1058"/>
                  <a:gd name="T19" fmla="*/ 932 h 1514"/>
                  <a:gd name="T20" fmla="*/ 220 w 1058"/>
                  <a:gd name="T21" fmla="*/ 922 h 1514"/>
                  <a:gd name="T22" fmla="*/ 181 w 1058"/>
                  <a:gd name="T23" fmla="*/ 926 h 1514"/>
                  <a:gd name="T24" fmla="*/ 169 w 1058"/>
                  <a:gd name="T25" fmla="*/ 903 h 1514"/>
                  <a:gd name="T26" fmla="*/ 170 w 1058"/>
                  <a:gd name="T27" fmla="*/ 866 h 1514"/>
                  <a:gd name="T28" fmla="*/ 113 w 1058"/>
                  <a:gd name="T29" fmla="*/ 855 h 1514"/>
                  <a:gd name="T30" fmla="*/ 71 w 1058"/>
                  <a:gd name="T31" fmla="*/ 849 h 1514"/>
                  <a:gd name="T32" fmla="*/ 36 w 1058"/>
                  <a:gd name="T33" fmla="*/ 763 h 1514"/>
                  <a:gd name="T34" fmla="*/ 15 w 1058"/>
                  <a:gd name="T35" fmla="*/ 711 h 1514"/>
                  <a:gd name="T36" fmla="*/ 1 w 1058"/>
                  <a:gd name="T37" fmla="*/ 697 h 1514"/>
                  <a:gd name="T38" fmla="*/ 6 w 1058"/>
                  <a:gd name="T39" fmla="*/ 605 h 1514"/>
                  <a:gd name="T40" fmla="*/ 4 w 1058"/>
                  <a:gd name="T41" fmla="*/ 583 h 1514"/>
                  <a:gd name="T42" fmla="*/ 19 w 1058"/>
                  <a:gd name="T43" fmla="*/ 560 h 1514"/>
                  <a:gd name="T44" fmla="*/ 36 w 1058"/>
                  <a:gd name="T45" fmla="*/ 520 h 1514"/>
                  <a:gd name="T46" fmla="*/ 71 w 1058"/>
                  <a:gd name="T47" fmla="*/ 523 h 1514"/>
                  <a:gd name="T48" fmla="*/ 152 w 1058"/>
                  <a:gd name="T49" fmla="*/ 529 h 1514"/>
                  <a:gd name="T50" fmla="*/ 184 w 1058"/>
                  <a:gd name="T51" fmla="*/ 530 h 1514"/>
                  <a:gd name="T52" fmla="*/ 192 w 1058"/>
                  <a:gd name="T53" fmla="*/ 506 h 1514"/>
                  <a:gd name="T54" fmla="*/ 189 w 1058"/>
                  <a:gd name="T55" fmla="*/ 481 h 1514"/>
                  <a:gd name="T56" fmla="*/ 285 w 1058"/>
                  <a:gd name="T57" fmla="*/ 425 h 1514"/>
                  <a:gd name="T58" fmla="*/ 320 w 1058"/>
                  <a:gd name="T59" fmla="*/ 399 h 1514"/>
                  <a:gd name="T60" fmla="*/ 339 w 1058"/>
                  <a:gd name="T61" fmla="*/ 370 h 1514"/>
                  <a:gd name="T62" fmla="*/ 360 w 1058"/>
                  <a:gd name="T63" fmla="*/ 365 h 1514"/>
                  <a:gd name="T64" fmla="*/ 458 w 1058"/>
                  <a:gd name="T65" fmla="*/ 366 h 1514"/>
                  <a:gd name="T66" fmla="*/ 462 w 1058"/>
                  <a:gd name="T67" fmla="*/ 345 h 1514"/>
                  <a:gd name="T68" fmla="*/ 450 w 1058"/>
                  <a:gd name="T69" fmla="*/ 309 h 1514"/>
                  <a:gd name="T70" fmla="*/ 439 w 1058"/>
                  <a:gd name="T71" fmla="*/ 271 h 1514"/>
                  <a:gd name="T72" fmla="*/ 403 w 1058"/>
                  <a:gd name="T73" fmla="*/ 219 h 1514"/>
                  <a:gd name="T74" fmla="*/ 403 w 1058"/>
                  <a:gd name="T75" fmla="*/ 171 h 1514"/>
                  <a:gd name="T76" fmla="*/ 421 w 1058"/>
                  <a:gd name="T77" fmla="*/ 157 h 1514"/>
                  <a:gd name="T78" fmla="*/ 452 w 1058"/>
                  <a:gd name="T79" fmla="*/ 122 h 1514"/>
                  <a:gd name="T80" fmla="*/ 476 w 1058"/>
                  <a:gd name="T81" fmla="*/ 110 h 1514"/>
                  <a:gd name="T82" fmla="*/ 479 w 1058"/>
                  <a:gd name="T83" fmla="*/ 94 h 1514"/>
                  <a:gd name="T84" fmla="*/ 469 w 1058"/>
                  <a:gd name="T85" fmla="*/ 74 h 1514"/>
                  <a:gd name="T86" fmla="*/ 440 w 1058"/>
                  <a:gd name="T87" fmla="*/ 50 h 1514"/>
                  <a:gd name="T88" fmla="*/ 446 w 1058"/>
                  <a:gd name="T89" fmla="*/ 27 h 1514"/>
                  <a:gd name="T90" fmla="*/ 472 w 1058"/>
                  <a:gd name="T91" fmla="*/ 3 h 1514"/>
                  <a:gd name="T92" fmla="*/ 490 w 1058"/>
                  <a:gd name="T93" fmla="*/ 14 h 1514"/>
                  <a:gd name="T94" fmla="*/ 520 w 1058"/>
                  <a:gd name="T95" fmla="*/ 12 h 1514"/>
                  <a:gd name="T96" fmla="*/ 539 w 1058"/>
                  <a:gd name="T97" fmla="*/ 48 h 1514"/>
                  <a:gd name="T98" fmla="*/ 614 w 1058"/>
                  <a:gd name="T99" fmla="*/ 88 h 1514"/>
                  <a:gd name="T100" fmla="*/ 651 w 1058"/>
                  <a:gd name="T101" fmla="*/ 122 h 1514"/>
                  <a:gd name="T102" fmla="*/ 704 w 1058"/>
                  <a:gd name="T103" fmla="*/ 132 h 1514"/>
                  <a:gd name="T104" fmla="*/ 771 w 1058"/>
                  <a:gd name="T105" fmla="*/ 173 h 1514"/>
                  <a:gd name="T106" fmla="*/ 812 w 1058"/>
                  <a:gd name="T107" fmla="*/ 172 h 1514"/>
                  <a:gd name="T108" fmla="*/ 854 w 1058"/>
                  <a:gd name="T109" fmla="*/ 214 h 1514"/>
                  <a:gd name="T110" fmla="*/ 916 w 1058"/>
                  <a:gd name="T111" fmla="*/ 246 h 1514"/>
                  <a:gd name="T112" fmla="*/ 924 w 1058"/>
                  <a:gd name="T113" fmla="*/ 515 h 1514"/>
                  <a:gd name="T114" fmla="*/ 1038 w 1058"/>
                  <a:gd name="T115" fmla="*/ 617 h 1514"/>
                  <a:gd name="T116" fmla="*/ 1058 w 1058"/>
                  <a:gd name="T117" fmla="*/ 721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8" h="1514">
                    <a:moveTo>
                      <a:pt x="965" y="1466"/>
                    </a:moveTo>
                    <a:lnTo>
                      <a:pt x="944" y="1472"/>
                    </a:lnTo>
                    <a:lnTo>
                      <a:pt x="552" y="1514"/>
                    </a:lnTo>
                    <a:lnTo>
                      <a:pt x="508" y="1512"/>
                    </a:lnTo>
                    <a:lnTo>
                      <a:pt x="493" y="1507"/>
                    </a:lnTo>
                    <a:lnTo>
                      <a:pt x="484" y="1504"/>
                    </a:lnTo>
                    <a:lnTo>
                      <a:pt x="471" y="1497"/>
                    </a:lnTo>
                    <a:lnTo>
                      <a:pt x="425" y="1468"/>
                    </a:lnTo>
                    <a:lnTo>
                      <a:pt x="422" y="1467"/>
                    </a:lnTo>
                    <a:lnTo>
                      <a:pt x="357" y="1406"/>
                    </a:lnTo>
                    <a:lnTo>
                      <a:pt x="340" y="1378"/>
                    </a:lnTo>
                    <a:lnTo>
                      <a:pt x="331" y="1367"/>
                    </a:lnTo>
                    <a:lnTo>
                      <a:pt x="327" y="1363"/>
                    </a:lnTo>
                    <a:lnTo>
                      <a:pt x="327" y="1357"/>
                    </a:lnTo>
                    <a:lnTo>
                      <a:pt x="327" y="1353"/>
                    </a:lnTo>
                    <a:lnTo>
                      <a:pt x="334" y="1322"/>
                    </a:lnTo>
                    <a:lnTo>
                      <a:pt x="336" y="1315"/>
                    </a:lnTo>
                    <a:lnTo>
                      <a:pt x="347" y="1299"/>
                    </a:lnTo>
                    <a:lnTo>
                      <a:pt x="348" y="1297"/>
                    </a:lnTo>
                    <a:lnTo>
                      <a:pt x="349" y="1292"/>
                    </a:lnTo>
                    <a:lnTo>
                      <a:pt x="350" y="1289"/>
                    </a:lnTo>
                    <a:lnTo>
                      <a:pt x="349" y="1285"/>
                    </a:lnTo>
                    <a:lnTo>
                      <a:pt x="348" y="1282"/>
                    </a:lnTo>
                    <a:lnTo>
                      <a:pt x="346" y="1277"/>
                    </a:lnTo>
                    <a:lnTo>
                      <a:pt x="332" y="1262"/>
                    </a:lnTo>
                    <a:lnTo>
                      <a:pt x="322" y="1248"/>
                    </a:lnTo>
                    <a:lnTo>
                      <a:pt x="317" y="1239"/>
                    </a:lnTo>
                    <a:lnTo>
                      <a:pt x="307" y="1229"/>
                    </a:lnTo>
                    <a:lnTo>
                      <a:pt x="283" y="1207"/>
                    </a:lnTo>
                    <a:lnTo>
                      <a:pt x="239" y="1141"/>
                    </a:lnTo>
                    <a:lnTo>
                      <a:pt x="237" y="1138"/>
                    </a:lnTo>
                    <a:lnTo>
                      <a:pt x="237" y="1134"/>
                    </a:lnTo>
                    <a:lnTo>
                      <a:pt x="236" y="1130"/>
                    </a:lnTo>
                    <a:lnTo>
                      <a:pt x="237" y="1126"/>
                    </a:lnTo>
                    <a:lnTo>
                      <a:pt x="243" y="1101"/>
                    </a:lnTo>
                    <a:lnTo>
                      <a:pt x="245" y="1093"/>
                    </a:lnTo>
                    <a:lnTo>
                      <a:pt x="242" y="1063"/>
                    </a:lnTo>
                    <a:lnTo>
                      <a:pt x="243" y="1059"/>
                    </a:lnTo>
                    <a:lnTo>
                      <a:pt x="244" y="1055"/>
                    </a:lnTo>
                    <a:lnTo>
                      <a:pt x="246" y="1052"/>
                    </a:lnTo>
                    <a:lnTo>
                      <a:pt x="251" y="1045"/>
                    </a:lnTo>
                    <a:lnTo>
                      <a:pt x="253" y="1041"/>
                    </a:lnTo>
                    <a:lnTo>
                      <a:pt x="255" y="1038"/>
                    </a:lnTo>
                    <a:lnTo>
                      <a:pt x="256" y="1034"/>
                    </a:lnTo>
                    <a:lnTo>
                      <a:pt x="256" y="1031"/>
                    </a:lnTo>
                    <a:lnTo>
                      <a:pt x="256" y="1027"/>
                    </a:lnTo>
                    <a:lnTo>
                      <a:pt x="248" y="966"/>
                    </a:lnTo>
                    <a:lnTo>
                      <a:pt x="248" y="959"/>
                    </a:lnTo>
                    <a:lnTo>
                      <a:pt x="252" y="933"/>
                    </a:lnTo>
                    <a:lnTo>
                      <a:pt x="252" y="932"/>
                    </a:lnTo>
                    <a:lnTo>
                      <a:pt x="250" y="928"/>
                    </a:lnTo>
                    <a:lnTo>
                      <a:pt x="246" y="927"/>
                    </a:lnTo>
                    <a:lnTo>
                      <a:pt x="243" y="926"/>
                    </a:lnTo>
                    <a:lnTo>
                      <a:pt x="223" y="922"/>
                    </a:lnTo>
                    <a:lnTo>
                      <a:pt x="220" y="922"/>
                    </a:lnTo>
                    <a:lnTo>
                      <a:pt x="216" y="923"/>
                    </a:lnTo>
                    <a:lnTo>
                      <a:pt x="196" y="928"/>
                    </a:lnTo>
                    <a:lnTo>
                      <a:pt x="192" y="928"/>
                    </a:lnTo>
                    <a:lnTo>
                      <a:pt x="188" y="928"/>
                    </a:lnTo>
                    <a:lnTo>
                      <a:pt x="181" y="926"/>
                    </a:lnTo>
                    <a:lnTo>
                      <a:pt x="177" y="923"/>
                    </a:lnTo>
                    <a:lnTo>
                      <a:pt x="174" y="919"/>
                    </a:lnTo>
                    <a:lnTo>
                      <a:pt x="170" y="913"/>
                    </a:lnTo>
                    <a:lnTo>
                      <a:pt x="169" y="909"/>
                    </a:lnTo>
                    <a:lnTo>
                      <a:pt x="169" y="903"/>
                    </a:lnTo>
                    <a:lnTo>
                      <a:pt x="170" y="886"/>
                    </a:lnTo>
                    <a:lnTo>
                      <a:pt x="172" y="877"/>
                    </a:lnTo>
                    <a:lnTo>
                      <a:pt x="173" y="874"/>
                    </a:lnTo>
                    <a:lnTo>
                      <a:pt x="172" y="871"/>
                    </a:lnTo>
                    <a:lnTo>
                      <a:pt x="170" y="866"/>
                    </a:lnTo>
                    <a:lnTo>
                      <a:pt x="165" y="863"/>
                    </a:lnTo>
                    <a:lnTo>
                      <a:pt x="162" y="861"/>
                    </a:lnTo>
                    <a:lnTo>
                      <a:pt x="157" y="859"/>
                    </a:lnTo>
                    <a:lnTo>
                      <a:pt x="149" y="857"/>
                    </a:lnTo>
                    <a:lnTo>
                      <a:pt x="113" y="855"/>
                    </a:lnTo>
                    <a:lnTo>
                      <a:pt x="87" y="855"/>
                    </a:lnTo>
                    <a:lnTo>
                      <a:pt x="81" y="854"/>
                    </a:lnTo>
                    <a:lnTo>
                      <a:pt x="78" y="853"/>
                    </a:lnTo>
                    <a:lnTo>
                      <a:pt x="74" y="851"/>
                    </a:lnTo>
                    <a:lnTo>
                      <a:pt x="71" y="849"/>
                    </a:lnTo>
                    <a:lnTo>
                      <a:pt x="67" y="846"/>
                    </a:lnTo>
                    <a:lnTo>
                      <a:pt x="64" y="843"/>
                    </a:lnTo>
                    <a:lnTo>
                      <a:pt x="63" y="841"/>
                    </a:lnTo>
                    <a:lnTo>
                      <a:pt x="41" y="789"/>
                    </a:lnTo>
                    <a:lnTo>
                      <a:pt x="36" y="763"/>
                    </a:lnTo>
                    <a:lnTo>
                      <a:pt x="35" y="758"/>
                    </a:lnTo>
                    <a:lnTo>
                      <a:pt x="31" y="749"/>
                    </a:lnTo>
                    <a:lnTo>
                      <a:pt x="22" y="720"/>
                    </a:lnTo>
                    <a:lnTo>
                      <a:pt x="19" y="714"/>
                    </a:lnTo>
                    <a:lnTo>
                      <a:pt x="15" y="711"/>
                    </a:lnTo>
                    <a:lnTo>
                      <a:pt x="11" y="708"/>
                    </a:lnTo>
                    <a:lnTo>
                      <a:pt x="5" y="705"/>
                    </a:lnTo>
                    <a:lnTo>
                      <a:pt x="4" y="703"/>
                    </a:lnTo>
                    <a:lnTo>
                      <a:pt x="2" y="700"/>
                    </a:lnTo>
                    <a:lnTo>
                      <a:pt x="1" y="697"/>
                    </a:lnTo>
                    <a:lnTo>
                      <a:pt x="0" y="684"/>
                    </a:lnTo>
                    <a:lnTo>
                      <a:pt x="2" y="667"/>
                    </a:lnTo>
                    <a:lnTo>
                      <a:pt x="1" y="651"/>
                    </a:lnTo>
                    <a:lnTo>
                      <a:pt x="4" y="619"/>
                    </a:lnTo>
                    <a:lnTo>
                      <a:pt x="6" y="605"/>
                    </a:lnTo>
                    <a:lnTo>
                      <a:pt x="7" y="598"/>
                    </a:lnTo>
                    <a:lnTo>
                      <a:pt x="6" y="594"/>
                    </a:lnTo>
                    <a:lnTo>
                      <a:pt x="4" y="588"/>
                    </a:lnTo>
                    <a:lnTo>
                      <a:pt x="4" y="586"/>
                    </a:lnTo>
                    <a:lnTo>
                      <a:pt x="4" y="583"/>
                    </a:lnTo>
                    <a:lnTo>
                      <a:pt x="5" y="581"/>
                    </a:lnTo>
                    <a:lnTo>
                      <a:pt x="8" y="576"/>
                    </a:lnTo>
                    <a:lnTo>
                      <a:pt x="15" y="566"/>
                    </a:lnTo>
                    <a:lnTo>
                      <a:pt x="16" y="566"/>
                    </a:lnTo>
                    <a:lnTo>
                      <a:pt x="19" y="560"/>
                    </a:lnTo>
                    <a:lnTo>
                      <a:pt x="20" y="552"/>
                    </a:lnTo>
                    <a:lnTo>
                      <a:pt x="20" y="545"/>
                    </a:lnTo>
                    <a:lnTo>
                      <a:pt x="23" y="538"/>
                    </a:lnTo>
                    <a:lnTo>
                      <a:pt x="34" y="522"/>
                    </a:lnTo>
                    <a:lnTo>
                      <a:pt x="36" y="520"/>
                    </a:lnTo>
                    <a:lnTo>
                      <a:pt x="41" y="516"/>
                    </a:lnTo>
                    <a:lnTo>
                      <a:pt x="45" y="514"/>
                    </a:lnTo>
                    <a:lnTo>
                      <a:pt x="49" y="514"/>
                    </a:lnTo>
                    <a:lnTo>
                      <a:pt x="52" y="515"/>
                    </a:lnTo>
                    <a:lnTo>
                      <a:pt x="71" y="523"/>
                    </a:lnTo>
                    <a:lnTo>
                      <a:pt x="78" y="526"/>
                    </a:lnTo>
                    <a:lnTo>
                      <a:pt x="89" y="529"/>
                    </a:lnTo>
                    <a:lnTo>
                      <a:pt x="120" y="532"/>
                    </a:lnTo>
                    <a:lnTo>
                      <a:pt x="128" y="532"/>
                    </a:lnTo>
                    <a:lnTo>
                      <a:pt x="152" y="529"/>
                    </a:lnTo>
                    <a:lnTo>
                      <a:pt x="160" y="529"/>
                    </a:lnTo>
                    <a:lnTo>
                      <a:pt x="173" y="532"/>
                    </a:lnTo>
                    <a:lnTo>
                      <a:pt x="177" y="532"/>
                    </a:lnTo>
                    <a:lnTo>
                      <a:pt x="179" y="531"/>
                    </a:lnTo>
                    <a:lnTo>
                      <a:pt x="184" y="530"/>
                    </a:lnTo>
                    <a:lnTo>
                      <a:pt x="188" y="526"/>
                    </a:lnTo>
                    <a:lnTo>
                      <a:pt x="192" y="522"/>
                    </a:lnTo>
                    <a:lnTo>
                      <a:pt x="193" y="515"/>
                    </a:lnTo>
                    <a:lnTo>
                      <a:pt x="194" y="510"/>
                    </a:lnTo>
                    <a:lnTo>
                      <a:pt x="192" y="506"/>
                    </a:lnTo>
                    <a:lnTo>
                      <a:pt x="188" y="498"/>
                    </a:lnTo>
                    <a:lnTo>
                      <a:pt x="186" y="494"/>
                    </a:lnTo>
                    <a:lnTo>
                      <a:pt x="186" y="491"/>
                    </a:lnTo>
                    <a:lnTo>
                      <a:pt x="186" y="486"/>
                    </a:lnTo>
                    <a:lnTo>
                      <a:pt x="189" y="481"/>
                    </a:lnTo>
                    <a:lnTo>
                      <a:pt x="206" y="459"/>
                    </a:lnTo>
                    <a:lnTo>
                      <a:pt x="222" y="443"/>
                    </a:lnTo>
                    <a:lnTo>
                      <a:pt x="225" y="440"/>
                    </a:lnTo>
                    <a:lnTo>
                      <a:pt x="229" y="439"/>
                    </a:lnTo>
                    <a:lnTo>
                      <a:pt x="285" y="425"/>
                    </a:lnTo>
                    <a:lnTo>
                      <a:pt x="292" y="422"/>
                    </a:lnTo>
                    <a:lnTo>
                      <a:pt x="296" y="419"/>
                    </a:lnTo>
                    <a:lnTo>
                      <a:pt x="305" y="410"/>
                    </a:lnTo>
                    <a:lnTo>
                      <a:pt x="317" y="402"/>
                    </a:lnTo>
                    <a:lnTo>
                      <a:pt x="320" y="399"/>
                    </a:lnTo>
                    <a:lnTo>
                      <a:pt x="324" y="393"/>
                    </a:lnTo>
                    <a:lnTo>
                      <a:pt x="329" y="381"/>
                    </a:lnTo>
                    <a:lnTo>
                      <a:pt x="335" y="375"/>
                    </a:lnTo>
                    <a:lnTo>
                      <a:pt x="337" y="372"/>
                    </a:lnTo>
                    <a:lnTo>
                      <a:pt x="339" y="370"/>
                    </a:lnTo>
                    <a:lnTo>
                      <a:pt x="342" y="369"/>
                    </a:lnTo>
                    <a:lnTo>
                      <a:pt x="345" y="367"/>
                    </a:lnTo>
                    <a:lnTo>
                      <a:pt x="349" y="366"/>
                    </a:lnTo>
                    <a:lnTo>
                      <a:pt x="352" y="365"/>
                    </a:lnTo>
                    <a:lnTo>
                      <a:pt x="360" y="365"/>
                    </a:lnTo>
                    <a:lnTo>
                      <a:pt x="396" y="370"/>
                    </a:lnTo>
                    <a:lnTo>
                      <a:pt x="436" y="367"/>
                    </a:lnTo>
                    <a:lnTo>
                      <a:pt x="451" y="368"/>
                    </a:lnTo>
                    <a:lnTo>
                      <a:pt x="455" y="368"/>
                    </a:lnTo>
                    <a:lnTo>
                      <a:pt x="458" y="366"/>
                    </a:lnTo>
                    <a:lnTo>
                      <a:pt x="460" y="363"/>
                    </a:lnTo>
                    <a:lnTo>
                      <a:pt x="461" y="360"/>
                    </a:lnTo>
                    <a:lnTo>
                      <a:pt x="462" y="356"/>
                    </a:lnTo>
                    <a:lnTo>
                      <a:pt x="462" y="351"/>
                    </a:lnTo>
                    <a:lnTo>
                      <a:pt x="462" y="345"/>
                    </a:lnTo>
                    <a:lnTo>
                      <a:pt x="460" y="333"/>
                    </a:lnTo>
                    <a:lnTo>
                      <a:pt x="458" y="327"/>
                    </a:lnTo>
                    <a:lnTo>
                      <a:pt x="456" y="321"/>
                    </a:lnTo>
                    <a:lnTo>
                      <a:pt x="451" y="313"/>
                    </a:lnTo>
                    <a:lnTo>
                      <a:pt x="450" y="309"/>
                    </a:lnTo>
                    <a:lnTo>
                      <a:pt x="451" y="303"/>
                    </a:lnTo>
                    <a:lnTo>
                      <a:pt x="453" y="294"/>
                    </a:lnTo>
                    <a:lnTo>
                      <a:pt x="452" y="288"/>
                    </a:lnTo>
                    <a:lnTo>
                      <a:pt x="452" y="288"/>
                    </a:lnTo>
                    <a:lnTo>
                      <a:pt x="439" y="271"/>
                    </a:lnTo>
                    <a:lnTo>
                      <a:pt x="425" y="246"/>
                    </a:lnTo>
                    <a:lnTo>
                      <a:pt x="420" y="241"/>
                    </a:lnTo>
                    <a:lnTo>
                      <a:pt x="407" y="227"/>
                    </a:lnTo>
                    <a:lnTo>
                      <a:pt x="404" y="224"/>
                    </a:lnTo>
                    <a:lnTo>
                      <a:pt x="403" y="219"/>
                    </a:lnTo>
                    <a:lnTo>
                      <a:pt x="402" y="216"/>
                    </a:lnTo>
                    <a:lnTo>
                      <a:pt x="402" y="212"/>
                    </a:lnTo>
                    <a:lnTo>
                      <a:pt x="405" y="187"/>
                    </a:lnTo>
                    <a:lnTo>
                      <a:pt x="405" y="180"/>
                    </a:lnTo>
                    <a:lnTo>
                      <a:pt x="403" y="171"/>
                    </a:lnTo>
                    <a:lnTo>
                      <a:pt x="404" y="166"/>
                    </a:lnTo>
                    <a:lnTo>
                      <a:pt x="407" y="163"/>
                    </a:lnTo>
                    <a:lnTo>
                      <a:pt x="410" y="160"/>
                    </a:lnTo>
                    <a:lnTo>
                      <a:pt x="415" y="159"/>
                    </a:lnTo>
                    <a:lnTo>
                      <a:pt x="421" y="157"/>
                    </a:lnTo>
                    <a:lnTo>
                      <a:pt x="424" y="157"/>
                    </a:lnTo>
                    <a:lnTo>
                      <a:pt x="426" y="154"/>
                    </a:lnTo>
                    <a:lnTo>
                      <a:pt x="439" y="136"/>
                    </a:lnTo>
                    <a:lnTo>
                      <a:pt x="445" y="129"/>
                    </a:lnTo>
                    <a:lnTo>
                      <a:pt x="452" y="122"/>
                    </a:lnTo>
                    <a:lnTo>
                      <a:pt x="456" y="119"/>
                    </a:lnTo>
                    <a:lnTo>
                      <a:pt x="461" y="117"/>
                    </a:lnTo>
                    <a:lnTo>
                      <a:pt x="469" y="113"/>
                    </a:lnTo>
                    <a:lnTo>
                      <a:pt x="472" y="111"/>
                    </a:lnTo>
                    <a:lnTo>
                      <a:pt x="476" y="110"/>
                    </a:lnTo>
                    <a:lnTo>
                      <a:pt x="478" y="106"/>
                    </a:lnTo>
                    <a:lnTo>
                      <a:pt x="479" y="103"/>
                    </a:lnTo>
                    <a:lnTo>
                      <a:pt x="480" y="101"/>
                    </a:lnTo>
                    <a:lnTo>
                      <a:pt x="480" y="97"/>
                    </a:lnTo>
                    <a:lnTo>
                      <a:pt x="479" y="94"/>
                    </a:lnTo>
                    <a:lnTo>
                      <a:pt x="478" y="90"/>
                    </a:lnTo>
                    <a:lnTo>
                      <a:pt x="478" y="86"/>
                    </a:lnTo>
                    <a:lnTo>
                      <a:pt x="475" y="82"/>
                    </a:lnTo>
                    <a:lnTo>
                      <a:pt x="472" y="78"/>
                    </a:lnTo>
                    <a:lnTo>
                      <a:pt x="469" y="74"/>
                    </a:lnTo>
                    <a:lnTo>
                      <a:pt x="462" y="69"/>
                    </a:lnTo>
                    <a:lnTo>
                      <a:pt x="455" y="64"/>
                    </a:lnTo>
                    <a:lnTo>
                      <a:pt x="444" y="58"/>
                    </a:lnTo>
                    <a:lnTo>
                      <a:pt x="442" y="57"/>
                    </a:lnTo>
                    <a:lnTo>
                      <a:pt x="440" y="50"/>
                    </a:lnTo>
                    <a:lnTo>
                      <a:pt x="440" y="46"/>
                    </a:lnTo>
                    <a:lnTo>
                      <a:pt x="440" y="42"/>
                    </a:lnTo>
                    <a:lnTo>
                      <a:pt x="441" y="38"/>
                    </a:lnTo>
                    <a:lnTo>
                      <a:pt x="443" y="32"/>
                    </a:lnTo>
                    <a:lnTo>
                      <a:pt x="446" y="27"/>
                    </a:lnTo>
                    <a:lnTo>
                      <a:pt x="450" y="19"/>
                    </a:lnTo>
                    <a:lnTo>
                      <a:pt x="455" y="13"/>
                    </a:lnTo>
                    <a:lnTo>
                      <a:pt x="460" y="8"/>
                    </a:lnTo>
                    <a:lnTo>
                      <a:pt x="463" y="6"/>
                    </a:lnTo>
                    <a:lnTo>
                      <a:pt x="472" y="3"/>
                    </a:lnTo>
                    <a:lnTo>
                      <a:pt x="476" y="5"/>
                    </a:lnTo>
                    <a:lnTo>
                      <a:pt x="479" y="10"/>
                    </a:lnTo>
                    <a:lnTo>
                      <a:pt x="482" y="12"/>
                    </a:lnTo>
                    <a:lnTo>
                      <a:pt x="485" y="14"/>
                    </a:lnTo>
                    <a:lnTo>
                      <a:pt x="490" y="14"/>
                    </a:lnTo>
                    <a:lnTo>
                      <a:pt x="493" y="12"/>
                    </a:lnTo>
                    <a:lnTo>
                      <a:pt x="497" y="10"/>
                    </a:lnTo>
                    <a:lnTo>
                      <a:pt x="504" y="0"/>
                    </a:lnTo>
                    <a:lnTo>
                      <a:pt x="506" y="1"/>
                    </a:lnTo>
                    <a:lnTo>
                      <a:pt x="520" y="12"/>
                    </a:lnTo>
                    <a:lnTo>
                      <a:pt x="527" y="19"/>
                    </a:lnTo>
                    <a:lnTo>
                      <a:pt x="531" y="22"/>
                    </a:lnTo>
                    <a:lnTo>
                      <a:pt x="532" y="27"/>
                    </a:lnTo>
                    <a:lnTo>
                      <a:pt x="537" y="43"/>
                    </a:lnTo>
                    <a:lnTo>
                      <a:pt x="539" y="48"/>
                    </a:lnTo>
                    <a:lnTo>
                      <a:pt x="543" y="53"/>
                    </a:lnTo>
                    <a:lnTo>
                      <a:pt x="546" y="57"/>
                    </a:lnTo>
                    <a:lnTo>
                      <a:pt x="594" y="85"/>
                    </a:lnTo>
                    <a:lnTo>
                      <a:pt x="602" y="87"/>
                    </a:lnTo>
                    <a:lnTo>
                      <a:pt x="614" y="88"/>
                    </a:lnTo>
                    <a:lnTo>
                      <a:pt x="618" y="88"/>
                    </a:lnTo>
                    <a:lnTo>
                      <a:pt x="621" y="90"/>
                    </a:lnTo>
                    <a:lnTo>
                      <a:pt x="625" y="94"/>
                    </a:lnTo>
                    <a:lnTo>
                      <a:pt x="636" y="106"/>
                    </a:lnTo>
                    <a:lnTo>
                      <a:pt x="651" y="122"/>
                    </a:lnTo>
                    <a:lnTo>
                      <a:pt x="659" y="126"/>
                    </a:lnTo>
                    <a:lnTo>
                      <a:pt x="662" y="128"/>
                    </a:lnTo>
                    <a:lnTo>
                      <a:pt x="669" y="130"/>
                    </a:lnTo>
                    <a:lnTo>
                      <a:pt x="696" y="131"/>
                    </a:lnTo>
                    <a:lnTo>
                      <a:pt x="704" y="132"/>
                    </a:lnTo>
                    <a:lnTo>
                      <a:pt x="711" y="134"/>
                    </a:lnTo>
                    <a:lnTo>
                      <a:pt x="722" y="141"/>
                    </a:lnTo>
                    <a:lnTo>
                      <a:pt x="764" y="171"/>
                    </a:lnTo>
                    <a:lnTo>
                      <a:pt x="767" y="172"/>
                    </a:lnTo>
                    <a:lnTo>
                      <a:pt x="771" y="173"/>
                    </a:lnTo>
                    <a:lnTo>
                      <a:pt x="775" y="174"/>
                    </a:lnTo>
                    <a:lnTo>
                      <a:pt x="779" y="174"/>
                    </a:lnTo>
                    <a:lnTo>
                      <a:pt x="804" y="170"/>
                    </a:lnTo>
                    <a:lnTo>
                      <a:pt x="808" y="170"/>
                    </a:lnTo>
                    <a:lnTo>
                      <a:pt x="812" y="172"/>
                    </a:lnTo>
                    <a:lnTo>
                      <a:pt x="816" y="173"/>
                    </a:lnTo>
                    <a:lnTo>
                      <a:pt x="843" y="201"/>
                    </a:lnTo>
                    <a:lnTo>
                      <a:pt x="847" y="208"/>
                    </a:lnTo>
                    <a:lnTo>
                      <a:pt x="851" y="211"/>
                    </a:lnTo>
                    <a:lnTo>
                      <a:pt x="854" y="214"/>
                    </a:lnTo>
                    <a:lnTo>
                      <a:pt x="908" y="235"/>
                    </a:lnTo>
                    <a:lnTo>
                      <a:pt x="910" y="237"/>
                    </a:lnTo>
                    <a:lnTo>
                      <a:pt x="912" y="239"/>
                    </a:lnTo>
                    <a:lnTo>
                      <a:pt x="914" y="242"/>
                    </a:lnTo>
                    <a:lnTo>
                      <a:pt x="916" y="246"/>
                    </a:lnTo>
                    <a:lnTo>
                      <a:pt x="917" y="249"/>
                    </a:lnTo>
                    <a:lnTo>
                      <a:pt x="918" y="256"/>
                    </a:lnTo>
                    <a:lnTo>
                      <a:pt x="922" y="505"/>
                    </a:lnTo>
                    <a:lnTo>
                      <a:pt x="923" y="513"/>
                    </a:lnTo>
                    <a:lnTo>
                      <a:pt x="924" y="515"/>
                    </a:lnTo>
                    <a:lnTo>
                      <a:pt x="927" y="520"/>
                    </a:lnTo>
                    <a:lnTo>
                      <a:pt x="930" y="522"/>
                    </a:lnTo>
                    <a:lnTo>
                      <a:pt x="990" y="566"/>
                    </a:lnTo>
                    <a:lnTo>
                      <a:pt x="1031" y="608"/>
                    </a:lnTo>
                    <a:lnTo>
                      <a:pt x="1038" y="617"/>
                    </a:lnTo>
                    <a:lnTo>
                      <a:pt x="1045" y="629"/>
                    </a:lnTo>
                    <a:lnTo>
                      <a:pt x="1052" y="645"/>
                    </a:lnTo>
                    <a:lnTo>
                      <a:pt x="1057" y="658"/>
                    </a:lnTo>
                    <a:lnTo>
                      <a:pt x="1058" y="681"/>
                    </a:lnTo>
                    <a:lnTo>
                      <a:pt x="1058" y="721"/>
                    </a:lnTo>
                    <a:lnTo>
                      <a:pt x="1010" y="1113"/>
                    </a:lnTo>
                    <a:lnTo>
                      <a:pt x="965" y="1466"/>
                    </a:lnTo>
                    <a:lnTo>
                      <a:pt x="965" y="1466"/>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313" name="Freeform 8">
                <a:extLst>
                  <a:ext uri="{FF2B5EF4-FFF2-40B4-BE49-F238E27FC236}"/>
                </a:extLst>
              </p:cNvPr>
              <p:cNvSpPr>
                <a:spLocks noEditPoints="1"/>
              </p:cNvSpPr>
              <p:nvPr/>
            </p:nvSpPr>
            <p:spPr bwMode="auto">
              <a:xfrm>
                <a:off x="4449763" y="2786063"/>
                <a:ext cx="2841625" cy="3482975"/>
              </a:xfrm>
              <a:custGeom>
                <a:avLst/>
                <a:gdLst>
                  <a:gd name="T0" fmla="*/ 774 w 1790"/>
                  <a:gd name="T1" fmla="*/ 342 h 2194"/>
                  <a:gd name="T2" fmla="*/ 764 w 1790"/>
                  <a:gd name="T3" fmla="*/ 335 h 2194"/>
                  <a:gd name="T4" fmla="*/ 774 w 1790"/>
                  <a:gd name="T5" fmla="*/ 333 h 2194"/>
                  <a:gd name="T6" fmla="*/ 536 w 1790"/>
                  <a:gd name="T7" fmla="*/ 906 h 2194"/>
                  <a:gd name="T8" fmla="*/ 417 w 1790"/>
                  <a:gd name="T9" fmla="*/ 537 h 2194"/>
                  <a:gd name="T10" fmla="*/ 284 w 1790"/>
                  <a:gd name="T11" fmla="*/ 472 h 2194"/>
                  <a:gd name="T12" fmla="*/ 164 w 1790"/>
                  <a:gd name="T13" fmla="*/ 424 h 2194"/>
                  <a:gd name="T14" fmla="*/ 44 w 1790"/>
                  <a:gd name="T15" fmla="*/ 346 h 2194"/>
                  <a:gd name="T16" fmla="*/ 0 w 1790"/>
                  <a:gd name="T17" fmla="*/ 281 h 2194"/>
                  <a:gd name="T18" fmla="*/ 145 w 1790"/>
                  <a:gd name="T19" fmla="*/ 50 h 2194"/>
                  <a:gd name="T20" fmla="*/ 438 w 1790"/>
                  <a:gd name="T21" fmla="*/ 67 h 2194"/>
                  <a:gd name="T22" fmla="*/ 589 w 1790"/>
                  <a:gd name="T23" fmla="*/ 111 h 2194"/>
                  <a:gd name="T24" fmla="*/ 597 w 1790"/>
                  <a:gd name="T25" fmla="*/ 135 h 2194"/>
                  <a:gd name="T26" fmla="*/ 617 w 1790"/>
                  <a:gd name="T27" fmla="*/ 171 h 2194"/>
                  <a:gd name="T28" fmla="*/ 632 w 1790"/>
                  <a:gd name="T29" fmla="*/ 205 h 2194"/>
                  <a:gd name="T30" fmla="*/ 637 w 1790"/>
                  <a:gd name="T31" fmla="*/ 214 h 2194"/>
                  <a:gd name="T32" fmla="*/ 659 w 1790"/>
                  <a:gd name="T33" fmla="*/ 249 h 2194"/>
                  <a:gd name="T34" fmla="*/ 655 w 1790"/>
                  <a:gd name="T35" fmla="*/ 249 h 2194"/>
                  <a:gd name="T36" fmla="*/ 644 w 1790"/>
                  <a:gd name="T37" fmla="*/ 257 h 2194"/>
                  <a:gd name="T38" fmla="*/ 653 w 1790"/>
                  <a:gd name="T39" fmla="*/ 267 h 2194"/>
                  <a:gd name="T40" fmla="*/ 659 w 1790"/>
                  <a:gd name="T41" fmla="*/ 274 h 2194"/>
                  <a:gd name="T42" fmla="*/ 660 w 1790"/>
                  <a:gd name="T43" fmla="*/ 282 h 2194"/>
                  <a:gd name="T44" fmla="*/ 664 w 1790"/>
                  <a:gd name="T45" fmla="*/ 286 h 2194"/>
                  <a:gd name="T46" fmla="*/ 692 w 1790"/>
                  <a:gd name="T47" fmla="*/ 296 h 2194"/>
                  <a:gd name="T48" fmla="*/ 717 w 1790"/>
                  <a:gd name="T49" fmla="*/ 295 h 2194"/>
                  <a:gd name="T50" fmla="*/ 729 w 1790"/>
                  <a:gd name="T51" fmla="*/ 313 h 2194"/>
                  <a:gd name="T52" fmla="*/ 701 w 1790"/>
                  <a:gd name="T53" fmla="*/ 316 h 2194"/>
                  <a:gd name="T54" fmla="*/ 724 w 1790"/>
                  <a:gd name="T55" fmla="*/ 320 h 2194"/>
                  <a:gd name="T56" fmla="*/ 725 w 1790"/>
                  <a:gd name="T57" fmla="*/ 332 h 2194"/>
                  <a:gd name="T58" fmla="*/ 736 w 1790"/>
                  <a:gd name="T59" fmla="*/ 363 h 2194"/>
                  <a:gd name="T60" fmla="*/ 748 w 1790"/>
                  <a:gd name="T61" fmla="*/ 364 h 2194"/>
                  <a:gd name="T62" fmla="*/ 752 w 1790"/>
                  <a:gd name="T63" fmla="*/ 367 h 2194"/>
                  <a:gd name="T64" fmla="*/ 765 w 1790"/>
                  <a:gd name="T65" fmla="*/ 363 h 2194"/>
                  <a:gd name="T66" fmla="*/ 776 w 1790"/>
                  <a:gd name="T67" fmla="*/ 380 h 2194"/>
                  <a:gd name="T68" fmla="*/ 826 w 1790"/>
                  <a:gd name="T69" fmla="*/ 424 h 2194"/>
                  <a:gd name="T70" fmla="*/ 867 w 1790"/>
                  <a:gd name="T71" fmla="*/ 460 h 2194"/>
                  <a:gd name="T72" fmla="*/ 846 w 1790"/>
                  <a:gd name="T73" fmla="*/ 462 h 2194"/>
                  <a:gd name="T74" fmla="*/ 882 w 1790"/>
                  <a:gd name="T75" fmla="*/ 517 h 2194"/>
                  <a:gd name="T76" fmla="*/ 874 w 1790"/>
                  <a:gd name="T77" fmla="*/ 567 h 2194"/>
                  <a:gd name="T78" fmla="*/ 860 w 1790"/>
                  <a:gd name="T79" fmla="*/ 561 h 2194"/>
                  <a:gd name="T80" fmla="*/ 846 w 1790"/>
                  <a:gd name="T81" fmla="*/ 565 h 2194"/>
                  <a:gd name="T82" fmla="*/ 849 w 1790"/>
                  <a:gd name="T83" fmla="*/ 586 h 2194"/>
                  <a:gd name="T84" fmla="*/ 864 w 1790"/>
                  <a:gd name="T85" fmla="*/ 588 h 2194"/>
                  <a:gd name="T86" fmla="*/ 890 w 1790"/>
                  <a:gd name="T87" fmla="*/ 654 h 2194"/>
                  <a:gd name="T88" fmla="*/ 872 w 1790"/>
                  <a:gd name="T89" fmla="*/ 642 h 2194"/>
                  <a:gd name="T90" fmla="*/ 909 w 1790"/>
                  <a:gd name="T91" fmla="*/ 677 h 2194"/>
                  <a:gd name="T92" fmla="*/ 931 w 1790"/>
                  <a:gd name="T93" fmla="*/ 703 h 2194"/>
                  <a:gd name="T94" fmla="*/ 939 w 1790"/>
                  <a:gd name="T95" fmla="*/ 742 h 2194"/>
                  <a:gd name="T96" fmla="*/ 966 w 1790"/>
                  <a:gd name="T97" fmla="*/ 790 h 2194"/>
                  <a:gd name="T98" fmla="*/ 1003 w 1790"/>
                  <a:gd name="T99" fmla="*/ 848 h 2194"/>
                  <a:gd name="T100" fmla="*/ 1066 w 1790"/>
                  <a:gd name="T101" fmla="*/ 843 h 2194"/>
                  <a:gd name="T102" fmla="*/ 1075 w 1790"/>
                  <a:gd name="T103" fmla="*/ 850 h 2194"/>
                  <a:gd name="T104" fmla="*/ 1096 w 1790"/>
                  <a:gd name="T105" fmla="*/ 847 h 2194"/>
                  <a:gd name="T106" fmla="*/ 1081 w 1790"/>
                  <a:gd name="T107" fmla="*/ 866 h 2194"/>
                  <a:gd name="T108" fmla="*/ 1061 w 1790"/>
                  <a:gd name="T109" fmla="*/ 894 h 2194"/>
                  <a:gd name="T110" fmla="*/ 1097 w 1790"/>
                  <a:gd name="T111" fmla="*/ 901 h 2194"/>
                  <a:gd name="T112" fmla="*/ 1219 w 1790"/>
                  <a:gd name="T113" fmla="*/ 1079 h 2194"/>
                  <a:gd name="T114" fmla="*/ 1655 w 1790"/>
                  <a:gd name="T115" fmla="*/ 1201 h 2194"/>
                  <a:gd name="T116" fmla="*/ 1760 w 1790"/>
                  <a:gd name="T117" fmla="*/ 1421 h 2194"/>
                  <a:gd name="T118" fmla="*/ 1398 w 1790"/>
                  <a:gd name="T119" fmla="*/ 1781 h 2194"/>
                  <a:gd name="T120" fmla="*/ 884 w 1790"/>
                  <a:gd name="T121" fmla="*/ 1901 h 2194"/>
                  <a:gd name="T122" fmla="*/ 486 w 1790"/>
                  <a:gd name="T123" fmla="*/ 2077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0" h="2194">
                    <a:moveTo>
                      <a:pt x="774" y="333"/>
                    </a:moveTo>
                    <a:lnTo>
                      <a:pt x="778" y="333"/>
                    </a:lnTo>
                    <a:lnTo>
                      <a:pt x="796" y="339"/>
                    </a:lnTo>
                    <a:lnTo>
                      <a:pt x="792" y="340"/>
                    </a:lnTo>
                    <a:lnTo>
                      <a:pt x="789" y="339"/>
                    </a:lnTo>
                    <a:lnTo>
                      <a:pt x="788" y="338"/>
                    </a:lnTo>
                    <a:lnTo>
                      <a:pt x="784" y="337"/>
                    </a:lnTo>
                    <a:lnTo>
                      <a:pt x="781" y="338"/>
                    </a:lnTo>
                    <a:lnTo>
                      <a:pt x="779" y="339"/>
                    </a:lnTo>
                    <a:lnTo>
                      <a:pt x="777" y="341"/>
                    </a:lnTo>
                    <a:lnTo>
                      <a:pt x="774" y="342"/>
                    </a:lnTo>
                    <a:lnTo>
                      <a:pt x="773" y="341"/>
                    </a:lnTo>
                    <a:lnTo>
                      <a:pt x="773" y="341"/>
                    </a:lnTo>
                    <a:lnTo>
                      <a:pt x="770" y="340"/>
                    </a:lnTo>
                    <a:lnTo>
                      <a:pt x="770" y="339"/>
                    </a:lnTo>
                    <a:lnTo>
                      <a:pt x="773" y="338"/>
                    </a:lnTo>
                    <a:lnTo>
                      <a:pt x="773" y="337"/>
                    </a:lnTo>
                    <a:lnTo>
                      <a:pt x="772" y="335"/>
                    </a:lnTo>
                    <a:lnTo>
                      <a:pt x="771" y="334"/>
                    </a:lnTo>
                    <a:lnTo>
                      <a:pt x="769" y="333"/>
                    </a:lnTo>
                    <a:lnTo>
                      <a:pt x="767" y="333"/>
                    </a:lnTo>
                    <a:lnTo>
                      <a:pt x="764" y="335"/>
                    </a:lnTo>
                    <a:lnTo>
                      <a:pt x="761" y="335"/>
                    </a:lnTo>
                    <a:lnTo>
                      <a:pt x="759" y="338"/>
                    </a:lnTo>
                    <a:lnTo>
                      <a:pt x="758" y="341"/>
                    </a:lnTo>
                    <a:lnTo>
                      <a:pt x="756" y="344"/>
                    </a:lnTo>
                    <a:lnTo>
                      <a:pt x="756" y="339"/>
                    </a:lnTo>
                    <a:lnTo>
                      <a:pt x="759" y="334"/>
                    </a:lnTo>
                    <a:lnTo>
                      <a:pt x="764" y="331"/>
                    </a:lnTo>
                    <a:lnTo>
                      <a:pt x="769" y="330"/>
                    </a:lnTo>
                    <a:lnTo>
                      <a:pt x="771" y="330"/>
                    </a:lnTo>
                    <a:lnTo>
                      <a:pt x="772" y="331"/>
                    </a:lnTo>
                    <a:lnTo>
                      <a:pt x="774" y="333"/>
                    </a:lnTo>
                    <a:lnTo>
                      <a:pt x="774" y="333"/>
                    </a:lnTo>
                    <a:close/>
                    <a:moveTo>
                      <a:pt x="417" y="2194"/>
                    </a:moveTo>
                    <a:lnTo>
                      <a:pt x="470" y="1764"/>
                    </a:lnTo>
                    <a:lnTo>
                      <a:pt x="515" y="1411"/>
                    </a:lnTo>
                    <a:lnTo>
                      <a:pt x="563" y="1019"/>
                    </a:lnTo>
                    <a:lnTo>
                      <a:pt x="563" y="979"/>
                    </a:lnTo>
                    <a:lnTo>
                      <a:pt x="562" y="956"/>
                    </a:lnTo>
                    <a:lnTo>
                      <a:pt x="557" y="943"/>
                    </a:lnTo>
                    <a:lnTo>
                      <a:pt x="550" y="927"/>
                    </a:lnTo>
                    <a:lnTo>
                      <a:pt x="543" y="915"/>
                    </a:lnTo>
                    <a:lnTo>
                      <a:pt x="536" y="906"/>
                    </a:lnTo>
                    <a:lnTo>
                      <a:pt x="495" y="864"/>
                    </a:lnTo>
                    <a:lnTo>
                      <a:pt x="435" y="820"/>
                    </a:lnTo>
                    <a:lnTo>
                      <a:pt x="432" y="818"/>
                    </a:lnTo>
                    <a:lnTo>
                      <a:pt x="429" y="813"/>
                    </a:lnTo>
                    <a:lnTo>
                      <a:pt x="428" y="811"/>
                    </a:lnTo>
                    <a:lnTo>
                      <a:pt x="427" y="803"/>
                    </a:lnTo>
                    <a:lnTo>
                      <a:pt x="423" y="554"/>
                    </a:lnTo>
                    <a:lnTo>
                      <a:pt x="422" y="547"/>
                    </a:lnTo>
                    <a:lnTo>
                      <a:pt x="421" y="544"/>
                    </a:lnTo>
                    <a:lnTo>
                      <a:pt x="419" y="540"/>
                    </a:lnTo>
                    <a:lnTo>
                      <a:pt x="417" y="537"/>
                    </a:lnTo>
                    <a:lnTo>
                      <a:pt x="415" y="535"/>
                    </a:lnTo>
                    <a:lnTo>
                      <a:pt x="413" y="533"/>
                    </a:lnTo>
                    <a:lnTo>
                      <a:pt x="359" y="512"/>
                    </a:lnTo>
                    <a:lnTo>
                      <a:pt x="356" y="509"/>
                    </a:lnTo>
                    <a:lnTo>
                      <a:pt x="352" y="506"/>
                    </a:lnTo>
                    <a:lnTo>
                      <a:pt x="348" y="499"/>
                    </a:lnTo>
                    <a:lnTo>
                      <a:pt x="321" y="471"/>
                    </a:lnTo>
                    <a:lnTo>
                      <a:pt x="317" y="470"/>
                    </a:lnTo>
                    <a:lnTo>
                      <a:pt x="313" y="468"/>
                    </a:lnTo>
                    <a:lnTo>
                      <a:pt x="309" y="468"/>
                    </a:lnTo>
                    <a:lnTo>
                      <a:pt x="284" y="472"/>
                    </a:lnTo>
                    <a:lnTo>
                      <a:pt x="280" y="472"/>
                    </a:lnTo>
                    <a:lnTo>
                      <a:pt x="276" y="471"/>
                    </a:lnTo>
                    <a:lnTo>
                      <a:pt x="272" y="470"/>
                    </a:lnTo>
                    <a:lnTo>
                      <a:pt x="269" y="469"/>
                    </a:lnTo>
                    <a:lnTo>
                      <a:pt x="227" y="439"/>
                    </a:lnTo>
                    <a:lnTo>
                      <a:pt x="216" y="432"/>
                    </a:lnTo>
                    <a:lnTo>
                      <a:pt x="209" y="430"/>
                    </a:lnTo>
                    <a:lnTo>
                      <a:pt x="201" y="429"/>
                    </a:lnTo>
                    <a:lnTo>
                      <a:pt x="174" y="428"/>
                    </a:lnTo>
                    <a:lnTo>
                      <a:pt x="167" y="426"/>
                    </a:lnTo>
                    <a:lnTo>
                      <a:pt x="164" y="424"/>
                    </a:lnTo>
                    <a:lnTo>
                      <a:pt x="156" y="420"/>
                    </a:lnTo>
                    <a:lnTo>
                      <a:pt x="141" y="404"/>
                    </a:lnTo>
                    <a:lnTo>
                      <a:pt x="130" y="392"/>
                    </a:lnTo>
                    <a:lnTo>
                      <a:pt x="126" y="388"/>
                    </a:lnTo>
                    <a:lnTo>
                      <a:pt x="123" y="386"/>
                    </a:lnTo>
                    <a:lnTo>
                      <a:pt x="119" y="386"/>
                    </a:lnTo>
                    <a:lnTo>
                      <a:pt x="107" y="385"/>
                    </a:lnTo>
                    <a:lnTo>
                      <a:pt x="99" y="383"/>
                    </a:lnTo>
                    <a:lnTo>
                      <a:pt x="51" y="355"/>
                    </a:lnTo>
                    <a:lnTo>
                      <a:pt x="48" y="351"/>
                    </a:lnTo>
                    <a:lnTo>
                      <a:pt x="44" y="346"/>
                    </a:lnTo>
                    <a:lnTo>
                      <a:pt x="42" y="341"/>
                    </a:lnTo>
                    <a:lnTo>
                      <a:pt x="37" y="325"/>
                    </a:lnTo>
                    <a:lnTo>
                      <a:pt x="36" y="320"/>
                    </a:lnTo>
                    <a:lnTo>
                      <a:pt x="32" y="317"/>
                    </a:lnTo>
                    <a:lnTo>
                      <a:pt x="25" y="310"/>
                    </a:lnTo>
                    <a:lnTo>
                      <a:pt x="11" y="299"/>
                    </a:lnTo>
                    <a:lnTo>
                      <a:pt x="9" y="298"/>
                    </a:lnTo>
                    <a:lnTo>
                      <a:pt x="7" y="295"/>
                    </a:lnTo>
                    <a:lnTo>
                      <a:pt x="3" y="289"/>
                    </a:lnTo>
                    <a:lnTo>
                      <a:pt x="1" y="286"/>
                    </a:lnTo>
                    <a:lnTo>
                      <a:pt x="0" y="281"/>
                    </a:lnTo>
                    <a:lnTo>
                      <a:pt x="0" y="279"/>
                    </a:lnTo>
                    <a:lnTo>
                      <a:pt x="1" y="275"/>
                    </a:lnTo>
                    <a:lnTo>
                      <a:pt x="2" y="270"/>
                    </a:lnTo>
                    <a:lnTo>
                      <a:pt x="6" y="259"/>
                    </a:lnTo>
                    <a:lnTo>
                      <a:pt x="10" y="252"/>
                    </a:lnTo>
                    <a:lnTo>
                      <a:pt x="38" y="219"/>
                    </a:lnTo>
                    <a:lnTo>
                      <a:pt x="46" y="206"/>
                    </a:lnTo>
                    <a:lnTo>
                      <a:pt x="105" y="95"/>
                    </a:lnTo>
                    <a:lnTo>
                      <a:pt x="115" y="80"/>
                    </a:lnTo>
                    <a:lnTo>
                      <a:pt x="128" y="65"/>
                    </a:lnTo>
                    <a:lnTo>
                      <a:pt x="145" y="50"/>
                    </a:lnTo>
                    <a:lnTo>
                      <a:pt x="168" y="36"/>
                    </a:lnTo>
                    <a:lnTo>
                      <a:pt x="247" y="6"/>
                    </a:lnTo>
                    <a:lnTo>
                      <a:pt x="249" y="4"/>
                    </a:lnTo>
                    <a:lnTo>
                      <a:pt x="267" y="0"/>
                    </a:lnTo>
                    <a:lnTo>
                      <a:pt x="305" y="5"/>
                    </a:lnTo>
                    <a:lnTo>
                      <a:pt x="342" y="10"/>
                    </a:lnTo>
                    <a:lnTo>
                      <a:pt x="409" y="19"/>
                    </a:lnTo>
                    <a:lnTo>
                      <a:pt x="418" y="20"/>
                    </a:lnTo>
                    <a:lnTo>
                      <a:pt x="428" y="37"/>
                    </a:lnTo>
                    <a:lnTo>
                      <a:pt x="437" y="63"/>
                    </a:lnTo>
                    <a:lnTo>
                      <a:pt x="438" y="67"/>
                    </a:lnTo>
                    <a:lnTo>
                      <a:pt x="439" y="78"/>
                    </a:lnTo>
                    <a:lnTo>
                      <a:pt x="441" y="83"/>
                    </a:lnTo>
                    <a:lnTo>
                      <a:pt x="442" y="89"/>
                    </a:lnTo>
                    <a:lnTo>
                      <a:pt x="445" y="93"/>
                    </a:lnTo>
                    <a:lnTo>
                      <a:pt x="449" y="97"/>
                    </a:lnTo>
                    <a:lnTo>
                      <a:pt x="452" y="100"/>
                    </a:lnTo>
                    <a:lnTo>
                      <a:pt x="456" y="103"/>
                    </a:lnTo>
                    <a:lnTo>
                      <a:pt x="457" y="108"/>
                    </a:lnTo>
                    <a:lnTo>
                      <a:pt x="525" y="107"/>
                    </a:lnTo>
                    <a:lnTo>
                      <a:pt x="585" y="106"/>
                    </a:lnTo>
                    <a:lnTo>
                      <a:pt x="589" y="111"/>
                    </a:lnTo>
                    <a:lnTo>
                      <a:pt x="592" y="112"/>
                    </a:lnTo>
                    <a:lnTo>
                      <a:pt x="595" y="114"/>
                    </a:lnTo>
                    <a:lnTo>
                      <a:pt x="596" y="116"/>
                    </a:lnTo>
                    <a:lnTo>
                      <a:pt x="598" y="124"/>
                    </a:lnTo>
                    <a:lnTo>
                      <a:pt x="598" y="130"/>
                    </a:lnTo>
                    <a:lnTo>
                      <a:pt x="596" y="135"/>
                    </a:lnTo>
                    <a:lnTo>
                      <a:pt x="593" y="134"/>
                    </a:lnTo>
                    <a:lnTo>
                      <a:pt x="592" y="135"/>
                    </a:lnTo>
                    <a:lnTo>
                      <a:pt x="592" y="135"/>
                    </a:lnTo>
                    <a:lnTo>
                      <a:pt x="594" y="136"/>
                    </a:lnTo>
                    <a:lnTo>
                      <a:pt x="597" y="135"/>
                    </a:lnTo>
                    <a:lnTo>
                      <a:pt x="600" y="134"/>
                    </a:lnTo>
                    <a:lnTo>
                      <a:pt x="600" y="130"/>
                    </a:lnTo>
                    <a:lnTo>
                      <a:pt x="602" y="132"/>
                    </a:lnTo>
                    <a:lnTo>
                      <a:pt x="602" y="134"/>
                    </a:lnTo>
                    <a:lnTo>
                      <a:pt x="600" y="137"/>
                    </a:lnTo>
                    <a:lnTo>
                      <a:pt x="600" y="142"/>
                    </a:lnTo>
                    <a:lnTo>
                      <a:pt x="599" y="144"/>
                    </a:lnTo>
                    <a:lnTo>
                      <a:pt x="600" y="149"/>
                    </a:lnTo>
                    <a:lnTo>
                      <a:pt x="602" y="153"/>
                    </a:lnTo>
                    <a:lnTo>
                      <a:pt x="616" y="168"/>
                    </a:lnTo>
                    <a:lnTo>
                      <a:pt x="617" y="171"/>
                    </a:lnTo>
                    <a:lnTo>
                      <a:pt x="615" y="174"/>
                    </a:lnTo>
                    <a:lnTo>
                      <a:pt x="614" y="178"/>
                    </a:lnTo>
                    <a:lnTo>
                      <a:pt x="613" y="181"/>
                    </a:lnTo>
                    <a:lnTo>
                      <a:pt x="615" y="185"/>
                    </a:lnTo>
                    <a:lnTo>
                      <a:pt x="616" y="188"/>
                    </a:lnTo>
                    <a:lnTo>
                      <a:pt x="622" y="196"/>
                    </a:lnTo>
                    <a:lnTo>
                      <a:pt x="623" y="197"/>
                    </a:lnTo>
                    <a:lnTo>
                      <a:pt x="622" y="201"/>
                    </a:lnTo>
                    <a:lnTo>
                      <a:pt x="624" y="203"/>
                    </a:lnTo>
                    <a:lnTo>
                      <a:pt x="630" y="205"/>
                    </a:lnTo>
                    <a:lnTo>
                      <a:pt x="632" y="205"/>
                    </a:lnTo>
                    <a:lnTo>
                      <a:pt x="638" y="205"/>
                    </a:lnTo>
                    <a:lnTo>
                      <a:pt x="639" y="205"/>
                    </a:lnTo>
                    <a:lnTo>
                      <a:pt x="643" y="207"/>
                    </a:lnTo>
                    <a:lnTo>
                      <a:pt x="645" y="208"/>
                    </a:lnTo>
                    <a:lnTo>
                      <a:pt x="645" y="208"/>
                    </a:lnTo>
                    <a:lnTo>
                      <a:pt x="645" y="210"/>
                    </a:lnTo>
                    <a:lnTo>
                      <a:pt x="644" y="211"/>
                    </a:lnTo>
                    <a:lnTo>
                      <a:pt x="643" y="212"/>
                    </a:lnTo>
                    <a:lnTo>
                      <a:pt x="640" y="211"/>
                    </a:lnTo>
                    <a:lnTo>
                      <a:pt x="638" y="213"/>
                    </a:lnTo>
                    <a:lnTo>
                      <a:pt x="637" y="214"/>
                    </a:lnTo>
                    <a:lnTo>
                      <a:pt x="638" y="217"/>
                    </a:lnTo>
                    <a:lnTo>
                      <a:pt x="638" y="219"/>
                    </a:lnTo>
                    <a:lnTo>
                      <a:pt x="642" y="223"/>
                    </a:lnTo>
                    <a:lnTo>
                      <a:pt x="646" y="226"/>
                    </a:lnTo>
                    <a:lnTo>
                      <a:pt x="649" y="227"/>
                    </a:lnTo>
                    <a:lnTo>
                      <a:pt x="649" y="228"/>
                    </a:lnTo>
                    <a:lnTo>
                      <a:pt x="653" y="234"/>
                    </a:lnTo>
                    <a:lnTo>
                      <a:pt x="660" y="241"/>
                    </a:lnTo>
                    <a:lnTo>
                      <a:pt x="660" y="242"/>
                    </a:lnTo>
                    <a:lnTo>
                      <a:pt x="659" y="246"/>
                    </a:lnTo>
                    <a:lnTo>
                      <a:pt x="659" y="249"/>
                    </a:lnTo>
                    <a:lnTo>
                      <a:pt x="659" y="250"/>
                    </a:lnTo>
                    <a:lnTo>
                      <a:pt x="660" y="252"/>
                    </a:lnTo>
                    <a:lnTo>
                      <a:pt x="659" y="253"/>
                    </a:lnTo>
                    <a:lnTo>
                      <a:pt x="658" y="256"/>
                    </a:lnTo>
                    <a:lnTo>
                      <a:pt x="655" y="259"/>
                    </a:lnTo>
                    <a:lnTo>
                      <a:pt x="653" y="261"/>
                    </a:lnTo>
                    <a:lnTo>
                      <a:pt x="654" y="259"/>
                    </a:lnTo>
                    <a:lnTo>
                      <a:pt x="654" y="257"/>
                    </a:lnTo>
                    <a:lnTo>
                      <a:pt x="654" y="252"/>
                    </a:lnTo>
                    <a:lnTo>
                      <a:pt x="654" y="250"/>
                    </a:lnTo>
                    <a:lnTo>
                      <a:pt x="655" y="249"/>
                    </a:lnTo>
                    <a:lnTo>
                      <a:pt x="656" y="247"/>
                    </a:lnTo>
                    <a:lnTo>
                      <a:pt x="655" y="244"/>
                    </a:lnTo>
                    <a:lnTo>
                      <a:pt x="653" y="247"/>
                    </a:lnTo>
                    <a:lnTo>
                      <a:pt x="650" y="254"/>
                    </a:lnTo>
                    <a:lnTo>
                      <a:pt x="647" y="256"/>
                    </a:lnTo>
                    <a:lnTo>
                      <a:pt x="651" y="248"/>
                    </a:lnTo>
                    <a:lnTo>
                      <a:pt x="651" y="245"/>
                    </a:lnTo>
                    <a:lnTo>
                      <a:pt x="650" y="242"/>
                    </a:lnTo>
                    <a:lnTo>
                      <a:pt x="648" y="242"/>
                    </a:lnTo>
                    <a:lnTo>
                      <a:pt x="647" y="245"/>
                    </a:lnTo>
                    <a:lnTo>
                      <a:pt x="644" y="257"/>
                    </a:lnTo>
                    <a:lnTo>
                      <a:pt x="644" y="261"/>
                    </a:lnTo>
                    <a:lnTo>
                      <a:pt x="643" y="263"/>
                    </a:lnTo>
                    <a:lnTo>
                      <a:pt x="643" y="264"/>
                    </a:lnTo>
                    <a:lnTo>
                      <a:pt x="645" y="264"/>
                    </a:lnTo>
                    <a:lnTo>
                      <a:pt x="646" y="263"/>
                    </a:lnTo>
                    <a:lnTo>
                      <a:pt x="647" y="259"/>
                    </a:lnTo>
                    <a:lnTo>
                      <a:pt x="648" y="258"/>
                    </a:lnTo>
                    <a:lnTo>
                      <a:pt x="648" y="266"/>
                    </a:lnTo>
                    <a:lnTo>
                      <a:pt x="649" y="269"/>
                    </a:lnTo>
                    <a:lnTo>
                      <a:pt x="651" y="268"/>
                    </a:lnTo>
                    <a:lnTo>
                      <a:pt x="653" y="267"/>
                    </a:lnTo>
                    <a:lnTo>
                      <a:pt x="653" y="264"/>
                    </a:lnTo>
                    <a:lnTo>
                      <a:pt x="654" y="267"/>
                    </a:lnTo>
                    <a:lnTo>
                      <a:pt x="654" y="270"/>
                    </a:lnTo>
                    <a:lnTo>
                      <a:pt x="654" y="272"/>
                    </a:lnTo>
                    <a:lnTo>
                      <a:pt x="656" y="273"/>
                    </a:lnTo>
                    <a:lnTo>
                      <a:pt x="658" y="272"/>
                    </a:lnTo>
                    <a:lnTo>
                      <a:pt x="659" y="271"/>
                    </a:lnTo>
                    <a:lnTo>
                      <a:pt x="660" y="269"/>
                    </a:lnTo>
                    <a:lnTo>
                      <a:pt x="660" y="272"/>
                    </a:lnTo>
                    <a:lnTo>
                      <a:pt x="660" y="273"/>
                    </a:lnTo>
                    <a:lnTo>
                      <a:pt x="659" y="274"/>
                    </a:lnTo>
                    <a:lnTo>
                      <a:pt x="660" y="276"/>
                    </a:lnTo>
                    <a:lnTo>
                      <a:pt x="660" y="277"/>
                    </a:lnTo>
                    <a:lnTo>
                      <a:pt x="659" y="278"/>
                    </a:lnTo>
                    <a:lnTo>
                      <a:pt x="657" y="278"/>
                    </a:lnTo>
                    <a:lnTo>
                      <a:pt x="659" y="283"/>
                    </a:lnTo>
                    <a:lnTo>
                      <a:pt x="655" y="280"/>
                    </a:lnTo>
                    <a:lnTo>
                      <a:pt x="653" y="281"/>
                    </a:lnTo>
                    <a:lnTo>
                      <a:pt x="652" y="283"/>
                    </a:lnTo>
                    <a:lnTo>
                      <a:pt x="655" y="284"/>
                    </a:lnTo>
                    <a:lnTo>
                      <a:pt x="659" y="284"/>
                    </a:lnTo>
                    <a:lnTo>
                      <a:pt x="660" y="282"/>
                    </a:lnTo>
                    <a:lnTo>
                      <a:pt x="662" y="279"/>
                    </a:lnTo>
                    <a:lnTo>
                      <a:pt x="663" y="279"/>
                    </a:lnTo>
                    <a:lnTo>
                      <a:pt x="664" y="282"/>
                    </a:lnTo>
                    <a:lnTo>
                      <a:pt x="662" y="284"/>
                    </a:lnTo>
                    <a:lnTo>
                      <a:pt x="662" y="287"/>
                    </a:lnTo>
                    <a:lnTo>
                      <a:pt x="662" y="291"/>
                    </a:lnTo>
                    <a:lnTo>
                      <a:pt x="666" y="291"/>
                    </a:lnTo>
                    <a:lnTo>
                      <a:pt x="667" y="289"/>
                    </a:lnTo>
                    <a:lnTo>
                      <a:pt x="666" y="288"/>
                    </a:lnTo>
                    <a:lnTo>
                      <a:pt x="665" y="287"/>
                    </a:lnTo>
                    <a:lnTo>
                      <a:pt x="664" y="286"/>
                    </a:lnTo>
                    <a:lnTo>
                      <a:pt x="666" y="284"/>
                    </a:lnTo>
                    <a:lnTo>
                      <a:pt x="668" y="283"/>
                    </a:lnTo>
                    <a:lnTo>
                      <a:pt x="671" y="282"/>
                    </a:lnTo>
                    <a:lnTo>
                      <a:pt x="675" y="281"/>
                    </a:lnTo>
                    <a:lnTo>
                      <a:pt x="677" y="282"/>
                    </a:lnTo>
                    <a:lnTo>
                      <a:pt x="683" y="288"/>
                    </a:lnTo>
                    <a:lnTo>
                      <a:pt x="689" y="291"/>
                    </a:lnTo>
                    <a:lnTo>
                      <a:pt x="690" y="294"/>
                    </a:lnTo>
                    <a:lnTo>
                      <a:pt x="687" y="296"/>
                    </a:lnTo>
                    <a:lnTo>
                      <a:pt x="690" y="297"/>
                    </a:lnTo>
                    <a:lnTo>
                      <a:pt x="692" y="296"/>
                    </a:lnTo>
                    <a:lnTo>
                      <a:pt x="693" y="295"/>
                    </a:lnTo>
                    <a:lnTo>
                      <a:pt x="692" y="293"/>
                    </a:lnTo>
                    <a:lnTo>
                      <a:pt x="695" y="295"/>
                    </a:lnTo>
                    <a:lnTo>
                      <a:pt x="698" y="295"/>
                    </a:lnTo>
                    <a:lnTo>
                      <a:pt x="705" y="296"/>
                    </a:lnTo>
                    <a:lnTo>
                      <a:pt x="706" y="295"/>
                    </a:lnTo>
                    <a:lnTo>
                      <a:pt x="708" y="294"/>
                    </a:lnTo>
                    <a:lnTo>
                      <a:pt x="710" y="293"/>
                    </a:lnTo>
                    <a:lnTo>
                      <a:pt x="712" y="294"/>
                    </a:lnTo>
                    <a:lnTo>
                      <a:pt x="715" y="295"/>
                    </a:lnTo>
                    <a:lnTo>
                      <a:pt x="717" y="295"/>
                    </a:lnTo>
                    <a:lnTo>
                      <a:pt x="721" y="295"/>
                    </a:lnTo>
                    <a:lnTo>
                      <a:pt x="722" y="298"/>
                    </a:lnTo>
                    <a:lnTo>
                      <a:pt x="727" y="303"/>
                    </a:lnTo>
                    <a:lnTo>
                      <a:pt x="728" y="305"/>
                    </a:lnTo>
                    <a:lnTo>
                      <a:pt x="730" y="306"/>
                    </a:lnTo>
                    <a:lnTo>
                      <a:pt x="731" y="308"/>
                    </a:lnTo>
                    <a:lnTo>
                      <a:pt x="731" y="309"/>
                    </a:lnTo>
                    <a:lnTo>
                      <a:pt x="732" y="312"/>
                    </a:lnTo>
                    <a:lnTo>
                      <a:pt x="732" y="314"/>
                    </a:lnTo>
                    <a:lnTo>
                      <a:pt x="730" y="314"/>
                    </a:lnTo>
                    <a:lnTo>
                      <a:pt x="729" y="313"/>
                    </a:lnTo>
                    <a:lnTo>
                      <a:pt x="728" y="311"/>
                    </a:lnTo>
                    <a:lnTo>
                      <a:pt x="729" y="309"/>
                    </a:lnTo>
                    <a:lnTo>
                      <a:pt x="728" y="309"/>
                    </a:lnTo>
                    <a:lnTo>
                      <a:pt x="724" y="313"/>
                    </a:lnTo>
                    <a:lnTo>
                      <a:pt x="715" y="312"/>
                    </a:lnTo>
                    <a:lnTo>
                      <a:pt x="712" y="316"/>
                    </a:lnTo>
                    <a:lnTo>
                      <a:pt x="710" y="316"/>
                    </a:lnTo>
                    <a:lnTo>
                      <a:pt x="709" y="312"/>
                    </a:lnTo>
                    <a:lnTo>
                      <a:pt x="706" y="312"/>
                    </a:lnTo>
                    <a:lnTo>
                      <a:pt x="700" y="316"/>
                    </a:lnTo>
                    <a:lnTo>
                      <a:pt x="701" y="316"/>
                    </a:lnTo>
                    <a:lnTo>
                      <a:pt x="705" y="318"/>
                    </a:lnTo>
                    <a:lnTo>
                      <a:pt x="707" y="318"/>
                    </a:lnTo>
                    <a:lnTo>
                      <a:pt x="711" y="321"/>
                    </a:lnTo>
                    <a:lnTo>
                      <a:pt x="713" y="322"/>
                    </a:lnTo>
                    <a:lnTo>
                      <a:pt x="714" y="324"/>
                    </a:lnTo>
                    <a:lnTo>
                      <a:pt x="715" y="324"/>
                    </a:lnTo>
                    <a:lnTo>
                      <a:pt x="719" y="321"/>
                    </a:lnTo>
                    <a:lnTo>
                      <a:pt x="720" y="319"/>
                    </a:lnTo>
                    <a:lnTo>
                      <a:pt x="721" y="318"/>
                    </a:lnTo>
                    <a:lnTo>
                      <a:pt x="722" y="319"/>
                    </a:lnTo>
                    <a:lnTo>
                      <a:pt x="724" y="320"/>
                    </a:lnTo>
                    <a:lnTo>
                      <a:pt x="723" y="323"/>
                    </a:lnTo>
                    <a:lnTo>
                      <a:pt x="721" y="325"/>
                    </a:lnTo>
                    <a:lnTo>
                      <a:pt x="720" y="325"/>
                    </a:lnTo>
                    <a:lnTo>
                      <a:pt x="719" y="327"/>
                    </a:lnTo>
                    <a:lnTo>
                      <a:pt x="718" y="329"/>
                    </a:lnTo>
                    <a:lnTo>
                      <a:pt x="718" y="333"/>
                    </a:lnTo>
                    <a:lnTo>
                      <a:pt x="717" y="336"/>
                    </a:lnTo>
                    <a:lnTo>
                      <a:pt x="719" y="335"/>
                    </a:lnTo>
                    <a:lnTo>
                      <a:pt x="721" y="334"/>
                    </a:lnTo>
                    <a:lnTo>
                      <a:pt x="723" y="333"/>
                    </a:lnTo>
                    <a:lnTo>
                      <a:pt x="725" y="332"/>
                    </a:lnTo>
                    <a:lnTo>
                      <a:pt x="727" y="331"/>
                    </a:lnTo>
                    <a:lnTo>
                      <a:pt x="729" y="332"/>
                    </a:lnTo>
                    <a:lnTo>
                      <a:pt x="732" y="333"/>
                    </a:lnTo>
                    <a:lnTo>
                      <a:pt x="731" y="337"/>
                    </a:lnTo>
                    <a:lnTo>
                      <a:pt x="731" y="341"/>
                    </a:lnTo>
                    <a:lnTo>
                      <a:pt x="733" y="344"/>
                    </a:lnTo>
                    <a:lnTo>
                      <a:pt x="733" y="348"/>
                    </a:lnTo>
                    <a:lnTo>
                      <a:pt x="733" y="356"/>
                    </a:lnTo>
                    <a:lnTo>
                      <a:pt x="734" y="360"/>
                    </a:lnTo>
                    <a:lnTo>
                      <a:pt x="736" y="359"/>
                    </a:lnTo>
                    <a:lnTo>
                      <a:pt x="736" y="363"/>
                    </a:lnTo>
                    <a:lnTo>
                      <a:pt x="738" y="364"/>
                    </a:lnTo>
                    <a:lnTo>
                      <a:pt x="740" y="363"/>
                    </a:lnTo>
                    <a:lnTo>
                      <a:pt x="742" y="362"/>
                    </a:lnTo>
                    <a:lnTo>
                      <a:pt x="741" y="359"/>
                    </a:lnTo>
                    <a:lnTo>
                      <a:pt x="742" y="357"/>
                    </a:lnTo>
                    <a:lnTo>
                      <a:pt x="744" y="357"/>
                    </a:lnTo>
                    <a:lnTo>
                      <a:pt x="747" y="359"/>
                    </a:lnTo>
                    <a:lnTo>
                      <a:pt x="748" y="358"/>
                    </a:lnTo>
                    <a:lnTo>
                      <a:pt x="749" y="360"/>
                    </a:lnTo>
                    <a:lnTo>
                      <a:pt x="749" y="362"/>
                    </a:lnTo>
                    <a:lnTo>
                      <a:pt x="748" y="364"/>
                    </a:lnTo>
                    <a:lnTo>
                      <a:pt x="747" y="367"/>
                    </a:lnTo>
                    <a:lnTo>
                      <a:pt x="747" y="368"/>
                    </a:lnTo>
                    <a:lnTo>
                      <a:pt x="745" y="369"/>
                    </a:lnTo>
                    <a:lnTo>
                      <a:pt x="743" y="369"/>
                    </a:lnTo>
                    <a:lnTo>
                      <a:pt x="742" y="369"/>
                    </a:lnTo>
                    <a:lnTo>
                      <a:pt x="743" y="371"/>
                    </a:lnTo>
                    <a:lnTo>
                      <a:pt x="747" y="371"/>
                    </a:lnTo>
                    <a:lnTo>
                      <a:pt x="748" y="373"/>
                    </a:lnTo>
                    <a:lnTo>
                      <a:pt x="750" y="372"/>
                    </a:lnTo>
                    <a:lnTo>
                      <a:pt x="751" y="371"/>
                    </a:lnTo>
                    <a:lnTo>
                      <a:pt x="752" y="367"/>
                    </a:lnTo>
                    <a:lnTo>
                      <a:pt x="753" y="368"/>
                    </a:lnTo>
                    <a:lnTo>
                      <a:pt x="754" y="369"/>
                    </a:lnTo>
                    <a:lnTo>
                      <a:pt x="752" y="371"/>
                    </a:lnTo>
                    <a:lnTo>
                      <a:pt x="754" y="372"/>
                    </a:lnTo>
                    <a:lnTo>
                      <a:pt x="758" y="371"/>
                    </a:lnTo>
                    <a:lnTo>
                      <a:pt x="760" y="371"/>
                    </a:lnTo>
                    <a:lnTo>
                      <a:pt x="765" y="373"/>
                    </a:lnTo>
                    <a:lnTo>
                      <a:pt x="768" y="373"/>
                    </a:lnTo>
                    <a:lnTo>
                      <a:pt x="763" y="369"/>
                    </a:lnTo>
                    <a:lnTo>
                      <a:pt x="762" y="365"/>
                    </a:lnTo>
                    <a:lnTo>
                      <a:pt x="765" y="363"/>
                    </a:lnTo>
                    <a:lnTo>
                      <a:pt x="766" y="363"/>
                    </a:lnTo>
                    <a:lnTo>
                      <a:pt x="770" y="365"/>
                    </a:lnTo>
                    <a:lnTo>
                      <a:pt x="771" y="366"/>
                    </a:lnTo>
                    <a:lnTo>
                      <a:pt x="773" y="365"/>
                    </a:lnTo>
                    <a:lnTo>
                      <a:pt x="775" y="362"/>
                    </a:lnTo>
                    <a:lnTo>
                      <a:pt x="775" y="365"/>
                    </a:lnTo>
                    <a:lnTo>
                      <a:pt x="773" y="370"/>
                    </a:lnTo>
                    <a:lnTo>
                      <a:pt x="773" y="372"/>
                    </a:lnTo>
                    <a:lnTo>
                      <a:pt x="774" y="377"/>
                    </a:lnTo>
                    <a:lnTo>
                      <a:pt x="775" y="379"/>
                    </a:lnTo>
                    <a:lnTo>
                      <a:pt x="776" y="380"/>
                    </a:lnTo>
                    <a:lnTo>
                      <a:pt x="780" y="381"/>
                    </a:lnTo>
                    <a:lnTo>
                      <a:pt x="782" y="385"/>
                    </a:lnTo>
                    <a:lnTo>
                      <a:pt x="792" y="401"/>
                    </a:lnTo>
                    <a:lnTo>
                      <a:pt x="797" y="406"/>
                    </a:lnTo>
                    <a:lnTo>
                      <a:pt x="798" y="408"/>
                    </a:lnTo>
                    <a:lnTo>
                      <a:pt x="803" y="409"/>
                    </a:lnTo>
                    <a:lnTo>
                      <a:pt x="805" y="411"/>
                    </a:lnTo>
                    <a:lnTo>
                      <a:pt x="807" y="413"/>
                    </a:lnTo>
                    <a:lnTo>
                      <a:pt x="809" y="415"/>
                    </a:lnTo>
                    <a:lnTo>
                      <a:pt x="819" y="420"/>
                    </a:lnTo>
                    <a:lnTo>
                      <a:pt x="826" y="424"/>
                    </a:lnTo>
                    <a:lnTo>
                      <a:pt x="830" y="425"/>
                    </a:lnTo>
                    <a:lnTo>
                      <a:pt x="833" y="424"/>
                    </a:lnTo>
                    <a:lnTo>
                      <a:pt x="838" y="425"/>
                    </a:lnTo>
                    <a:lnTo>
                      <a:pt x="842" y="428"/>
                    </a:lnTo>
                    <a:lnTo>
                      <a:pt x="848" y="433"/>
                    </a:lnTo>
                    <a:lnTo>
                      <a:pt x="856" y="445"/>
                    </a:lnTo>
                    <a:lnTo>
                      <a:pt x="859" y="450"/>
                    </a:lnTo>
                    <a:lnTo>
                      <a:pt x="871" y="459"/>
                    </a:lnTo>
                    <a:lnTo>
                      <a:pt x="874" y="462"/>
                    </a:lnTo>
                    <a:lnTo>
                      <a:pt x="874" y="466"/>
                    </a:lnTo>
                    <a:lnTo>
                      <a:pt x="867" y="460"/>
                    </a:lnTo>
                    <a:lnTo>
                      <a:pt x="863" y="457"/>
                    </a:lnTo>
                    <a:lnTo>
                      <a:pt x="854" y="455"/>
                    </a:lnTo>
                    <a:lnTo>
                      <a:pt x="851" y="455"/>
                    </a:lnTo>
                    <a:lnTo>
                      <a:pt x="849" y="453"/>
                    </a:lnTo>
                    <a:lnTo>
                      <a:pt x="849" y="446"/>
                    </a:lnTo>
                    <a:lnTo>
                      <a:pt x="847" y="447"/>
                    </a:lnTo>
                    <a:lnTo>
                      <a:pt x="846" y="450"/>
                    </a:lnTo>
                    <a:lnTo>
                      <a:pt x="844" y="454"/>
                    </a:lnTo>
                    <a:lnTo>
                      <a:pt x="844" y="458"/>
                    </a:lnTo>
                    <a:lnTo>
                      <a:pt x="845" y="460"/>
                    </a:lnTo>
                    <a:lnTo>
                      <a:pt x="846" y="462"/>
                    </a:lnTo>
                    <a:lnTo>
                      <a:pt x="848" y="463"/>
                    </a:lnTo>
                    <a:lnTo>
                      <a:pt x="849" y="464"/>
                    </a:lnTo>
                    <a:lnTo>
                      <a:pt x="848" y="476"/>
                    </a:lnTo>
                    <a:lnTo>
                      <a:pt x="848" y="479"/>
                    </a:lnTo>
                    <a:lnTo>
                      <a:pt x="853" y="493"/>
                    </a:lnTo>
                    <a:lnTo>
                      <a:pt x="855" y="496"/>
                    </a:lnTo>
                    <a:lnTo>
                      <a:pt x="857" y="500"/>
                    </a:lnTo>
                    <a:lnTo>
                      <a:pt x="860" y="501"/>
                    </a:lnTo>
                    <a:lnTo>
                      <a:pt x="874" y="506"/>
                    </a:lnTo>
                    <a:lnTo>
                      <a:pt x="879" y="510"/>
                    </a:lnTo>
                    <a:lnTo>
                      <a:pt x="882" y="517"/>
                    </a:lnTo>
                    <a:lnTo>
                      <a:pt x="884" y="525"/>
                    </a:lnTo>
                    <a:lnTo>
                      <a:pt x="883" y="546"/>
                    </a:lnTo>
                    <a:lnTo>
                      <a:pt x="883" y="550"/>
                    </a:lnTo>
                    <a:lnTo>
                      <a:pt x="881" y="554"/>
                    </a:lnTo>
                    <a:lnTo>
                      <a:pt x="878" y="556"/>
                    </a:lnTo>
                    <a:lnTo>
                      <a:pt x="878" y="554"/>
                    </a:lnTo>
                    <a:lnTo>
                      <a:pt x="877" y="553"/>
                    </a:lnTo>
                    <a:lnTo>
                      <a:pt x="874" y="553"/>
                    </a:lnTo>
                    <a:lnTo>
                      <a:pt x="873" y="554"/>
                    </a:lnTo>
                    <a:lnTo>
                      <a:pt x="874" y="560"/>
                    </a:lnTo>
                    <a:lnTo>
                      <a:pt x="874" y="567"/>
                    </a:lnTo>
                    <a:lnTo>
                      <a:pt x="872" y="574"/>
                    </a:lnTo>
                    <a:lnTo>
                      <a:pt x="871" y="579"/>
                    </a:lnTo>
                    <a:lnTo>
                      <a:pt x="869" y="577"/>
                    </a:lnTo>
                    <a:lnTo>
                      <a:pt x="868" y="575"/>
                    </a:lnTo>
                    <a:lnTo>
                      <a:pt x="868" y="572"/>
                    </a:lnTo>
                    <a:lnTo>
                      <a:pt x="867" y="569"/>
                    </a:lnTo>
                    <a:lnTo>
                      <a:pt x="866" y="567"/>
                    </a:lnTo>
                    <a:lnTo>
                      <a:pt x="864" y="565"/>
                    </a:lnTo>
                    <a:lnTo>
                      <a:pt x="864" y="564"/>
                    </a:lnTo>
                    <a:lnTo>
                      <a:pt x="861" y="561"/>
                    </a:lnTo>
                    <a:lnTo>
                      <a:pt x="860" y="561"/>
                    </a:lnTo>
                    <a:lnTo>
                      <a:pt x="859" y="556"/>
                    </a:lnTo>
                    <a:lnTo>
                      <a:pt x="858" y="554"/>
                    </a:lnTo>
                    <a:lnTo>
                      <a:pt x="856" y="552"/>
                    </a:lnTo>
                    <a:lnTo>
                      <a:pt x="855" y="549"/>
                    </a:lnTo>
                    <a:lnTo>
                      <a:pt x="853" y="548"/>
                    </a:lnTo>
                    <a:lnTo>
                      <a:pt x="851" y="549"/>
                    </a:lnTo>
                    <a:lnTo>
                      <a:pt x="847" y="558"/>
                    </a:lnTo>
                    <a:lnTo>
                      <a:pt x="845" y="559"/>
                    </a:lnTo>
                    <a:lnTo>
                      <a:pt x="843" y="560"/>
                    </a:lnTo>
                    <a:lnTo>
                      <a:pt x="844" y="562"/>
                    </a:lnTo>
                    <a:lnTo>
                      <a:pt x="846" y="565"/>
                    </a:lnTo>
                    <a:lnTo>
                      <a:pt x="847" y="566"/>
                    </a:lnTo>
                    <a:lnTo>
                      <a:pt x="848" y="567"/>
                    </a:lnTo>
                    <a:lnTo>
                      <a:pt x="849" y="570"/>
                    </a:lnTo>
                    <a:lnTo>
                      <a:pt x="849" y="572"/>
                    </a:lnTo>
                    <a:lnTo>
                      <a:pt x="846" y="573"/>
                    </a:lnTo>
                    <a:lnTo>
                      <a:pt x="846" y="575"/>
                    </a:lnTo>
                    <a:lnTo>
                      <a:pt x="846" y="577"/>
                    </a:lnTo>
                    <a:lnTo>
                      <a:pt x="847" y="580"/>
                    </a:lnTo>
                    <a:lnTo>
                      <a:pt x="847" y="583"/>
                    </a:lnTo>
                    <a:lnTo>
                      <a:pt x="846" y="585"/>
                    </a:lnTo>
                    <a:lnTo>
                      <a:pt x="849" y="586"/>
                    </a:lnTo>
                    <a:lnTo>
                      <a:pt x="851" y="585"/>
                    </a:lnTo>
                    <a:lnTo>
                      <a:pt x="852" y="583"/>
                    </a:lnTo>
                    <a:lnTo>
                      <a:pt x="851" y="579"/>
                    </a:lnTo>
                    <a:lnTo>
                      <a:pt x="853" y="580"/>
                    </a:lnTo>
                    <a:lnTo>
                      <a:pt x="854" y="581"/>
                    </a:lnTo>
                    <a:lnTo>
                      <a:pt x="856" y="583"/>
                    </a:lnTo>
                    <a:lnTo>
                      <a:pt x="856" y="584"/>
                    </a:lnTo>
                    <a:lnTo>
                      <a:pt x="858" y="584"/>
                    </a:lnTo>
                    <a:lnTo>
                      <a:pt x="858" y="586"/>
                    </a:lnTo>
                    <a:lnTo>
                      <a:pt x="860" y="587"/>
                    </a:lnTo>
                    <a:lnTo>
                      <a:pt x="864" y="588"/>
                    </a:lnTo>
                    <a:lnTo>
                      <a:pt x="866" y="591"/>
                    </a:lnTo>
                    <a:lnTo>
                      <a:pt x="867" y="593"/>
                    </a:lnTo>
                    <a:lnTo>
                      <a:pt x="869" y="597"/>
                    </a:lnTo>
                    <a:lnTo>
                      <a:pt x="869" y="599"/>
                    </a:lnTo>
                    <a:lnTo>
                      <a:pt x="865" y="602"/>
                    </a:lnTo>
                    <a:lnTo>
                      <a:pt x="867" y="611"/>
                    </a:lnTo>
                    <a:lnTo>
                      <a:pt x="871" y="620"/>
                    </a:lnTo>
                    <a:lnTo>
                      <a:pt x="874" y="627"/>
                    </a:lnTo>
                    <a:lnTo>
                      <a:pt x="885" y="638"/>
                    </a:lnTo>
                    <a:lnTo>
                      <a:pt x="888" y="645"/>
                    </a:lnTo>
                    <a:lnTo>
                      <a:pt x="890" y="654"/>
                    </a:lnTo>
                    <a:lnTo>
                      <a:pt x="889" y="654"/>
                    </a:lnTo>
                    <a:lnTo>
                      <a:pt x="886" y="645"/>
                    </a:lnTo>
                    <a:lnTo>
                      <a:pt x="885" y="645"/>
                    </a:lnTo>
                    <a:lnTo>
                      <a:pt x="883" y="644"/>
                    </a:lnTo>
                    <a:lnTo>
                      <a:pt x="881" y="643"/>
                    </a:lnTo>
                    <a:lnTo>
                      <a:pt x="879" y="641"/>
                    </a:lnTo>
                    <a:lnTo>
                      <a:pt x="877" y="638"/>
                    </a:lnTo>
                    <a:lnTo>
                      <a:pt x="874" y="636"/>
                    </a:lnTo>
                    <a:lnTo>
                      <a:pt x="871" y="636"/>
                    </a:lnTo>
                    <a:lnTo>
                      <a:pt x="871" y="639"/>
                    </a:lnTo>
                    <a:lnTo>
                      <a:pt x="872" y="642"/>
                    </a:lnTo>
                    <a:lnTo>
                      <a:pt x="877" y="645"/>
                    </a:lnTo>
                    <a:lnTo>
                      <a:pt x="878" y="647"/>
                    </a:lnTo>
                    <a:lnTo>
                      <a:pt x="879" y="645"/>
                    </a:lnTo>
                    <a:lnTo>
                      <a:pt x="880" y="645"/>
                    </a:lnTo>
                    <a:lnTo>
                      <a:pt x="886" y="658"/>
                    </a:lnTo>
                    <a:lnTo>
                      <a:pt x="906" y="683"/>
                    </a:lnTo>
                    <a:lnTo>
                      <a:pt x="909" y="686"/>
                    </a:lnTo>
                    <a:lnTo>
                      <a:pt x="909" y="683"/>
                    </a:lnTo>
                    <a:lnTo>
                      <a:pt x="909" y="681"/>
                    </a:lnTo>
                    <a:lnTo>
                      <a:pt x="908" y="678"/>
                    </a:lnTo>
                    <a:lnTo>
                      <a:pt x="909" y="677"/>
                    </a:lnTo>
                    <a:lnTo>
                      <a:pt x="911" y="676"/>
                    </a:lnTo>
                    <a:lnTo>
                      <a:pt x="912" y="677"/>
                    </a:lnTo>
                    <a:lnTo>
                      <a:pt x="913" y="681"/>
                    </a:lnTo>
                    <a:lnTo>
                      <a:pt x="915" y="683"/>
                    </a:lnTo>
                    <a:lnTo>
                      <a:pt x="916" y="685"/>
                    </a:lnTo>
                    <a:lnTo>
                      <a:pt x="919" y="687"/>
                    </a:lnTo>
                    <a:lnTo>
                      <a:pt x="924" y="689"/>
                    </a:lnTo>
                    <a:lnTo>
                      <a:pt x="926" y="691"/>
                    </a:lnTo>
                    <a:lnTo>
                      <a:pt x="930" y="699"/>
                    </a:lnTo>
                    <a:lnTo>
                      <a:pt x="928" y="700"/>
                    </a:lnTo>
                    <a:lnTo>
                      <a:pt x="931" y="703"/>
                    </a:lnTo>
                    <a:lnTo>
                      <a:pt x="932" y="708"/>
                    </a:lnTo>
                    <a:lnTo>
                      <a:pt x="934" y="714"/>
                    </a:lnTo>
                    <a:lnTo>
                      <a:pt x="935" y="717"/>
                    </a:lnTo>
                    <a:lnTo>
                      <a:pt x="935" y="720"/>
                    </a:lnTo>
                    <a:lnTo>
                      <a:pt x="934" y="724"/>
                    </a:lnTo>
                    <a:lnTo>
                      <a:pt x="934" y="726"/>
                    </a:lnTo>
                    <a:lnTo>
                      <a:pt x="934" y="729"/>
                    </a:lnTo>
                    <a:lnTo>
                      <a:pt x="936" y="731"/>
                    </a:lnTo>
                    <a:lnTo>
                      <a:pt x="937" y="735"/>
                    </a:lnTo>
                    <a:lnTo>
                      <a:pt x="939" y="739"/>
                    </a:lnTo>
                    <a:lnTo>
                      <a:pt x="939" y="742"/>
                    </a:lnTo>
                    <a:lnTo>
                      <a:pt x="939" y="750"/>
                    </a:lnTo>
                    <a:lnTo>
                      <a:pt x="939" y="758"/>
                    </a:lnTo>
                    <a:lnTo>
                      <a:pt x="941" y="761"/>
                    </a:lnTo>
                    <a:lnTo>
                      <a:pt x="943" y="764"/>
                    </a:lnTo>
                    <a:lnTo>
                      <a:pt x="945" y="760"/>
                    </a:lnTo>
                    <a:lnTo>
                      <a:pt x="948" y="764"/>
                    </a:lnTo>
                    <a:lnTo>
                      <a:pt x="954" y="770"/>
                    </a:lnTo>
                    <a:lnTo>
                      <a:pt x="955" y="773"/>
                    </a:lnTo>
                    <a:lnTo>
                      <a:pt x="958" y="775"/>
                    </a:lnTo>
                    <a:lnTo>
                      <a:pt x="961" y="788"/>
                    </a:lnTo>
                    <a:lnTo>
                      <a:pt x="966" y="790"/>
                    </a:lnTo>
                    <a:lnTo>
                      <a:pt x="969" y="794"/>
                    </a:lnTo>
                    <a:lnTo>
                      <a:pt x="970" y="801"/>
                    </a:lnTo>
                    <a:lnTo>
                      <a:pt x="970" y="813"/>
                    </a:lnTo>
                    <a:lnTo>
                      <a:pt x="971" y="814"/>
                    </a:lnTo>
                    <a:lnTo>
                      <a:pt x="973" y="818"/>
                    </a:lnTo>
                    <a:lnTo>
                      <a:pt x="975" y="820"/>
                    </a:lnTo>
                    <a:lnTo>
                      <a:pt x="977" y="822"/>
                    </a:lnTo>
                    <a:lnTo>
                      <a:pt x="979" y="822"/>
                    </a:lnTo>
                    <a:lnTo>
                      <a:pt x="983" y="819"/>
                    </a:lnTo>
                    <a:lnTo>
                      <a:pt x="994" y="839"/>
                    </a:lnTo>
                    <a:lnTo>
                      <a:pt x="1003" y="848"/>
                    </a:lnTo>
                    <a:lnTo>
                      <a:pt x="1011" y="851"/>
                    </a:lnTo>
                    <a:lnTo>
                      <a:pt x="1021" y="853"/>
                    </a:lnTo>
                    <a:lnTo>
                      <a:pt x="1030" y="853"/>
                    </a:lnTo>
                    <a:lnTo>
                      <a:pt x="1039" y="850"/>
                    </a:lnTo>
                    <a:lnTo>
                      <a:pt x="1051" y="841"/>
                    </a:lnTo>
                    <a:lnTo>
                      <a:pt x="1051" y="843"/>
                    </a:lnTo>
                    <a:lnTo>
                      <a:pt x="1059" y="841"/>
                    </a:lnTo>
                    <a:lnTo>
                      <a:pt x="1061" y="843"/>
                    </a:lnTo>
                    <a:lnTo>
                      <a:pt x="1063" y="844"/>
                    </a:lnTo>
                    <a:lnTo>
                      <a:pt x="1064" y="845"/>
                    </a:lnTo>
                    <a:lnTo>
                      <a:pt x="1066" y="843"/>
                    </a:lnTo>
                    <a:lnTo>
                      <a:pt x="1067" y="845"/>
                    </a:lnTo>
                    <a:lnTo>
                      <a:pt x="1066" y="847"/>
                    </a:lnTo>
                    <a:lnTo>
                      <a:pt x="1065" y="848"/>
                    </a:lnTo>
                    <a:lnTo>
                      <a:pt x="1063" y="850"/>
                    </a:lnTo>
                    <a:lnTo>
                      <a:pt x="1063" y="851"/>
                    </a:lnTo>
                    <a:lnTo>
                      <a:pt x="1065" y="854"/>
                    </a:lnTo>
                    <a:lnTo>
                      <a:pt x="1064" y="860"/>
                    </a:lnTo>
                    <a:lnTo>
                      <a:pt x="1065" y="861"/>
                    </a:lnTo>
                    <a:lnTo>
                      <a:pt x="1068" y="860"/>
                    </a:lnTo>
                    <a:lnTo>
                      <a:pt x="1070" y="858"/>
                    </a:lnTo>
                    <a:lnTo>
                      <a:pt x="1075" y="850"/>
                    </a:lnTo>
                    <a:lnTo>
                      <a:pt x="1077" y="848"/>
                    </a:lnTo>
                    <a:lnTo>
                      <a:pt x="1080" y="846"/>
                    </a:lnTo>
                    <a:lnTo>
                      <a:pt x="1081" y="844"/>
                    </a:lnTo>
                    <a:lnTo>
                      <a:pt x="1081" y="840"/>
                    </a:lnTo>
                    <a:lnTo>
                      <a:pt x="1083" y="841"/>
                    </a:lnTo>
                    <a:lnTo>
                      <a:pt x="1086" y="842"/>
                    </a:lnTo>
                    <a:lnTo>
                      <a:pt x="1089" y="842"/>
                    </a:lnTo>
                    <a:lnTo>
                      <a:pt x="1089" y="844"/>
                    </a:lnTo>
                    <a:lnTo>
                      <a:pt x="1091" y="847"/>
                    </a:lnTo>
                    <a:lnTo>
                      <a:pt x="1093" y="847"/>
                    </a:lnTo>
                    <a:lnTo>
                      <a:pt x="1096" y="847"/>
                    </a:lnTo>
                    <a:lnTo>
                      <a:pt x="1098" y="849"/>
                    </a:lnTo>
                    <a:lnTo>
                      <a:pt x="1098" y="850"/>
                    </a:lnTo>
                    <a:lnTo>
                      <a:pt x="1095" y="851"/>
                    </a:lnTo>
                    <a:lnTo>
                      <a:pt x="1091" y="852"/>
                    </a:lnTo>
                    <a:lnTo>
                      <a:pt x="1089" y="854"/>
                    </a:lnTo>
                    <a:lnTo>
                      <a:pt x="1088" y="857"/>
                    </a:lnTo>
                    <a:lnTo>
                      <a:pt x="1087" y="857"/>
                    </a:lnTo>
                    <a:lnTo>
                      <a:pt x="1083" y="861"/>
                    </a:lnTo>
                    <a:lnTo>
                      <a:pt x="1082" y="863"/>
                    </a:lnTo>
                    <a:lnTo>
                      <a:pt x="1082" y="866"/>
                    </a:lnTo>
                    <a:lnTo>
                      <a:pt x="1081" y="866"/>
                    </a:lnTo>
                    <a:lnTo>
                      <a:pt x="1071" y="874"/>
                    </a:lnTo>
                    <a:lnTo>
                      <a:pt x="1068" y="877"/>
                    </a:lnTo>
                    <a:lnTo>
                      <a:pt x="1067" y="880"/>
                    </a:lnTo>
                    <a:lnTo>
                      <a:pt x="1066" y="881"/>
                    </a:lnTo>
                    <a:lnTo>
                      <a:pt x="1066" y="883"/>
                    </a:lnTo>
                    <a:lnTo>
                      <a:pt x="1065" y="888"/>
                    </a:lnTo>
                    <a:lnTo>
                      <a:pt x="1065" y="889"/>
                    </a:lnTo>
                    <a:lnTo>
                      <a:pt x="1065" y="892"/>
                    </a:lnTo>
                    <a:lnTo>
                      <a:pt x="1064" y="893"/>
                    </a:lnTo>
                    <a:lnTo>
                      <a:pt x="1062" y="893"/>
                    </a:lnTo>
                    <a:lnTo>
                      <a:pt x="1061" y="894"/>
                    </a:lnTo>
                    <a:lnTo>
                      <a:pt x="1061" y="897"/>
                    </a:lnTo>
                    <a:lnTo>
                      <a:pt x="1061" y="899"/>
                    </a:lnTo>
                    <a:lnTo>
                      <a:pt x="1062" y="900"/>
                    </a:lnTo>
                    <a:lnTo>
                      <a:pt x="1072" y="901"/>
                    </a:lnTo>
                    <a:lnTo>
                      <a:pt x="1076" y="900"/>
                    </a:lnTo>
                    <a:lnTo>
                      <a:pt x="1078" y="899"/>
                    </a:lnTo>
                    <a:lnTo>
                      <a:pt x="1080" y="897"/>
                    </a:lnTo>
                    <a:lnTo>
                      <a:pt x="1081" y="897"/>
                    </a:lnTo>
                    <a:lnTo>
                      <a:pt x="1083" y="897"/>
                    </a:lnTo>
                    <a:lnTo>
                      <a:pt x="1095" y="899"/>
                    </a:lnTo>
                    <a:lnTo>
                      <a:pt x="1097" y="901"/>
                    </a:lnTo>
                    <a:lnTo>
                      <a:pt x="1103" y="907"/>
                    </a:lnTo>
                    <a:lnTo>
                      <a:pt x="1110" y="909"/>
                    </a:lnTo>
                    <a:lnTo>
                      <a:pt x="1111" y="916"/>
                    </a:lnTo>
                    <a:lnTo>
                      <a:pt x="1111" y="920"/>
                    </a:lnTo>
                    <a:lnTo>
                      <a:pt x="1111" y="933"/>
                    </a:lnTo>
                    <a:lnTo>
                      <a:pt x="1112" y="937"/>
                    </a:lnTo>
                    <a:lnTo>
                      <a:pt x="1114" y="942"/>
                    </a:lnTo>
                    <a:lnTo>
                      <a:pt x="1150" y="988"/>
                    </a:lnTo>
                    <a:lnTo>
                      <a:pt x="1176" y="1022"/>
                    </a:lnTo>
                    <a:lnTo>
                      <a:pt x="1185" y="1034"/>
                    </a:lnTo>
                    <a:lnTo>
                      <a:pt x="1219" y="1079"/>
                    </a:lnTo>
                    <a:lnTo>
                      <a:pt x="1237" y="1102"/>
                    </a:lnTo>
                    <a:lnTo>
                      <a:pt x="1263" y="1136"/>
                    </a:lnTo>
                    <a:lnTo>
                      <a:pt x="1272" y="1148"/>
                    </a:lnTo>
                    <a:lnTo>
                      <a:pt x="1275" y="1150"/>
                    </a:lnTo>
                    <a:lnTo>
                      <a:pt x="1279" y="1152"/>
                    </a:lnTo>
                    <a:lnTo>
                      <a:pt x="1353" y="1161"/>
                    </a:lnTo>
                    <a:lnTo>
                      <a:pt x="1469" y="1177"/>
                    </a:lnTo>
                    <a:lnTo>
                      <a:pt x="1539" y="1186"/>
                    </a:lnTo>
                    <a:lnTo>
                      <a:pt x="1586" y="1193"/>
                    </a:lnTo>
                    <a:lnTo>
                      <a:pt x="1609" y="1195"/>
                    </a:lnTo>
                    <a:lnTo>
                      <a:pt x="1655" y="1201"/>
                    </a:lnTo>
                    <a:lnTo>
                      <a:pt x="1701" y="1208"/>
                    </a:lnTo>
                    <a:lnTo>
                      <a:pt x="1704" y="1208"/>
                    </a:lnTo>
                    <a:lnTo>
                      <a:pt x="1714" y="1193"/>
                    </a:lnTo>
                    <a:lnTo>
                      <a:pt x="1739" y="1233"/>
                    </a:lnTo>
                    <a:lnTo>
                      <a:pt x="1766" y="1278"/>
                    </a:lnTo>
                    <a:lnTo>
                      <a:pt x="1789" y="1316"/>
                    </a:lnTo>
                    <a:lnTo>
                      <a:pt x="1790" y="1320"/>
                    </a:lnTo>
                    <a:lnTo>
                      <a:pt x="1790" y="1324"/>
                    </a:lnTo>
                    <a:lnTo>
                      <a:pt x="1783" y="1347"/>
                    </a:lnTo>
                    <a:lnTo>
                      <a:pt x="1774" y="1376"/>
                    </a:lnTo>
                    <a:lnTo>
                      <a:pt x="1760" y="1421"/>
                    </a:lnTo>
                    <a:lnTo>
                      <a:pt x="1744" y="1476"/>
                    </a:lnTo>
                    <a:lnTo>
                      <a:pt x="1734" y="1506"/>
                    </a:lnTo>
                    <a:lnTo>
                      <a:pt x="1708" y="1590"/>
                    </a:lnTo>
                    <a:lnTo>
                      <a:pt x="1694" y="1635"/>
                    </a:lnTo>
                    <a:lnTo>
                      <a:pt x="1690" y="1650"/>
                    </a:lnTo>
                    <a:lnTo>
                      <a:pt x="1680" y="1681"/>
                    </a:lnTo>
                    <a:lnTo>
                      <a:pt x="1626" y="1700"/>
                    </a:lnTo>
                    <a:lnTo>
                      <a:pt x="1541" y="1730"/>
                    </a:lnTo>
                    <a:lnTo>
                      <a:pt x="1483" y="1750"/>
                    </a:lnTo>
                    <a:lnTo>
                      <a:pt x="1455" y="1761"/>
                    </a:lnTo>
                    <a:lnTo>
                      <a:pt x="1398" y="1781"/>
                    </a:lnTo>
                    <a:lnTo>
                      <a:pt x="1368" y="1791"/>
                    </a:lnTo>
                    <a:lnTo>
                      <a:pt x="1311" y="1811"/>
                    </a:lnTo>
                    <a:lnTo>
                      <a:pt x="1283" y="1822"/>
                    </a:lnTo>
                    <a:lnTo>
                      <a:pt x="1225" y="1841"/>
                    </a:lnTo>
                    <a:lnTo>
                      <a:pt x="1197" y="1852"/>
                    </a:lnTo>
                    <a:lnTo>
                      <a:pt x="1178" y="1858"/>
                    </a:lnTo>
                    <a:lnTo>
                      <a:pt x="1098" y="1870"/>
                    </a:lnTo>
                    <a:lnTo>
                      <a:pt x="991" y="1886"/>
                    </a:lnTo>
                    <a:lnTo>
                      <a:pt x="964" y="1889"/>
                    </a:lnTo>
                    <a:lnTo>
                      <a:pt x="938" y="1893"/>
                    </a:lnTo>
                    <a:lnTo>
                      <a:pt x="884" y="1901"/>
                    </a:lnTo>
                    <a:lnTo>
                      <a:pt x="857" y="1904"/>
                    </a:lnTo>
                    <a:lnTo>
                      <a:pt x="723" y="1924"/>
                    </a:lnTo>
                    <a:lnTo>
                      <a:pt x="701" y="1926"/>
                    </a:lnTo>
                    <a:lnTo>
                      <a:pt x="686" y="1932"/>
                    </a:lnTo>
                    <a:lnTo>
                      <a:pt x="654" y="1948"/>
                    </a:lnTo>
                    <a:lnTo>
                      <a:pt x="593" y="1979"/>
                    </a:lnTo>
                    <a:lnTo>
                      <a:pt x="544" y="2006"/>
                    </a:lnTo>
                    <a:lnTo>
                      <a:pt x="540" y="2008"/>
                    </a:lnTo>
                    <a:lnTo>
                      <a:pt x="526" y="2024"/>
                    </a:lnTo>
                    <a:lnTo>
                      <a:pt x="511" y="2044"/>
                    </a:lnTo>
                    <a:lnTo>
                      <a:pt x="486" y="2077"/>
                    </a:lnTo>
                    <a:lnTo>
                      <a:pt x="444" y="2129"/>
                    </a:lnTo>
                    <a:lnTo>
                      <a:pt x="442" y="2135"/>
                    </a:lnTo>
                    <a:lnTo>
                      <a:pt x="422" y="2188"/>
                    </a:lnTo>
                    <a:lnTo>
                      <a:pt x="417" y="2194"/>
                    </a:lnTo>
                    <a:lnTo>
                      <a:pt x="417" y="2194"/>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314" name="Freeform 9">
                <a:extLst>
                  <a:ext uri="{FF2B5EF4-FFF2-40B4-BE49-F238E27FC236}"/>
                </a:extLst>
              </p:cNvPr>
              <p:cNvSpPr>
                <a:spLocks/>
              </p:cNvSpPr>
              <p:nvPr/>
            </p:nvSpPr>
            <p:spPr bwMode="auto">
              <a:xfrm>
                <a:off x="2284413" y="3302000"/>
                <a:ext cx="1411288" cy="1439863"/>
              </a:xfrm>
              <a:custGeom>
                <a:avLst/>
                <a:gdLst>
                  <a:gd name="T0" fmla="*/ 504 w 889"/>
                  <a:gd name="T1" fmla="*/ 179 h 907"/>
                  <a:gd name="T2" fmla="*/ 526 w 889"/>
                  <a:gd name="T3" fmla="*/ 196 h 907"/>
                  <a:gd name="T4" fmla="*/ 531 w 889"/>
                  <a:gd name="T5" fmla="*/ 320 h 907"/>
                  <a:gd name="T6" fmla="*/ 546 w 889"/>
                  <a:gd name="T7" fmla="*/ 389 h 907"/>
                  <a:gd name="T8" fmla="*/ 638 w 889"/>
                  <a:gd name="T9" fmla="*/ 371 h 907"/>
                  <a:gd name="T10" fmla="*/ 674 w 889"/>
                  <a:gd name="T11" fmla="*/ 340 h 907"/>
                  <a:gd name="T12" fmla="*/ 808 w 889"/>
                  <a:gd name="T13" fmla="*/ 357 h 907"/>
                  <a:gd name="T14" fmla="*/ 818 w 889"/>
                  <a:gd name="T15" fmla="*/ 433 h 907"/>
                  <a:gd name="T16" fmla="*/ 866 w 889"/>
                  <a:gd name="T17" fmla="*/ 494 h 907"/>
                  <a:gd name="T18" fmla="*/ 884 w 889"/>
                  <a:gd name="T19" fmla="*/ 539 h 907"/>
                  <a:gd name="T20" fmla="*/ 875 w 889"/>
                  <a:gd name="T21" fmla="*/ 578 h 907"/>
                  <a:gd name="T22" fmla="*/ 829 w 889"/>
                  <a:gd name="T23" fmla="*/ 645 h 907"/>
                  <a:gd name="T24" fmla="*/ 830 w 889"/>
                  <a:gd name="T25" fmla="*/ 690 h 907"/>
                  <a:gd name="T26" fmla="*/ 752 w 889"/>
                  <a:gd name="T27" fmla="*/ 745 h 907"/>
                  <a:gd name="T28" fmla="*/ 776 w 889"/>
                  <a:gd name="T29" fmla="*/ 780 h 907"/>
                  <a:gd name="T30" fmla="*/ 654 w 889"/>
                  <a:gd name="T31" fmla="*/ 884 h 907"/>
                  <a:gd name="T32" fmla="*/ 583 w 889"/>
                  <a:gd name="T33" fmla="*/ 903 h 907"/>
                  <a:gd name="T34" fmla="*/ 550 w 889"/>
                  <a:gd name="T35" fmla="*/ 899 h 907"/>
                  <a:gd name="T36" fmla="*/ 547 w 889"/>
                  <a:gd name="T37" fmla="*/ 862 h 907"/>
                  <a:gd name="T38" fmla="*/ 519 w 889"/>
                  <a:gd name="T39" fmla="*/ 839 h 907"/>
                  <a:gd name="T40" fmla="*/ 524 w 889"/>
                  <a:gd name="T41" fmla="*/ 787 h 907"/>
                  <a:gd name="T42" fmla="*/ 446 w 889"/>
                  <a:gd name="T43" fmla="*/ 790 h 907"/>
                  <a:gd name="T44" fmla="*/ 402 w 889"/>
                  <a:gd name="T45" fmla="*/ 781 h 907"/>
                  <a:gd name="T46" fmla="*/ 349 w 889"/>
                  <a:gd name="T47" fmla="*/ 732 h 907"/>
                  <a:gd name="T48" fmla="*/ 305 w 889"/>
                  <a:gd name="T49" fmla="*/ 716 h 907"/>
                  <a:gd name="T50" fmla="*/ 303 w 889"/>
                  <a:gd name="T51" fmla="*/ 717 h 907"/>
                  <a:gd name="T52" fmla="*/ 281 w 889"/>
                  <a:gd name="T53" fmla="*/ 675 h 907"/>
                  <a:gd name="T54" fmla="*/ 267 w 889"/>
                  <a:gd name="T55" fmla="*/ 657 h 907"/>
                  <a:gd name="T56" fmla="*/ 244 w 889"/>
                  <a:gd name="T57" fmla="*/ 640 h 907"/>
                  <a:gd name="T58" fmla="*/ 217 w 889"/>
                  <a:gd name="T59" fmla="*/ 618 h 907"/>
                  <a:gd name="T60" fmla="*/ 197 w 889"/>
                  <a:gd name="T61" fmla="*/ 602 h 907"/>
                  <a:gd name="T62" fmla="*/ 194 w 889"/>
                  <a:gd name="T63" fmla="*/ 592 h 907"/>
                  <a:gd name="T64" fmla="*/ 187 w 889"/>
                  <a:gd name="T65" fmla="*/ 602 h 907"/>
                  <a:gd name="T66" fmla="*/ 156 w 889"/>
                  <a:gd name="T67" fmla="*/ 582 h 907"/>
                  <a:gd name="T68" fmla="*/ 135 w 889"/>
                  <a:gd name="T69" fmla="*/ 586 h 907"/>
                  <a:gd name="T70" fmla="*/ 106 w 889"/>
                  <a:gd name="T71" fmla="*/ 557 h 907"/>
                  <a:gd name="T72" fmla="*/ 103 w 889"/>
                  <a:gd name="T73" fmla="*/ 519 h 907"/>
                  <a:gd name="T74" fmla="*/ 139 w 889"/>
                  <a:gd name="T75" fmla="*/ 505 h 907"/>
                  <a:gd name="T76" fmla="*/ 171 w 889"/>
                  <a:gd name="T77" fmla="*/ 486 h 907"/>
                  <a:gd name="T78" fmla="*/ 204 w 889"/>
                  <a:gd name="T79" fmla="*/ 470 h 907"/>
                  <a:gd name="T80" fmla="*/ 188 w 889"/>
                  <a:gd name="T81" fmla="*/ 356 h 907"/>
                  <a:gd name="T82" fmla="*/ 163 w 889"/>
                  <a:gd name="T83" fmla="*/ 301 h 907"/>
                  <a:gd name="T84" fmla="*/ 98 w 889"/>
                  <a:gd name="T85" fmla="*/ 240 h 907"/>
                  <a:gd name="T86" fmla="*/ 75 w 889"/>
                  <a:gd name="T87" fmla="*/ 226 h 907"/>
                  <a:gd name="T88" fmla="*/ 80 w 889"/>
                  <a:gd name="T89" fmla="*/ 163 h 907"/>
                  <a:gd name="T90" fmla="*/ 45 w 889"/>
                  <a:gd name="T91" fmla="*/ 135 h 907"/>
                  <a:gd name="T92" fmla="*/ 37 w 889"/>
                  <a:gd name="T93" fmla="*/ 77 h 907"/>
                  <a:gd name="T94" fmla="*/ 22 w 889"/>
                  <a:gd name="T95" fmla="*/ 39 h 907"/>
                  <a:gd name="T96" fmla="*/ 4 w 889"/>
                  <a:gd name="T97" fmla="*/ 30 h 907"/>
                  <a:gd name="T98" fmla="*/ 105 w 889"/>
                  <a:gd name="T99" fmla="*/ 15 h 907"/>
                  <a:gd name="T100" fmla="*/ 165 w 889"/>
                  <a:gd name="T101" fmla="*/ 0 h 907"/>
                  <a:gd name="T102" fmla="*/ 197 w 889"/>
                  <a:gd name="T103" fmla="*/ 59 h 907"/>
                  <a:gd name="T104" fmla="*/ 239 w 889"/>
                  <a:gd name="T105" fmla="*/ 72 h 907"/>
                  <a:gd name="T106" fmla="*/ 257 w 889"/>
                  <a:gd name="T107" fmla="*/ 102 h 907"/>
                  <a:gd name="T108" fmla="*/ 288 w 889"/>
                  <a:gd name="T109" fmla="*/ 96 h 907"/>
                  <a:gd name="T110" fmla="*/ 327 w 889"/>
                  <a:gd name="T111" fmla="*/ 100 h 907"/>
                  <a:gd name="T112" fmla="*/ 339 w 889"/>
                  <a:gd name="T113" fmla="*/ 102 h 907"/>
                  <a:gd name="T114" fmla="*/ 491 w 889"/>
                  <a:gd name="T115" fmla="*/ 12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9" h="907">
                    <a:moveTo>
                      <a:pt x="508" y="138"/>
                    </a:moveTo>
                    <a:lnTo>
                      <a:pt x="511" y="146"/>
                    </a:lnTo>
                    <a:lnTo>
                      <a:pt x="511" y="150"/>
                    </a:lnTo>
                    <a:lnTo>
                      <a:pt x="511" y="154"/>
                    </a:lnTo>
                    <a:lnTo>
                      <a:pt x="511" y="159"/>
                    </a:lnTo>
                    <a:lnTo>
                      <a:pt x="510" y="166"/>
                    </a:lnTo>
                    <a:lnTo>
                      <a:pt x="510" y="168"/>
                    </a:lnTo>
                    <a:lnTo>
                      <a:pt x="504" y="179"/>
                    </a:lnTo>
                    <a:lnTo>
                      <a:pt x="501" y="184"/>
                    </a:lnTo>
                    <a:lnTo>
                      <a:pt x="502" y="189"/>
                    </a:lnTo>
                    <a:lnTo>
                      <a:pt x="504" y="193"/>
                    </a:lnTo>
                    <a:lnTo>
                      <a:pt x="506" y="196"/>
                    </a:lnTo>
                    <a:lnTo>
                      <a:pt x="510" y="198"/>
                    </a:lnTo>
                    <a:lnTo>
                      <a:pt x="514" y="198"/>
                    </a:lnTo>
                    <a:lnTo>
                      <a:pt x="522" y="196"/>
                    </a:lnTo>
                    <a:lnTo>
                      <a:pt x="526" y="196"/>
                    </a:lnTo>
                    <a:lnTo>
                      <a:pt x="529" y="199"/>
                    </a:lnTo>
                    <a:lnTo>
                      <a:pt x="531" y="203"/>
                    </a:lnTo>
                    <a:lnTo>
                      <a:pt x="532" y="207"/>
                    </a:lnTo>
                    <a:lnTo>
                      <a:pt x="522" y="270"/>
                    </a:lnTo>
                    <a:lnTo>
                      <a:pt x="522" y="275"/>
                    </a:lnTo>
                    <a:lnTo>
                      <a:pt x="523" y="280"/>
                    </a:lnTo>
                    <a:lnTo>
                      <a:pt x="528" y="300"/>
                    </a:lnTo>
                    <a:lnTo>
                      <a:pt x="531" y="320"/>
                    </a:lnTo>
                    <a:lnTo>
                      <a:pt x="529" y="368"/>
                    </a:lnTo>
                    <a:lnTo>
                      <a:pt x="531" y="373"/>
                    </a:lnTo>
                    <a:lnTo>
                      <a:pt x="533" y="378"/>
                    </a:lnTo>
                    <a:lnTo>
                      <a:pt x="534" y="381"/>
                    </a:lnTo>
                    <a:lnTo>
                      <a:pt x="537" y="384"/>
                    </a:lnTo>
                    <a:lnTo>
                      <a:pt x="540" y="386"/>
                    </a:lnTo>
                    <a:lnTo>
                      <a:pt x="542" y="387"/>
                    </a:lnTo>
                    <a:lnTo>
                      <a:pt x="546" y="389"/>
                    </a:lnTo>
                    <a:lnTo>
                      <a:pt x="549" y="389"/>
                    </a:lnTo>
                    <a:lnTo>
                      <a:pt x="554" y="389"/>
                    </a:lnTo>
                    <a:lnTo>
                      <a:pt x="557" y="389"/>
                    </a:lnTo>
                    <a:lnTo>
                      <a:pt x="599" y="373"/>
                    </a:lnTo>
                    <a:lnTo>
                      <a:pt x="608" y="372"/>
                    </a:lnTo>
                    <a:lnTo>
                      <a:pt x="627" y="373"/>
                    </a:lnTo>
                    <a:lnTo>
                      <a:pt x="634" y="372"/>
                    </a:lnTo>
                    <a:lnTo>
                      <a:pt x="638" y="371"/>
                    </a:lnTo>
                    <a:lnTo>
                      <a:pt x="641" y="370"/>
                    </a:lnTo>
                    <a:lnTo>
                      <a:pt x="644" y="369"/>
                    </a:lnTo>
                    <a:lnTo>
                      <a:pt x="647" y="367"/>
                    </a:lnTo>
                    <a:lnTo>
                      <a:pt x="650" y="366"/>
                    </a:lnTo>
                    <a:lnTo>
                      <a:pt x="653" y="362"/>
                    </a:lnTo>
                    <a:lnTo>
                      <a:pt x="665" y="346"/>
                    </a:lnTo>
                    <a:lnTo>
                      <a:pt x="669" y="343"/>
                    </a:lnTo>
                    <a:lnTo>
                      <a:pt x="674" y="340"/>
                    </a:lnTo>
                    <a:lnTo>
                      <a:pt x="679" y="338"/>
                    </a:lnTo>
                    <a:lnTo>
                      <a:pt x="685" y="337"/>
                    </a:lnTo>
                    <a:lnTo>
                      <a:pt x="713" y="335"/>
                    </a:lnTo>
                    <a:lnTo>
                      <a:pt x="760" y="343"/>
                    </a:lnTo>
                    <a:lnTo>
                      <a:pt x="775" y="347"/>
                    </a:lnTo>
                    <a:lnTo>
                      <a:pt x="778" y="349"/>
                    </a:lnTo>
                    <a:lnTo>
                      <a:pt x="800" y="354"/>
                    </a:lnTo>
                    <a:lnTo>
                      <a:pt x="808" y="357"/>
                    </a:lnTo>
                    <a:lnTo>
                      <a:pt x="811" y="358"/>
                    </a:lnTo>
                    <a:lnTo>
                      <a:pt x="813" y="363"/>
                    </a:lnTo>
                    <a:lnTo>
                      <a:pt x="815" y="367"/>
                    </a:lnTo>
                    <a:lnTo>
                      <a:pt x="815" y="372"/>
                    </a:lnTo>
                    <a:lnTo>
                      <a:pt x="813" y="419"/>
                    </a:lnTo>
                    <a:lnTo>
                      <a:pt x="813" y="424"/>
                    </a:lnTo>
                    <a:lnTo>
                      <a:pt x="814" y="427"/>
                    </a:lnTo>
                    <a:lnTo>
                      <a:pt x="818" y="433"/>
                    </a:lnTo>
                    <a:lnTo>
                      <a:pt x="821" y="436"/>
                    </a:lnTo>
                    <a:lnTo>
                      <a:pt x="826" y="438"/>
                    </a:lnTo>
                    <a:lnTo>
                      <a:pt x="847" y="444"/>
                    </a:lnTo>
                    <a:lnTo>
                      <a:pt x="850" y="445"/>
                    </a:lnTo>
                    <a:lnTo>
                      <a:pt x="852" y="447"/>
                    </a:lnTo>
                    <a:lnTo>
                      <a:pt x="855" y="452"/>
                    </a:lnTo>
                    <a:lnTo>
                      <a:pt x="858" y="459"/>
                    </a:lnTo>
                    <a:lnTo>
                      <a:pt x="866" y="494"/>
                    </a:lnTo>
                    <a:lnTo>
                      <a:pt x="870" y="502"/>
                    </a:lnTo>
                    <a:lnTo>
                      <a:pt x="872" y="505"/>
                    </a:lnTo>
                    <a:lnTo>
                      <a:pt x="874" y="508"/>
                    </a:lnTo>
                    <a:lnTo>
                      <a:pt x="889" y="518"/>
                    </a:lnTo>
                    <a:lnTo>
                      <a:pt x="889" y="525"/>
                    </a:lnTo>
                    <a:lnTo>
                      <a:pt x="888" y="533"/>
                    </a:lnTo>
                    <a:lnTo>
                      <a:pt x="885" y="539"/>
                    </a:lnTo>
                    <a:lnTo>
                      <a:pt x="884" y="539"/>
                    </a:lnTo>
                    <a:lnTo>
                      <a:pt x="877" y="549"/>
                    </a:lnTo>
                    <a:lnTo>
                      <a:pt x="874" y="554"/>
                    </a:lnTo>
                    <a:lnTo>
                      <a:pt x="873" y="556"/>
                    </a:lnTo>
                    <a:lnTo>
                      <a:pt x="873" y="559"/>
                    </a:lnTo>
                    <a:lnTo>
                      <a:pt x="873" y="561"/>
                    </a:lnTo>
                    <a:lnTo>
                      <a:pt x="875" y="567"/>
                    </a:lnTo>
                    <a:lnTo>
                      <a:pt x="876" y="571"/>
                    </a:lnTo>
                    <a:lnTo>
                      <a:pt x="875" y="578"/>
                    </a:lnTo>
                    <a:lnTo>
                      <a:pt x="873" y="592"/>
                    </a:lnTo>
                    <a:lnTo>
                      <a:pt x="870" y="624"/>
                    </a:lnTo>
                    <a:lnTo>
                      <a:pt x="871" y="640"/>
                    </a:lnTo>
                    <a:lnTo>
                      <a:pt x="849" y="637"/>
                    </a:lnTo>
                    <a:lnTo>
                      <a:pt x="838" y="638"/>
                    </a:lnTo>
                    <a:lnTo>
                      <a:pt x="835" y="640"/>
                    </a:lnTo>
                    <a:lnTo>
                      <a:pt x="831" y="641"/>
                    </a:lnTo>
                    <a:lnTo>
                      <a:pt x="829" y="645"/>
                    </a:lnTo>
                    <a:lnTo>
                      <a:pt x="828" y="648"/>
                    </a:lnTo>
                    <a:lnTo>
                      <a:pt x="828" y="653"/>
                    </a:lnTo>
                    <a:lnTo>
                      <a:pt x="833" y="664"/>
                    </a:lnTo>
                    <a:lnTo>
                      <a:pt x="834" y="669"/>
                    </a:lnTo>
                    <a:lnTo>
                      <a:pt x="834" y="672"/>
                    </a:lnTo>
                    <a:lnTo>
                      <a:pt x="834" y="680"/>
                    </a:lnTo>
                    <a:lnTo>
                      <a:pt x="833" y="686"/>
                    </a:lnTo>
                    <a:lnTo>
                      <a:pt x="830" y="690"/>
                    </a:lnTo>
                    <a:lnTo>
                      <a:pt x="826" y="697"/>
                    </a:lnTo>
                    <a:lnTo>
                      <a:pt x="821" y="701"/>
                    </a:lnTo>
                    <a:lnTo>
                      <a:pt x="818" y="704"/>
                    </a:lnTo>
                    <a:lnTo>
                      <a:pt x="788" y="717"/>
                    </a:lnTo>
                    <a:lnTo>
                      <a:pt x="766" y="730"/>
                    </a:lnTo>
                    <a:lnTo>
                      <a:pt x="759" y="735"/>
                    </a:lnTo>
                    <a:lnTo>
                      <a:pt x="753" y="740"/>
                    </a:lnTo>
                    <a:lnTo>
                      <a:pt x="752" y="745"/>
                    </a:lnTo>
                    <a:lnTo>
                      <a:pt x="753" y="749"/>
                    </a:lnTo>
                    <a:lnTo>
                      <a:pt x="756" y="752"/>
                    </a:lnTo>
                    <a:lnTo>
                      <a:pt x="760" y="754"/>
                    </a:lnTo>
                    <a:lnTo>
                      <a:pt x="778" y="765"/>
                    </a:lnTo>
                    <a:lnTo>
                      <a:pt x="781" y="768"/>
                    </a:lnTo>
                    <a:lnTo>
                      <a:pt x="782" y="771"/>
                    </a:lnTo>
                    <a:lnTo>
                      <a:pt x="780" y="777"/>
                    </a:lnTo>
                    <a:lnTo>
                      <a:pt x="776" y="780"/>
                    </a:lnTo>
                    <a:lnTo>
                      <a:pt x="773" y="783"/>
                    </a:lnTo>
                    <a:lnTo>
                      <a:pt x="753" y="790"/>
                    </a:lnTo>
                    <a:lnTo>
                      <a:pt x="749" y="792"/>
                    </a:lnTo>
                    <a:lnTo>
                      <a:pt x="744" y="797"/>
                    </a:lnTo>
                    <a:lnTo>
                      <a:pt x="720" y="820"/>
                    </a:lnTo>
                    <a:lnTo>
                      <a:pt x="672" y="858"/>
                    </a:lnTo>
                    <a:lnTo>
                      <a:pt x="666" y="866"/>
                    </a:lnTo>
                    <a:lnTo>
                      <a:pt x="654" y="884"/>
                    </a:lnTo>
                    <a:lnTo>
                      <a:pt x="649" y="889"/>
                    </a:lnTo>
                    <a:lnTo>
                      <a:pt x="646" y="891"/>
                    </a:lnTo>
                    <a:lnTo>
                      <a:pt x="642" y="891"/>
                    </a:lnTo>
                    <a:lnTo>
                      <a:pt x="616" y="884"/>
                    </a:lnTo>
                    <a:lnTo>
                      <a:pt x="612" y="883"/>
                    </a:lnTo>
                    <a:lnTo>
                      <a:pt x="607" y="884"/>
                    </a:lnTo>
                    <a:lnTo>
                      <a:pt x="600" y="888"/>
                    </a:lnTo>
                    <a:lnTo>
                      <a:pt x="583" y="903"/>
                    </a:lnTo>
                    <a:lnTo>
                      <a:pt x="579" y="905"/>
                    </a:lnTo>
                    <a:lnTo>
                      <a:pt x="574" y="907"/>
                    </a:lnTo>
                    <a:lnTo>
                      <a:pt x="571" y="907"/>
                    </a:lnTo>
                    <a:lnTo>
                      <a:pt x="567" y="907"/>
                    </a:lnTo>
                    <a:lnTo>
                      <a:pt x="556" y="905"/>
                    </a:lnTo>
                    <a:lnTo>
                      <a:pt x="556" y="905"/>
                    </a:lnTo>
                    <a:lnTo>
                      <a:pt x="552" y="903"/>
                    </a:lnTo>
                    <a:lnTo>
                      <a:pt x="550" y="899"/>
                    </a:lnTo>
                    <a:lnTo>
                      <a:pt x="549" y="896"/>
                    </a:lnTo>
                    <a:lnTo>
                      <a:pt x="549" y="892"/>
                    </a:lnTo>
                    <a:lnTo>
                      <a:pt x="551" y="885"/>
                    </a:lnTo>
                    <a:lnTo>
                      <a:pt x="552" y="877"/>
                    </a:lnTo>
                    <a:lnTo>
                      <a:pt x="552" y="873"/>
                    </a:lnTo>
                    <a:lnTo>
                      <a:pt x="551" y="869"/>
                    </a:lnTo>
                    <a:lnTo>
                      <a:pt x="549" y="866"/>
                    </a:lnTo>
                    <a:lnTo>
                      <a:pt x="547" y="862"/>
                    </a:lnTo>
                    <a:lnTo>
                      <a:pt x="544" y="859"/>
                    </a:lnTo>
                    <a:lnTo>
                      <a:pt x="541" y="857"/>
                    </a:lnTo>
                    <a:lnTo>
                      <a:pt x="536" y="854"/>
                    </a:lnTo>
                    <a:lnTo>
                      <a:pt x="525" y="851"/>
                    </a:lnTo>
                    <a:lnTo>
                      <a:pt x="521" y="850"/>
                    </a:lnTo>
                    <a:lnTo>
                      <a:pt x="519" y="846"/>
                    </a:lnTo>
                    <a:lnTo>
                      <a:pt x="519" y="843"/>
                    </a:lnTo>
                    <a:lnTo>
                      <a:pt x="519" y="839"/>
                    </a:lnTo>
                    <a:lnTo>
                      <a:pt x="529" y="817"/>
                    </a:lnTo>
                    <a:lnTo>
                      <a:pt x="529" y="815"/>
                    </a:lnTo>
                    <a:lnTo>
                      <a:pt x="531" y="806"/>
                    </a:lnTo>
                    <a:lnTo>
                      <a:pt x="531" y="800"/>
                    </a:lnTo>
                    <a:lnTo>
                      <a:pt x="530" y="797"/>
                    </a:lnTo>
                    <a:lnTo>
                      <a:pt x="529" y="793"/>
                    </a:lnTo>
                    <a:lnTo>
                      <a:pt x="527" y="790"/>
                    </a:lnTo>
                    <a:lnTo>
                      <a:pt x="524" y="787"/>
                    </a:lnTo>
                    <a:lnTo>
                      <a:pt x="520" y="786"/>
                    </a:lnTo>
                    <a:lnTo>
                      <a:pt x="517" y="786"/>
                    </a:lnTo>
                    <a:lnTo>
                      <a:pt x="501" y="788"/>
                    </a:lnTo>
                    <a:lnTo>
                      <a:pt x="466" y="799"/>
                    </a:lnTo>
                    <a:lnTo>
                      <a:pt x="452" y="801"/>
                    </a:lnTo>
                    <a:lnTo>
                      <a:pt x="449" y="800"/>
                    </a:lnTo>
                    <a:lnTo>
                      <a:pt x="447" y="797"/>
                    </a:lnTo>
                    <a:lnTo>
                      <a:pt x="446" y="790"/>
                    </a:lnTo>
                    <a:lnTo>
                      <a:pt x="445" y="786"/>
                    </a:lnTo>
                    <a:lnTo>
                      <a:pt x="444" y="783"/>
                    </a:lnTo>
                    <a:lnTo>
                      <a:pt x="441" y="781"/>
                    </a:lnTo>
                    <a:lnTo>
                      <a:pt x="436" y="781"/>
                    </a:lnTo>
                    <a:lnTo>
                      <a:pt x="418" y="785"/>
                    </a:lnTo>
                    <a:lnTo>
                      <a:pt x="411" y="785"/>
                    </a:lnTo>
                    <a:lnTo>
                      <a:pt x="406" y="784"/>
                    </a:lnTo>
                    <a:lnTo>
                      <a:pt x="402" y="781"/>
                    </a:lnTo>
                    <a:lnTo>
                      <a:pt x="398" y="777"/>
                    </a:lnTo>
                    <a:lnTo>
                      <a:pt x="384" y="762"/>
                    </a:lnTo>
                    <a:lnTo>
                      <a:pt x="371" y="750"/>
                    </a:lnTo>
                    <a:lnTo>
                      <a:pt x="369" y="747"/>
                    </a:lnTo>
                    <a:lnTo>
                      <a:pt x="362" y="737"/>
                    </a:lnTo>
                    <a:lnTo>
                      <a:pt x="359" y="733"/>
                    </a:lnTo>
                    <a:lnTo>
                      <a:pt x="354" y="731"/>
                    </a:lnTo>
                    <a:lnTo>
                      <a:pt x="349" y="732"/>
                    </a:lnTo>
                    <a:lnTo>
                      <a:pt x="338" y="735"/>
                    </a:lnTo>
                    <a:lnTo>
                      <a:pt x="316" y="737"/>
                    </a:lnTo>
                    <a:lnTo>
                      <a:pt x="312" y="738"/>
                    </a:lnTo>
                    <a:lnTo>
                      <a:pt x="310" y="729"/>
                    </a:lnTo>
                    <a:lnTo>
                      <a:pt x="309" y="724"/>
                    </a:lnTo>
                    <a:lnTo>
                      <a:pt x="309" y="721"/>
                    </a:lnTo>
                    <a:lnTo>
                      <a:pt x="307" y="718"/>
                    </a:lnTo>
                    <a:lnTo>
                      <a:pt x="305" y="716"/>
                    </a:lnTo>
                    <a:lnTo>
                      <a:pt x="305" y="713"/>
                    </a:lnTo>
                    <a:lnTo>
                      <a:pt x="304" y="710"/>
                    </a:lnTo>
                    <a:lnTo>
                      <a:pt x="301" y="712"/>
                    </a:lnTo>
                    <a:lnTo>
                      <a:pt x="299" y="711"/>
                    </a:lnTo>
                    <a:lnTo>
                      <a:pt x="298" y="711"/>
                    </a:lnTo>
                    <a:lnTo>
                      <a:pt x="298" y="714"/>
                    </a:lnTo>
                    <a:lnTo>
                      <a:pt x="300" y="716"/>
                    </a:lnTo>
                    <a:lnTo>
                      <a:pt x="303" y="717"/>
                    </a:lnTo>
                    <a:lnTo>
                      <a:pt x="303" y="719"/>
                    </a:lnTo>
                    <a:lnTo>
                      <a:pt x="298" y="718"/>
                    </a:lnTo>
                    <a:lnTo>
                      <a:pt x="294" y="715"/>
                    </a:lnTo>
                    <a:lnTo>
                      <a:pt x="294" y="706"/>
                    </a:lnTo>
                    <a:lnTo>
                      <a:pt x="286" y="696"/>
                    </a:lnTo>
                    <a:lnTo>
                      <a:pt x="283" y="684"/>
                    </a:lnTo>
                    <a:lnTo>
                      <a:pt x="282" y="679"/>
                    </a:lnTo>
                    <a:lnTo>
                      <a:pt x="281" y="675"/>
                    </a:lnTo>
                    <a:lnTo>
                      <a:pt x="279" y="671"/>
                    </a:lnTo>
                    <a:lnTo>
                      <a:pt x="277" y="668"/>
                    </a:lnTo>
                    <a:lnTo>
                      <a:pt x="275" y="666"/>
                    </a:lnTo>
                    <a:lnTo>
                      <a:pt x="273" y="666"/>
                    </a:lnTo>
                    <a:lnTo>
                      <a:pt x="271" y="665"/>
                    </a:lnTo>
                    <a:lnTo>
                      <a:pt x="270" y="663"/>
                    </a:lnTo>
                    <a:lnTo>
                      <a:pt x="268" y="661"/>
                    </a:lnTo>
                    <a:lnTo>
                      <a:pt x="267" y="657"/>
                    </a:lnTo>
                    <a:lnTo>
                      <a:pt x="265" y="655"/>
                    </a:lnTo>
                    <a:lnTo>
                      <a:pt x="259" y="654"/>
                    </a:lnTo>
                    <a:lnTo>
                      <a:pt x="257" y="652"/>
                    </a:lnTo>
                    <a:lnTo>
                      <a:pt x="256" y="650"/>
                    </a:lnTo>
                    <a:lnTo>
                      <a:pt x="254" y="648"/>
                    </a:lnTo>
                    <a:lnTo>
                      <a:pt x="251" y="644"/>
                    </a:lnTo>
                    <a:lnTo>
                      <a:pt x="247" y="641"/>
                    </a:lnTo>
                    <a:lnTo>
                      <a:pt x="244" y="640"/>
                    </a:lnTo>
                    <a:lnTo>
                      <a:pt x="241" y="640"/>
                    </a:lnTo>
                    <a:lnTo>
                      <a:pt x="237" y="637"/>
                    </a:lnTo>
                    <a:lnTo>
                      <a:pt x="235" y="635"/>
                    </a:lnTo>
                    <a:lnTo>
                      <a:pt x="232" y="632"/>
                    </a:lnTo>
                    <a:lnTo>
                      <a:pt x="228" y="628"/>
                    </a:lnTo>
                    <a:lnTo>
                      <a:pt x="225" y="625"/>
                    </a:lnTo>
                    <a:lnTo>
                      <a:pt x="222" y="623"/>
                    </a:lnTo>
                    <a:lnTo>
                      <a:pt x="217" y="618"/>
                    </a:lnTo>
                    <a:lnTo>
                      <a:pt x="215" y="617"/>
                    </a:lnTo>
                    <a:lnTo>
                      <a:pt x="211" y="618"/>
                    </a:lnTo>
                    <a:lnTo>
                      <a:pt x="208" y="617"/>
                    </a:lnTo>
                    <a:lnTo>
                      <a:pt x="205" y="614"/>
                    </a:lnTo>
                    <a:lnTo>
                      <a:pt x="198" y="610"/>
                    </a:lnTo>
                    <a:lnTo>
                      <a:pt x="193" y="606"/>
                    </a:lnTo>
                    <a:lnTo>
                      <a:pt x="194" y="603"/>
                    </a:lnTo>
                    <a:lnTo>
                      <a:pt x="197" y="602"/>
                    </a:lnTo>
                    <a:lnTo>
                      <a:pt x="201" y="601"/>
                    </a:lnTo>
                    <a:lnTo>
                      <a:pt x="199" y="599"/>
                    </a:lnTo>
                    <a:lnTo>
                      <a:pt x="197" y="600"/>
                    </a:lnTo>
                    <a:lnTo>
                      <a:pt x="194" y="602"/>
                    </a:lnTo>
                    <a:lnTo>
                      <a:pt x="193" y="599"/>
                    </a:lnTo>
                    <a:lnTo>
                      <a:pt x="195" y="596"/>
                    </a:lnTo>
                    <a:lnTo>
                      <a:pt x="195" y="593"/>
                    </a:lnTo>
                    <a:lnTo>
                      <a:pt x="194" y="592"/>
                    </a:lnTo>
                    <a:lnTo>
                      <a:pt x="192" y="594"/>
                    </a:lnTo>
                    <a:lnTo>
                      <a:pt x="190" y="594"/>
                    </a:lnTo>
                    <a:lnTo>
                      <a:pt x="189" y="595"/>
                    </a:lnTo>
                    <a:lnTo>
                      <a:pt x="190" y="597"/>
                    </a:lnTo>
                    <a:lnTo>
                      <a:pt x="191" y="599"/>
                    </a:lnTo>
                    <a:lnTo>
                      <a:pt x="191" y="602"/>
                    </a:lnTo>
                    <a:lnTo>
                      <a:pt x="190" y="603"/>
                    </a:lnTo>
                    <a:lnTo>
                      <a:pt x="187" y="602"/>
                    </a:lnTo>
                    <a:lnTo>
                      <a:pt x="181" y="603"/>
                    </a:lnTo>
                    <a:lnTo>
                      <a:pt x="174" y="598"/>
                    </a:lnTo>
                    <a:lnTo>
                      <a:pt x="172" y="595"/>
                    </a:lnTo>
                    <a:lnTo>
                      <a:pt x="165" y="590"/>
                    </a:lnTo>
                    <a:lnTo>
                      <a:pt x="164" y="587"/>
                    </a:lnTo>
                    <a:lnTo>
                      <a:pt x="161" y="585"/>
                    </a:lnTo>
                    <a:lnTo>
                      <a:pt x="158" y="584"/>
                    </a:lnTo>
                    <a:lnTo>
                      <a:pt x="156" y="582"/>
                    </a:lnTo>
                    <a:lnTo>
                      <a:pt x="153" y="579"/>
                    </a:lnTo>
                    <a:lnTo>
                      <a:pt x="150" y="578"/>
                    </a:lnTo>
                    <a:lnTo>
                      <a:pt x="146" y="578"/>
                    </a:lnTo>
                    <a:lnTo>
                      <a:pt x="144" y="578"/>
                    </a:lnTo>
                    <a:lnTo>
                      <a:pt x="142" y="579"/>
                    </a:lnTo>
                    <a:lnTo>
                      <a:pt x="141" y="582"/>
                    </a:lnTo>
                    <a:lnTo>
                      <a:pt x="142" y="586"/>
                    </a:lnTo>
                    <a:lnTo>
                      <a:pt x="135" y="586"/>
                    </a:lnTo>
                    <a:lnTo>
                      <a:pt x="133" y="583"/>
                    </a:lnTo>
                    <a:lnTo>
                      <a:pt x="128" y="580"/>
                    </a:lnTo>
                    <a:lnTo>
                      <a:pt x="124" y="582"/>
                    </a:lnTo>
                    <a:lnTo>
                      <a:pt x="120" y="578"/>
                    </a:lnTo>
                    <a:lnTo>
                      <a:pt x="118" y="574"/>
                    </a:lnTo>
                    <a:lnTo>
                      <a:pt x="114" y="569"/>
                    </a:lnTo>
                    <a:lnTo>
                      <a:pt x="108" y="564"/>
                    </a:lnTo>
                    <a:lnTo>
                      <a:pt x="106" y="557"/>
                    </a:lnTo>
                    <a:lnTo>
                      <a:pt x="108" y="554"/>
                    </a:lnTo>
                    <a:lnTo>
                      <a:pt x="109" y="554"/>
                    </a:lnTo>
                    <a:lnTo>
                      <a:pt x="112" y="556"/>
                    </a:lnTo>
                    <a:lnTo>
                      <a:pt x="114" y="553"/>
                    </a:lnTo>
                    <a:lnTo>
                      <a:pt x="112" y="549"/>
                    </a:lnTo>
                    <a:lnTo>
                      <a:pt x="100" y="532"/>
                    </a:lnTo>
                    <a:lnTo>
                      <a:pt x="101" y="531"/>
                    </a:lnTo>
                    <a:lnTo>
                      <a:pt x="103" y="519"/>
                    </a:lnTo>
                    <a:lnTo>
                      <a:pt x="104" y="517"/>
                    </a:lnTo>
                    <a:lnTo>
                      <a:pt x="106" y="513"/>
                    </a:lnTo>
                    <a:lnTo>
                      <a:pt x="109" y="511"/>
                    </a:lnTo>
                    <a:lnTo>
                      <a:pt x="112" y="509"/>
                    </a:lnTo>
                    <a:lnTo>
                      <a:pt x="115" y="508"/>
                    </a:lnTo>
                    <a:lnTo>
                      <a:pt x="129" y="508"/>
                    </a:lnTo>
                    <a:lnTo>
                      <a:pt x="135" y="507"/>
                    </a:lnTo>
                    <a:lnTo>
                      <a:pt x="139" y="505"/>
                    </a:lnTo>
                    <a:lnTo>
                      <a:pt x="143" y="504"/>
                    </a:lnTo>
                    <a:lnTo>
                      <a:pt x="148" y="502"/>
                    </a:lnTo>
                    <a:lnTo>
                      <a:pt x="151" y="497"/>
                    </a:lnTo>
                    <a:lnTo>
                      <a:pt x="156" y="492"/>
                    </a:lnTo>
                    <a:lnTo>
                      <a:pt x="159" y="488"/>
                    </a:lnTo>
                    <a:lnTo>
                      <a:pt x="164" y="486"/>
                    </a:lnTo>
                    <a:lnTo>
                      <a:pt x="167" y="485"/>
                    </a:lnTo>
                    <a:lnTo>
                      <a:pt x="171" y="486"/>
                    </a:lnTo>
                    <a:lnTo>
                      <a:pt x="178" y="487"/>
                    </a:lnTo>
                    <a:lnTo>
                      <a:pt x="187" y="487"/>
                    </a:lnTo>
                    <a:lnTo>
                      <a:pt x="190" y="486"/>
                    </a:lnTo>
                    <a:lnTo>
                      <a:pt x="195" y="484"/>
                    </a:lnTo>
                    <a:lnTo>
                      <a:pt x="198" y="481"/>
                    </a:lnTo>
                    <a:lnTo>
                      <a:pt x="202" y="477"/>
                    </a:lnTo>
                    <a:lnTo>
                      <a:pt x="203" y="473"/>
                    </a:lnTo>
                    <a:lnTo>
                      <a:pt x="204" y="470"/>
                    </a:lnTo>
                    <a:lnTo>
                      <a:pt x="202" y="410"/>
                    </a:lnTo>
                    <a:lnTo>
                      <a:pt x="208" y="367"/>
                    </a:lnTo>
                    <a:lnTo>
                      <a:pt x="208" y="364"/>
                    </a:lnTo>
                    <a:lnTo>
                      <a:pt x="206" y="360"/>
                    </a:lnTo>
                    <a:lnTo>
                      <a:pt x="204" y="358"/>
                    </a:lnTo>
                    <a:lnTo>
                      <a:pt x="202" y="357"/>
                    </a:lnTo>
                    <a:lnTo>
                      <a:pt x="198" y="356"/>
                    </a:lnTo>
                    <a:lnTo>
                      <a:pt x="188" y="356"/>
                    </a:lnTo>
                    <a:lnTo>
                      <a:pt x="185" y="355"/>
                    </a:lnTo>
                    <a:lnTo>
                      <a:pt x="183" y="354"/>
                    </a:lnTo>
                    <a:lnTo>
                      <a:pt x="182" y="350"/>
                    </a:lnTo>
                    <a:lnTo>
                      <a:pt x="176" y="328"/>
                    </a:lnTo>
                    <a:lnTo>
                      <a:pt x="171" y="313"/>
                    </a:lnTo>
                    <a:lnTo>
                      <a:pt x="168" y="308"/>
                    </a:lnTo>
                    <a:lnTo>
                      <a:pt x="165" y="305"/>
                    </a:lnTo>
                    <a:lnTo>
                      <a:pt x="163" y="301"/>
                    </a:lnTo>
                    <a:lnTo>
                      <a:pt x="141" y="282"/>
                    </a:lnTo>
                    <a:lnTo>
                      <a:pt x="138" y="279"/>
                    </a:lnTo>
                    <a:lnTo>
                      <a:pt x="136" y="275"/>
                    </a:lnTo>
                    <a:lnTo>
                      <a:pt x="135" y="271"/>
                    </a:lnTo>
                    <a:lnTo>
                      <a:pt x="132" y="261"/>
                    </a:lnTo>
                    <a:lnTo>
                      <a:pt x="130" y="259"/>
                    </a:lnTo>
                    <a:lnTo>
                      <a:pt x="128" y="258"/>
                    </a:lnTo>
                    <a:lnTo>
                      <a:pt x="98" y="240"/>
                    </a:lnTo>
                    <a:lnTo>
                      <a:pt x="95" y="239"/>
                    </a:lnTo>
                    <a:lnTo>
                      <a:pt x="91" y="241"/>
                    </a:lnTo>
                    <a:lnTo>
                      <a:pt x="84" y="245"/>
                    </a:lnTo>
                    <a:lnTo>
                      <a:pt x="82" y="246"/>
                    </a:lnTo>
                    <a:lnTo>
                      <a:pt x="81" y="244"/>
                    </a:lnTo>
                    <a:lnTo>
                      <a:pt x="80" y="241"/>
                    </a:lnTo>
                    <a:lnTo>
                      <a:pt x="78" y="233"/>
                    </a:lnTo>
                    <a:lnTo>
                      <a:pt x="75" y="226"/>
                    </a:lnTo>
                    <a:lnTo>
                      <a:pt x="66" y="206"/>
                    </a:lnTo>
                    <a:lnTo>
                      <a:pt x="65" y="202"/>
                    </a:lnTo>
                    <a:lnTo>
                      <a:pt x="65" y="198"/>
                    </a:lnTo>
                    <a:lnTo>
                      <a:pt x="65" y="194"/>
                    </a:lnTo>
                    <a:lnTo>
                      <a:pt x="66" y="191"/>
                    </a:lnTo>
                    <a:lnTo>
                      <a:pt x="68" y="183"/>
                    </a:lnTo>
                    <a:lnTo>
                      <a:pt x="79" y="166"/>
                    </a:lnTo>
                    <a:lnTo>
                      <a:pt x="80" y="163"/>
                    </a:lnTo>
                    <a:lnTo>
                      <a:pt x="81" y="159"/>
                    </a:lnTo>
                    <a:lnTo>
                      <a:pt x="81" y="154"/>
                    </a:lnTo>
                    <a:lnTo>
                      <a:pt x="79" y="150"/>
                    </a:lnTo>
                    <a:lnTo>
                      <a:pt x="76" y="146"/>
                    </a:lnTo>
                    <a:lnTo>
                      <a:pt x="73" y="145"/>
                    </a:lnTo>
                    <a:lnTo>
                      <a:pt x="53" y="139"/>
                    </a:lnTo>
                    <a:lnTo>
                      <a:pt x="49" y="137"/>
                    </a:lnTo>
                    <a:lnTo>
                      <a:pt x="45" y="135"/>
                    </a:lnTo>
                    <a:lnTo>
                      <a:pt x="42" y="131"/>
                    </a:lnTo>
                    <a:lnTo>
                      <a:pt x="39" y="128"/>
                    </a:lnTo>
                    <a:lnTo>
                      <a:pt x="37" y="123"/>
                    </a:lnTo>
                    <a:lnTo>
                      <a:pt x="35" y="120"/>
                    </a:lnTo>
                    <a:lnTo>
                      <a:pt x="34" y="115"/>
                    </a:lnTo>
                    <a:lnTo>
                      <a:pt x="33" y="111"/>
                    </a:lnTo>
                    <a:lnTo>
                      <a:pt x="33" y="103"/>
                    </a:lnTo>
                    <a:lnTo>
                      <a:pt x="37" y="77"/>
                    </a:lnTo>
                    <a:lnTo>
                      <a:pt x="37" y="67"/>
                    </a:lnTo>
                    <a:lnTo>
                      <a:pt x="37" y="62"/>
                    </a:lnTo>
                    <a:lnTo>
                      <a:pt x="34" y="51"/>
                    </a:lnTo>
                    <a:lnTo>
                      <a:pt x="33" y="47"/>
                    </a:lnTo>
                    <a:lnTo>
                      <a:pt x="31" y="46"/>
                    </a:lnTo>
                    <a:lnTo>
                      <a:pt x="29" y="43"/>
                    </a:lnTo>
                    <a:lnTo>
                      <a:pt x="26" y="40"/>
                    </a:lnTo>
                    <a:lnTo>
                      <a:pt x="22" y="39"/>
                    </a:lnTo>
                    <a:lnTo>
                      <a:pt x="21" y="39"/>
                    </a:lnTo>
                    <a:lnTo>
                      <a:pt x="17" y="39"/>
                    </a:lnTo>
                    <a:lnTo>
                      <a:pt x="7" y="41"/>
                    </a:lnTo>
                    <a:lnTo>
                      <a:pt x="3" y="41"/>
                    </a:lnTo>
                    <a:lnTo>
                      <a:pt x="0" y="39"/>
                    </a:lnTo>
                    <a:lnTo>
                      <a:pt x="0" y="36"/>
                    </a:lnTo>
                    <a:lnTo>
                      <a:pt x="0" y="33"/>
                    </a:lnTo>
                    <a:lnTo>
                      <a:pt x="4" y="30"/>
                    </a:lnTo>
                    <a:lnTo>
                      <a:pt x="7" y="28"/>
                    </a:lnTo>
                    <a:lnTo>
                      <a:pt x="26" y="23"/>
                    </a:lnTo>
                    <a:lnTo>
                      <a:pt x="69" y="3"/>
                    </a:lnTo>
                    <a:lnTo>
                      <a:pt x="73" y="1"/>
                    </a:lnTo>
                    <a:lnTo>
                      <a:pt x="77" y="1"/>
                    </a:lnTo>
                    <a:lnTo>
                      <a:pt x="82" y="3"/>
                    </a:lnTo>
                    <a:lnTo>
                      <a:pt x="90" y="6"/>
                    </a:lnTo>
                    <a:lnTo>
                      <a:pt x="105" y="15"/>
                    </a:lnTo>
                    <a:lnTo>
                      <a:pt x="109" y="17"/>
                    </a:lnTo>
                    <a:lnTo>
                      <a:pt x="116" y="18"/>
                    </a:lnTo>
                    <a:lnTo>
                      <a:pt x="120" y="18"/>
                    </a:lnTo>
                    <a:lnTo>
                      <a:pt x="124" y="17"/>
                    </a:lnTo>
                    <a:lnTo>
                      <a:pt x="128" y="16"/>
                    </a:lnTo>
                    <a:lnTo>
                      <a:pt x="159" y="0"/>
                    </a:lnTo>
                    <a:lnTo>
                      <a:pt x="162" y="0"/>
                    </a:lnTo>
                    <a:lnTo>
                      <a:pt x="165" y="0"/>
                    </a:lnTo>
                    <a:lnTo>
                      <a:pt x="169" y="3"/>
                    </a:lnTo>
                    <a:lnTo>
                      <a:pt x="172" y="7"/>
                    </a:lnTo>
                    <a:lnTo>
                      <a:pt x="173" y="10"/>
                    </a:lnTo>
                    <a:lnTo>
                      <a:pt x="178" y="27"/>
                    </a:lnTo>
                    <a:lnTo>
                      <a:pt x="181" y="35"/>
                    </a:lnTo>
                    <a:lnTo>
                      <a:pt x="185" y="41"/>
                    </a:lnTo>
                    <a:lnTo>
                      <a:pt x="194" y="55"/>
                    </a:lnTo>
                    <a:lnTo>
                      <a:pt x="197" y="59"/>
                    </a:lnTo>
                    <a:lnTo>
                      <a:pt x="203" y="61"/>
                    </a:lnTo>
                    <a:lnTo>
                      <a:pt x="210" y="63"/>
                    </a:lnTo>
                    <a:lnTo>
                      <a:pt x="226" y="63"/>
                    </a:lnTo>
                    <a:lnTo>
                      <a:pt x="231" y="64"/>
                    </a:lnTo>
                    <a:lnTo>
                      <a:pt x="233" y="65"/>
                    </a:lnTo>
                    <a:lnTo>
                      <a:pt x="236" y="68"/>
                    </a:lnTo>
                    <a:lnTo>
                      <a:pt x="238" y="70"/>
                    </a:lnTo>
                    <a:lnTo>
                      <a:pt x="239" y="72"/>
                    </a:lnTo>
                    <a:lnTo>
                      <a:pt x="238" y="76"/>
                    </a:lnTo>
                    <a:lnTo>
                      <a:pt x="239" y="78"/>
                    </a:lnTo>
                    <a:lnTo>
                      <a:pt x="240" y="82"/>
                    </a:lnTo>
                    <a:lnTo>
                      <a:pt x="242" y="84"/>
                    </a:lnTo>
                    <a:lnTo>
                      <a:pt x="253" y="92"/>
                    </a:lnTo>
                    <a:lnTo>
                      <a:pt x="256" y="95"/>
                    </a:lnTo>
                    <a:lnTo>
                      <a:pt x="257" y="99"/>
                    </a:lnTo>
                    <a:lnTo>
                      <a:pt x="257" y="102"/>
                    </a:lnTo>
                    <a:lnTo>
                      <a:pt x="256" y="106"/>
                    </a:lnTo>
                    <a:lnTo>
                      <a:pt x="256" y="109"/>
                    </a:lnTo>
                    <a:lnTo>
                      <a:pt x="258" y="113"/>
                    </a:lnTo>
                    <a:lnTo>
                      <a:pt x="261" y="114"/>
                    </a:lnTo>
                    <a:lnTo>
                      <a:pt x="266" y="112"/>
                    </a:lnTo>
                    <a:lnTo>
                      <a:pt x="271" y="109"/>
                    </a:lnTo>
                    <a:lnTo>
                      <a:pt x="286" y="97"/>
                    </a:lnTo>
                    <a:lnTo>
                      <a:pt x="288" y="96"/>
                    </a:lnTo>
                    <a:lnTo>
                      <a:pt x="292" y="95"/>
                    </a:lnTo>
                    <a:lnTo>
                      <a:pt x="296" y="96"/>
                    </a:lnTo>
                    <a:lnTo>
                      <a:pt x="301" y="97"/>
                    </a:lnTo>
                    <a:lnTo>
                      <a:pt x="314" y="103"/>
                    </a:lnTo>
                    <a:lnTo>
                      <a:pt x="318" y="105"/>
                    </a:lnTo>
                    <a:lnTo>
                      <a:pt x="322" y="105"/>
                    </a:lnTo>
                    <a:lnTo>
                      <a:pt x="326" y="103"/>
                    </a:lnTo>
                    <a:lnTo>
                      <a:pt x="327" y="100"/>
                    </a:lnTo>
                    <a:lnTo>
                      <a:pt x="326" y="97"/>
                    </a:lnTo>
                    <a:lnTo>
                      <a:pt x="325" y="92"/>
                    </a:lnTo>
                    <a:lnTo>
                      <a:pt x="326" y="90"/>
                    </a:lnTo>
                    <a:lnTo>
                      <a:pt x="328" y="87"/>
                    </a:lnTo>
                    <a:lnTo>
                      <a:pt x="331" y="88"/>
                    </a:lnTo>
                    <a:lnTo>
                      <a:pt x="335" y="91"/>
                    </a:lnTo>
                    <a:lnTo>
                      <a:pt x="337" y="95"/>
                    </a:lnTo>
                    <a:lnTo>
                      <a:pt x="339" y="102"/>
                    </a:lnTo>
                    <a:lnTo>
                      <a:pt x="344" y="106"/>
                    </a:lnTo>
                    <a:lnTo>
                      <a:pt x="349" y="109"/>
                    </a:lnTo>
                    <a:lnTo>
                      <a:pt x="370" y="116"/>
                    </a:lnTo>
                    <a:lnTo>
                      <a:pt x="391" y="132"/>
                    </a:lnTo>
                    <a:lnTo>
                      <a:pt x="397" y="134"/>
                    </a:lnTo>
                    <a:lnTo>
                      <a:pt x="406" y="136"/>
                    </a:lnTo>
                    <a:lnTo>
                      <a:pt x="422" y="136"/>
                    </a:lnTo>
                    <a:lnTo>
                      <a:pt x="491" y="124"/>
                    </a:lnTo>
                    <a:lnTo>
                      <a:pt x="496" y="125"/>
                    </a:lnTo>
                    <a:lnTo>
                      <a:pt x="499" y="127"/>
                    </a:lnTo>
                    <a:lnTo>
                      <a:pt x="502" y="130"/>
                    </a:lnTo>
                    <a:lnTo>
                      <a:pt x="508" y="138"/>
                    </a:lnTo>
                    <a:lnTo>
                      <a:pt x="508" y="13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15" name="Freeform 10">
                <a:extLst>
                  <a:ext uri="{FF2B5EF4-FFF2-40B4-BE49-F238E27FC236}"/>
                </a:extLst>
              </p:cNvPr>
              <p:cNvSpPr>
                <a:spLocks/>
              </p:cNvSpPr>
              <p:nvPr/>
            </p:nvSpPr>
            <p:spPr bwMode="auto">
              <a:xfrm>
                <a:off x="3514725" y="3321050"/>
                <a:ext cx="911225" cy="803275"/>
              </a:xfrm>
              <a:custGeom>
                <a:avLst/>
                <a:gdLst>
                  <a:gd name="T0" fmla="*/ 563 w 574"/>
                  <a:gd name="T1" fmla="*/ 35 h 506"/>
                  <a:gd name="T2" fmla="*/ 572 w 574"/>
                  <a:gd name="T3" fmla="*/ 51 h 506"/>
                  <a:gd name="T4" fmla="*/ 573 w 574"/>
                  <a:gd name="T5" fmla="*/ 64 h 506"/>
                  <a:gd name="T6" fmla="*/ 563 w 574"/>
                  <a:gd name="T7" fmla="*/ 74 h 506"/>
                  <a:gd name="T8" fmla="*/ 539 w 574"/>
                  <a:gd name="T9" fmla="*/ 90 h 506"/>
                  <a:gd name="T10" fmla="*/ 515 w 574"/>
                  <a:gd name="T11" fmla="*/ 118 h 506"/>
                  <a:gd name="T12" fmla="*/ 498 w 574"/>
                  <a:gd name="T13" fmla="*/ 127 h 506"/>
                  <a:gd name="T14" fmla="*/ 496 w 574"/>
                  <a:gd name="T15" fmla="*/ 173 h 506"/>
                  <a:gd name="T16" fmla="*/ 501 w 574"/>
                  <a:gd name="T17" fmla="*/ 188 h 506"/>
                  <a:gd name="T18" fmla="*/ 546 w 574"/>
                  <a:gd name="T19" fmla="*/ 249 h 506"/>
                  <a:gd name="T20" fmla="*/ 544 w 574"/>
                  <a:gd name="T21" fmla="*/ 270 h 506"/>
                  <a:gd name="T22" fmla="*/ 554 w 574"/>
                  <a:gd name="T23" fmla="*/ 294 h 506"/>
                  <a:gd name="T24" fmla="*/ 555 w 574"/>
                  <a:gd name="T25" fmla="*/ 321 h 506"/>
                  <a:gd name="T26" fmla="*/ 545 w 574"/>
                  <a:gd name="T27" fmla="*/ 329 h 506"/>
                  <a:gd name="T28" fmla="*/ 446 w 574"/>
                  <a:gd name="T29" fmla="*/ 326 h 506"/>
                  <a:gd name="T30" fmla="*/ 433 w 574"/>
                  <a:gd name="T31" fmla="*/ 331 h 506"/>
                  <a:gd name="T32" fmla="*/ 418 w 574"/>
                  <a:gd name="T33" fmla="*/ 354 h 506"/>
                  <a:gd name="T34" fmla="*/ 390 w 574"/>
                  <a:gd name="T35" fmla="*/ 380 h 506"/>
                  <a:gd name="T36" fmla="*/ 319 w 574"/>
                  <a:gd name="T37" fmla="*/ 401 h 506"/>
                  <a:gd name="T38" fmla="*/ 280 w 574"/>
                  <a:gd name="T39" fmla="*/ 447 h 506"/>
                  <a:gd name="T40" fmla="*/ 286 w 574"/>
                  <a:gd name="T41" fmla="*/ 467 h 506"/>
                  <a:gd name="T42" fmla="*/ 282 w 574"/>
                  <a:gd name="T43" fmla="*/ 487 h 506"/>
                  <a:gd name="T44" fmla="*/ 267 w 574"/>
                  <a:gd name="T45" fmla="*/ 493 h 506"/>
                  <a:gd name="T46" fmla="*/ 214 w 574"/>
                  <a:gd name="T47" fmla="*/ 493 h 506"/>
                  <a:gd name="T48" fmla="*/ 146 w 574"/>
                  <a:gd name="T49" fmla="*/ 476 h 506"/>
                  <a:gd name="T50" fmla="*/ 130 w 574"/>
                  <a:gd name="T51" fmla="*/ 481 h 506"/>
                  <a:gd name="T52" fmla="*/ 99 w 574"/>
                  <a:gd name="T53" fmla="*/ 496 h 506"/>
                  <a:gd name="T54" fmla="*/ 83 w 574"/>
                  <a:gd name="T55" fmla="*/ 447 h 506"/>
                  <a:gd name="T56" fmla="*/ 72 w 574"/>
                  <a:gd name="T57" fmla="*/ 432 h 506"/>
                  <a:gd name="T58" fmla="*/ 39 w 574"/>
                  <a:gd name="T59" fmla="*/ 415 h 506"/>
                  <a:gd name="T60" fmla="*/ 40 w 574"/>
                  <a:gd name="T61" fmla="*/ 355 h 506"/>
                  <a:gd name="T62" fmla="*/ 25 w 574"/>
                  <a:gd name="T63" fmla="*/ 342 h 506"/>
                  <a:gd name="T64" fmla="*/ 13 w 574"/>
                  <a:gd name="T65" fmla="*/ 327 h 506"/>
                  <a:gd name="T66" fmla="*/ 61 w 574"/>
                  <a:gd name="T67" fmla="*/ 307 h 506"/>
                  <a:gd name="T68" fmla="*/ 90 w 574"/>
                  <a:gd name="T69" fmla="*/ 301 h 506"/>
                  <a:gd name="T70" fmla="*/ 81 w 574"/>
                  <a:gd name="T71" fmla="*/ 278 h 506"/>
                  <a:gd name="T72" fmla="*/ 83 w 574"/>
                  <a:gd name="T73" fmla="*/ 261 h 506"/>
                  <a:gd name="T74" fmla="*/ 98 w 574"/>
                  <a:gd name="T75" fmla="*/ 255 h 506"/>
                  <a:gd name="T76" fmla="*/ 121 w 574"/>
                  <a:gd name="T77" fmla="*/ 260 h 506"/>
                  <a:gd name="T78" fmla="*/ 121 w 574"/>
                  <a:gd name="T79" fmla="*/ 233 h 506"/>
                  <a:gd name="T80" fmla="*/ 125 w 574"/>
                  <a:gd name="T81" fmla="*/ 215 h 506"/>
                  <a:gd name="T82" fmla="*/ 137 w 574"/>
                  <a:gd name="T83" fmla="*/ 202 h 506"/>
                  <a:gd name="T84" fmla="*/ 157 w 574"/>
                  <a:gd name="T85" fmla="*/ 198 h 506"/>
                  <a:gd name="T86" fmla="*/ 168 w 574"/>
                  <a:gd name="T87" fmla="*/ 176 h 506"/>
                  <a:gd name="T88" fmla="*/ 290 w 574"/>
                  <a:gd name="T89" fmla="*/ 88 h 506"/>
                  <a:gd name="T90" fmla="*/ 308 w 574"/>
                  <a:gd name="T91" fmla="*/ 60 h 506"/>
                  <a:gd name="T92" fmla="*/ 399 w 574"/>
                  <a:gd name="T93" fmla="*/ 4 h 506"/>
                  <a:gd name="T94" fmla="*/ 418 w 574"/>
                  <a:gd name="T95" fmla="*/ 0 h 506"/>
                  <a:gd name="T96" fmla="*/ 444 w 574"/>
                  <a:gd name="T97" fmla="*/ 22 h 506"/>
                  <a:gd name="T98" fmla="*/ 494 w 574"/>
                  <a:gd name="T99" fmla="*/ 46 h 506"/>
                  <a:gd name="T100" fmla="*/ 515 w 574"/>
                  <a:gd name="T101" fmla="*/ 46 h 506"/>
                  <a:gd name="T102" fmla="*/ 538 w 574"/>
                  <a:gd name="T103" fmla="*/ 19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4" h="506">
                    <a:moveTo>
                      <a:pt x="538" y="19"/>
                    </a:moveTo>
                    <a:lnTo>
                      <a:pt x="549" y="25"/>
                    </a:lnTo>
                    <a:lnTo>
                      <a:pt x="556" y="30"/>
                    </a:lnTo>
                    <a:lnTo>
                      <a:pt x="563" y="35"/>
                    </a:lnTo>
                    <a:lnTo>
                      <a:pt x="566" y="39"/>
                    </a:lnTo>
                    <a:lnTo>
                      <a:pt x="569" y="43"/>
                    </a:lnTo>
                    <a:lnTo>
                      <a:pt x="572" y="47"/>
                    </a:lnTo>
                    <a:lnTo>
                      <a:pt x="572" y="51"/>
                    </a:lnTo>
                    <a:lnTo>
                      <a:pt x="573" y="55"/>
                    </a:lnTo>
                    <a:lnTo>
                      <a:pt x="574" y="58"/>
                    </a:lnTo>
                    <a:lnTo>
                      <a:pt x="574" y="62"/>
                    </a:lnTo>
                    <a:lnTo>
                      <a:pt x="573" y="64"/>
                    </a:lnTo>
                    <a:lnTo>
                      <a:pt x="572" y="67"/>
                    </a:lnTo>
                    <a:lnTo>
                      <a:pt x="570" y="71"/>
                    </a:lnTo>
                    <a:lnTo>
                      <a:pt x="566" y="72"/>
                    </a:lnTo>
                    <a:lnTo>
                      <a:pt x="563" y="74"/>
                    </a:lnTo>
                    <a:lnTo>
                      <a:pt x="555" y="78"/>
                    </a:lnTo>
                    <a:lnTo>
                      <a:pt x="550" y="80"/>
                    </a:lnTo>
                    <a:lnTo>
                      <a:pt x="546" y="83"/>
                    </a:lnTo>
                    <a:lnTo>
                      <a:pt x="539" y="90"/>
                    </a:lnTo>
                    <a:lnTo>
                      <a:pt x="533" y="97"/>
                    </a:lnTo>
                    <a:lnTo>
                      <a:pt x="520" y="115"/>
                    </a:lnTo>
                    <a:lnTo>
                      <a:pt x="518" y="118"/>
                    </a:lnTo>
                    <a:lnTo>
                      <a:pt x="515" y="118"/>
                    </a:lnTo>
                    <a:lnTo>
                      <a:pt x="509" y="120"/>
                    </a:lnTo>
                    <a:lnTo>
                      <a:pt x="504" y="121"/>
                    </a:lnTo>
                    <a:lnTo>
                      <a:pt x="501" y="124"/>
                    </a:lnTo>
                    <a:lnTo>
                      <a:pt x="498" y="127"/>
                    </a:lnTo>
                    <a:lnTo>
                      <a:pt x="497" y="132"/>
                    </a:lnTo>
                    <a:lnTo>
                      <a:pt x="499" y="141"/>
                    </a:lnTo>
                    <a:lnTo>
                      <a:pt x="499" y="148"/>
                    </a:lnTo>
                    <a:lnTo>
                      <a:pt x="496" y="173"/>
                    </a:lnTo>
                    <a:lnTo>
                      <a:pt x="496" y="177"/>
                    </a:lnTo>
                    <a:lnTo>
                      <a:pt x="497" y="180"/>
                    </a:lnTo>
                    <a:lnTo>
                      <a:pt x="498" y="185"/>
                    </a:lnTo>
                    <a:lnTo>
                      <a:pt x="501" y="188"/>
                    </a:lnTo>
                    <a:lnTo>
                      <a:pt x="514" y="202"/>
                    </a:lnTo>
                    <a:lnTo>
                      <a:pt x="519" y="207"/>
                    </a:lnTo>
                    <a:lnTo>
                      <a:pt x="533" y="232"/>
                    </a:lnTo>
                    <a:lnTo>
                      <a:pt x="546" y="249"/>
                    </a:lnTo>
                    <a:lnTo>
                      <a:pt x="546" y="249"/>
                    </a:lnTo>
                    <a:lnTo>
                      <a:pt x="547" y="255"/>
                    </a:lnTo>
                    <a:lnTo>
                      <a:pt x="545" y="264"/>
                    </a:lnTo>
                    <a:lnTo>
                      <a:pt x="544" y="270"/>
                    </a:lnTo>
                    <a:lnTo>
                      <a:pt x="545" y="274"/>
                    </a:lnTo>
                    <a:lnTo>
                      <a:pt x="550" y="282"/>
                    </a:lnTo>
                    <a:lnTo>
                      <a:pt x="552" y="288"/>
                    </a:lnTo>
                    <a:lnTo>
                      <a:pt x="554" y="294"/>
                    </a:lnTo>
                    <a:lnTo>
                      <a:pt x="556" y="306"/>
                    </a:lnTo>
                    <a:lnTo>
                      <a:pt x="556" y="312"/>
                    </a:lnTo>
                    <a:lnTo>
                      <a:pt x="556" y="317"/>
                    </a:lnTo>
                    <a:lnTo>
                      <a:pt x="555" y="321"/>
                    </a:lnTo>
                    <a:lnTo>
                      <a:pt x="554" y="324"/>
                    </a:lnTo>
                    <a:lnTo>
                      <a:pt x="552" y="327"/>
                    </a:lnTo>
                    <a:lnTo>
                      <a:pt x="549" y="329"/>
                    </a:lnTo>
                    <a:lnTo>
                      <a:pt x="545" y="329"/>
                    </a:lnTo>
                    <a:lnTo>
                      <a:pt x="530" y="328"/>
                    </a:lnTo>
                    <a:lnTo>
                      <a:pt x="490" y="331"/>
                    </a:lnTo>
                    <a:lnTo>
                      <a:pt x="454" y="326"/>
                    </a:lnTo>
                    <a:lnTo>
                      <a:pt x="446" y="326"/>
                    </a:lnTo>
                    <a:lnTo>
                      <a:pt x="443" y="327"/>
                    </a:lnTo>
                    <a:lnTo>
                      <a:pt x="439" y="328"/>
                    </a:lnTo>
                    <a:lnTo>
                      <a:pt x="436" y="330"/>
                    </a:lnTo>
                    <a:lnTo>
                      <a:pt x="433" y="331"/>
                    </a:lnTo>
                    <a:lnTo>
                      <a:pt x="431" y="333"/>
                    </a:lnTo>
                    <a:lnTo>
                      <a:pt x="429" y="336"/>
                    </a:lnTo>
                    <a:lnTo>
                      <a:pt x="423" y="342"/>
                    </a:lnTo>
                    <a:lnTo>
                      <a:pt x="418" y="354"/>
                    </a:lnTo>
                    <a:lnTo>
                      <a:pt x="414" y="360"/>
                    </a:lnTo>
                    <a:lnTo>
                      <a:pt x="411" y="363"/>
                    </a:lnTo>
                    <a:lnTo>
                      <a:pt x="399" y="371"/>
                    </a:lnTo>
                    <a:lnTo>
                      <a:pt x="390" y="380"/>
                    </a:lnTo>
                    <a:lnTo>
                      <a:pt x="386" y="383"/>
                    </a:lnTo>
                    <a:lnTo>
                      <a:pt x="379" y="386"/>
                    </a:lnTo>
                    <a:lnTo>
                      <a:pt x="323" y="400"/>
                    </a:lnTo>
                    <a:lnTo>
                      <a:pt x="319" y="401"/>
                    </a:lnTo>
                    <a:lnTo>
                      <a:pt x="316" y="404"/>
                    </a:lnTo>
                    <a:lnTo>
                      <a:pt x="300" y="420"/>
                    </a:lnTo>
                    <a:lnTo>
                      <a:pt x="283" y="442"/>
                    </a:lnTo>
                    <a:lnTo>
                      <a:pt x="280" y="447"/>
                    </a:lnTo>
                    <a:lnTo>
                      <a:pt x="280" y="452"/>
                    </a:lnTo>
                    <a:lnTo>
                      <a:pt x="280" y="455"/>
                    </a:lnTo>
                    <a:lnTo>
                      <a:pt x="282" y="459"/>
                    </a:lnTo>
                    <a:lnTo>
                      <a:pt x="286" y="467"/>
                    </a:lnTo>
                    <a:lnTo>
                      <a:pt x="288" y="471"/>
                    </a:lnTo>
                    <a:lnTo>
                      <a:pt x="287" y="476"/>
                    </a:lnTo>
                    <a:lnTo>
                      <a:pt x="286" y="483"/>
                    </a:lnTo>
                    <a:lnTo>
                      <a:pt x="282" y="487"/>
                    </a:lnTo>
                    <a:lnTo>
                      <a:pt x="278" y="491"/>
                    </a:lnTo>
                    <a:lnTo>
                      <a:pt x="273" y="492"/>
                    </a:lnTo>
                    <a:lnTo>
                      <a:pt x="271" y="493"/>
                    </a:lnTo>
                    <a:lnTo>
                      <a:pt x="267" y="493"/>
                    </a:lnTo>
                    <a:lnTo>
                      <a:pt x="254" y="490"/>
                    </a:lnTo>
                    <a:lnTo>
                      <a:pt x="246" y="490"/>
                    </a:lnTo>
                    <a:lnTo>
                      <a:pt x="222" y="493"/>
                    </a:lnTo>
                    <a:lnTo>
                      <a:pt x="214" y="493"/>
                    </a:lnTo>
                    <a:lnTo>
                      <a:pt x="183" y="490"/>
                    </a:lnTo>
                    <a:lnTo>
                      <a:pt x="172" y="487"/>
                    </a:lnTo>
                    <a:lnTo>
                      <a:pt x="165" y="484"/>
                    </a:lnTo>
                    <a:lnTo>
                      <a:pt x="146" y="476"/>
                    </a:lnTo>
                    <a:lnTo>
                      <a:pt x="143" y="475"/>
                    </a:lnTo>
                    <a:lnTo>
                      <a:pt x="139" y="475"/>
                    </a:lnTo>
                    <a:lnTo>
                      <a:pt x="135" y="477"/>
                    </a:lnTo>
                    <a:lnTo>
                      <a:pt x="130" y="481"/>
                    </a:lnTo>
                    <a:lnTo>
                      <a:pt x="128" y="483"/>
                    </a:lnTo>
                    <a:lnTo>
                      <a:pt x="117" y="499"/>
                    </a:lnTo>
                    <a:lnTo>
                      <a:pt x="114" y="506"/>
                    </a:lnTo>
                    <a:lnTo>
                      <a:pt x="99" y="496"/>
                    </a:lnTo>
                    <a:lnTo>
                      <a:pt x="97" y="493"/>
                    </a:lnTo>
                    <a:lnTo>
                      <a:pt x="95" y="490"/>
                    </a:lnTo>
                    <a:lnTo>
                      <a:pt x="91" y="482"/>
                    </a:lnTo>
                    <a:lnTo>
                      <a:pt x="83" y="447"/>
                    </a:lnTo>
                    <a:lnTo>
                      <a:pt x="80" y="440"/>
                    </a:lnTo>
                    <a:lnTo>
                      <a:pt x="77" y="435"/>
                    </a:lnTo>
                    <a:lnTo>
                      <a:pt x="75" y="433"/>
                    </a:lnTo>
                    <a:lnTo>
                      <a:pt x="72" y="432"/>
                    </a:lnTo>
                    <a:lnTo>
                      <a:pt x="51" y="426"/>
                    </a:lnTo>
                    <a:lnTo>
                      <a:pt x="46" y="424"/>
                    </a:lnTo>
                    <a:lnTo>
                      <a:pt x="43" y="421"/>
                    </a:lnTo>
                    <a:lnTo>
                      <a:pt x="39" y="415"/>
                    </a:lnTo>
                    <a:lnTo>
                      <a:pt x="38" y="412"/>
                    </a:lnTo>
                    <a:lnTo>
                      <a:pt x="38" y="407"/>
                    </a:lnTo>
                    <a:lnTo>
                      <a:pt x="40" y="360"/>
                    </a:lnTo>
                    <a:lnTo>
                      <a:pt x="40" y="355"/>
                    </a:lnTo>
                    <a:lnTo>
                      <a:pt x="38" y="351"/>
                    </a:lnTo>
                    <a:lnTo>
                      <a:pt x="36" y="346"/>
                    </a:lnTo>
                    <a:lnTo>
                      <a:pt x="33" y="345"/>
                    </a:lnTo>
                    <a:lnTo>
                      <a:pt x="25" y="342"/>
                    </a:lnTo>
                    <a:lnTo>
                      <a:pt x="3" y="337"/>
                    </a:lnTo>
                    <a:lnTo>
                      <a:pt x="0" y="335"/>
                    </a:lnTo>
                    <a:lnTo>
                      <a:pt x="6" y="329"/>
                    </a:lnTo>
                    <a:lnTo>
                      <a:pt x="13" y="327"/>
                    </a:lnTo>
                    <a:lnTo>
                      <a:pt x="22" y="326"/>
                    </a:lnTo>
                    <a:lnTo>
                      <a:pt x="28" y="324"/>
                    </a:lnTo>
                    <a:lnTo>
                      <a:pt x="55" y="309"/>
                    </a:lnTo>
                    <a:lnTo>
                      <a:pt x="61" y="307"/>
                    </a:lnTo>
                    <a:lnTo>
                      <a:pt x="67" y="306"/>
                    </a:lnTo>
                    <a:lnTo>
                      <a:pt x="83" y="304"/>
                    </a:lnTo>
                    <a:lnTo>
                      <a:pt x="87" y="302"/>
                    </a:lnTo>
                    <a:lnTo>
                      <a:pt x="90" y="301"/>
                    </a:lnTo>
                    <a:lnTo>
                      <a:pt x="90" y="297"/>
                    </a:lnTo>
                    <a:lnTo>
                      <a:pt x="90" y="294"/>
                    </a:lnTo>
                    <a:lnTo>
                      <a:pt x="90" y="292"/>
                    </a:lnTo>
                    <a:lnTo>
                      <a:pt x="81" y="278"/>
                    </a:lnTo>
                    <a:lnTo>
                      <a:pt x="80" y="273"/>
                    </a:lnTo>
                    <a:lnTo>
                      <a:pt x="80" y="269"/>
                    </a:lnTo>
                    <a:lnTo>
                      <a:pt x="81" y="265"/>
                    </a:lnTo>
                    <a:lnTo>
                      <a:pt x="83" y="261"/>
                    </a:lnTo>
                    <a:lnTo>
                      <a:pt x="87" y="256"/>
                    </a:lnTo>
                    <a:lnTo>
                      <a:pt x="91" y="255"/>
                    </a:lnTo>
                    <a:lnTo>
                      <a:pt x="95" y="254"/>
                    </a:lnTo>
                    <a:lnTo>
                      <a:pt x="98" y="255"/>
                    </a:lnTo>
                    <a:lnTo>
                      <a:pt x="111" y="260"/>
                    </a:lnTo>
                    <a:lnTo>
                      <a:pt x="114" y="261"/>
                    </a:lnTo>
                    <a:lnTo>
                      <a:pt x="119" y="261"/>
                    </a:lnTo>
                    <a:lnTo>
                      <a:pt x="121" y="260"/>
                    </a:lnTo>
                    <a:lnTo>
                      <a:pt x="124" y="256"/>
                    </a:lnTo>
                    <a:lnTo>
                      <a:pt x="124" y="254"/>
                    </a:lnTo>
                    <a:lnTo>
                      <a:pt x="124" y="249"/>
                    </a:lnTo>
                    <a:lnTo>
                      <a:pt x="121" y="233"/>
                    </a:lnTo>
                    <a:lnTo>
                      <a:pt x="120" y="230"/>
                    </a:lnTo>
                    <a:lnTo>
                      <a:pt x="121" y="226"/>
                    </a:lnTo>
                    <a:lnTo>
                      <a:pt x="121" y="223"/>
                    </a:lnTo>
                    <a:lnTo>
                      <a:pt x="125" y="215"/>
                    </a:lnTo>
                    <a:lnTo>
                      <a:pt x="128" y="207"/>
                    </a:lnTo>
                    <a:lnTo>
                      <a:pt x="130" y="203"/>
                    </a:lnTo>
                    <a:lnTo>
                      <a:pt x="134" y="202"/>
                    </a:lnTo>
                    <a:lnTo>
                      <a:pt x="137" y="202"/>
                    </a:lnTo>
                    <a:lnTo>
                      <a:pt x="142" y="202"/>
                    </a:lnTo>
                    <a:lnTo>
                      <a:pt x="146" y="202"/>
                    </a:lnTo>
                    <a:lnTo>
                      <a:pt x="153" y="200"/>
                    </a:lnTo>
                    <a:lnTo>
                      <a:pt x="157" y="198"/>
                    </a:lnTo>
                    <a:lnTo>
                      <a:pt x="159" y="195"/>
                    </a:lnTo>
                    <a:lnTo>
                      <a:pt x="160" y="191"/>
                    </a:lnTo>
                    <a:lnTo>
                      <a:pt x="163" y="185"/>
                    </a:lnTo>
                    <a:lnTo>
                      <a:pt x="168" y="176"/>
                    </a:lnTo>
                    <a:lnTo>
                      <a:pt x="188" y="154"/>
                    </a:lnTo>
                    <a:lnTo>
                      <a:pt x="232" y="118"/>
                    </a:lnTo>
                    <a:lnTo>
                      <a:pt x="252" y="104"/>
                    </a:lnTo>
                    <a:lnTo>
                      <a:pt x="290" y="88"/>
                    </a:lnTo>
                    <a:lnTo>
                      <a:pt x="296" y="84"/>
                    </a:lnTo>
                    <a:lnTo>
                      <a:pt x="300" y="80"/>
                    </a:lnTo>
                    <a:lnTo>
                      <a:pt x="301" y="76"/>
                    </a:lnTo>
                    <a:lnTo>
                      <a:pt x="308" y="60"/>
                    </a:lnTo>
                    <a:lnTo>
                      <a:pt x="315" y="53"/>
                    </a:lnTo>
                    <a:lnTo>
                      <a:pt x="323" y="45"/>
                    </a:lnTo>
                    <a:lnTo>
                      <a:pt x="335" y="37"/>
                    </a:lnTo>
                    <a:lnTo>
                      <a:pt x="399" y="4"/>
                    </a:lnTo>
                    <a:lnTo>
                      <a:pt x="406" y="1"/>
                    </a:lnTo>
                    <a:lnTo>
                      <a:pt x="411" y="0"/>
                    </a:lnTo>
                    <a:lnTo>
                      <a:pt x="414" y="0"/>
                    </a:lnTo>
                    <a:lnTo>
                      <a:pt x="418" y="0"/>
                    </a:lnTo>
                    <a:lnTo>
                      <a:pt x="422" y="2"/>
                    </a:lnTo>
                    <a:lnTo>
                      <a:pt x="426" y="4"/>
                    </a:lnTo>
                    <a:lnTo>
                      <a:pt x="432" y="9"/>
                    </a:lnTo>
                    <a:lnTo>
                      <a:pt x="444" y="22"/>
                    </a:lnTo>
                    <a:lnTo>
                      <a:pt x="466" y="39"/>
                    </a:lnTo>
                    <a:lnTo>
                      <a:pt x="473" y="44"/>
                    </a:lnTo>
                    <a:lnTo>
                      <a:pt x="477" y="45"/>
                    </a:lnTo>
                    <a:lnTo>
                      <a:pt x="494" y="46"/>
                    </a:lnTo>
                    <a:lnTo>
                      <a:pt x="505" y="49"/>
                    </a:lnTo>
                    <a:lnTo>
                      <a:pt x="509" y="49"/>
                    </a:lnTo>
                    <a:lnTo>
                      <a:pt x="512" y="48"/>
                    </a:lnTo>
                    <a:lnTo>
                      <a:pt x="515" y="46"/>
                    </a:lnTo>
                    <a:lnTo>
                      <a:pt x="518" y="44"/>
                    </a:lnTo>
                    <a:lnTo>
                      <a:pt x="531" y="26"/>
                    </a:lnTo>
                    <a:lnTo>
                      <a:pt x="538" y="19"/>
                    </a:lnTo>
                    <a:lnTo>
                      <a:pt x="538" y="19"/>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16" name="Freeform 11">
                <a:extLst>
                  <a:ext uri="{FF2B5EF4-FFF2-40B4-BE49-F238E27FC236}"/>
                </a:extLst>
              </p:cNvPr>
              <p:cNvSpPr>
                <a:spLocks/>
              </p:cNvSpPr>
              <p:nvPr/>
            </p:nvSpPr>
            <p:spPr bwMode="auto">
              <a:xfrm>
                <a:off x="2873375" y="2854325"/>
                <a:ext cx="1539875" cy="1065213"/>
              </a:xfrm>
              <a:custGeom>
                <a:avLst/>
                <a:gdLst>
                  <a:gd name="T0" fmla="*/ 948 w 970"/>
                  <a:gd name="T1" fmla="*/ 274 h 671"/>
                  <a:gd name="T2" fmla="*/ 938 w 970"/>
                  <a:gd name="T3" fmla="*/ 301 h 671"/>
                  <a:gd name="T4" fmla="*/ 922 w 970"/>
                  <a:gd name="T5" fmla="*/ 338 h 671"/>
                  <a:gd name="T6" fmla="*/ 898 w 970"/>
                  <a:gd name="T7" fmla="*/ 340 h 671"/>
                  <a:gd name="T8" fmla="*/ 836 w 970"/>
                  <a:gd name="T9" fmla="*/ 303 h 671"/>
                  <a:gd name="T10" fmla="*/ 815 w 970"/>
                  <a:gd name="T11" fmla="*/ 294 h 671"/>
                  <a:gd name="T12" fmla="*/ 719 w 970"/>
                  <a:gd name="T13" fmla="*/ 347 h 671"/>
                  <a:gd name="T14" fmla="*/ 694 w 970"/>
                  <a:gd name="T15" fmla="*/ 382 h 671"/>
                  <a:gd name="T16" fmla="*/ 567 w 970"/>
                  <a:gd name="T17" fmla="*/ 479 h 671"/>
                  <a:gd name="T18" fmla="*/ 550 w 970"/>
                  <a:gd name="T19" fmla="*/ 496 h 671"/>
                  <a:gd name="T20" fmla="*/ 532 w 970"/>
                  <a:gd name="T21" fmla="*/ 501 h 671"/>
                  <a:gd name="T22" fmla="*/ 525 w 970"/>
                  <a:gd name="T23" fmla="*/ 527 h 671"/>
                  <a:gd name="T24" fmla="*/ 523 w 970"/>
                  <a:gd name="T25" fmla="*/ 555 h 671"/>
                  <a:gd name="T26" fmla="*/ 495 w 970"/>
                  <a:gd name="T27" fmla="*/ 549 h 671"/>
                  <a:gd name="T28" fmla="*/ 484 w 970"/>
                  <a:gd name="T29" fmla="*/ 567 h 671"/>
                  <a:gd name="T30" fmla="*/ 494 w 970"/>
                  <a:gd name="T31" fmla="*/ 595 h 671"/>
                  <a:gd name="T32" fmla="*/ 459 w 970"/>
                  <a:gd name="T33" fmla="*/ 603 h 671"/>
                  <a:gd name="T34" fmla="*/ 404 w 970"/>
                  <a:gd name="T35" fmla="*/ 629 h 671"/>
                  <a:gd name="T36" fmla="*/ 303 w 970"/>
                  <a:gd name="T37" fmla="*/ 622 h 671"/>
                  <a:gd name="T38" fmla="*/ 276 w 970"/>
                  <a:gd name="T39" fmla="*/ 649 h 671"/>
                  <a:gd name="T40" fmla="*/ 256 w 970"/>
                  <a:gd name="T41" fmla="*/ 655 h 671"/>
                  <a:gd name="T42" fmla="*/ 178 w 970"/>
                  <a:gd name="T43" fmla="*/ 671 h 671"/>
                  <a:gd name="T44" fmla="*/ 163 w 970"/>
                  <a:gd name="T45" fmla="*/ 663 h 671"/>
                  <a:gd name="T46" fmla="*/ 157 w 970"/>
                  <a:gd name="T47" fmla="*/ 582 h 671"/>
                  <a:gd name="T48" fmla="*/ 160 w 970"/>
                  <a:gd name="T49" fmla="*/ 485 h 671"/>
                  <a:gd name="T50" fmla="*/ 139 w 970"/>
                  <a:gd name="T51" fmla="*/ 480 h 671"/>
                  <a:gd name="T52" fmla="*/ 133 w 970"/>
                  <a:gd name="T53" fmla="*/ 461 h 671"/>
                  <a:gd name="T54" fmla="*/ 140 w 970"/>
                  <a:gd name="T55" fmla="*/ 432 h 671"/>
                  <a:gd name="T56" fmla="*/ 145 w 970"/>
                  <a:gd name="T57" fmla="*/ 408 h 671"/>
                  <a:gd name="T58" fmla="*/ 192 w 970"/>
                  <a:gd name="T59" fmla="*/ 336 h 671"/>
                  <a:gd name="T60" fmla="*/ 192 w 970"/>
                  <a:gd name="T61" fmla="*/ 316 h 671"/>
                  <a:gd name="T62" fmla="*/ 155 w 970"/>
                  <a:gd name="T63" fmla="*/ 291 h 671"/>
                  <a:gd name="T64" fmla="*/ 122 w 970"/>
                  <a:gd name="T65" fmla="*/ 195 h 671"/>
                  <a:gd name="T66" fmla="*/ 83 w 970"/>
                  <a:gd name="T67" fmla="*/ 166 h 671"/>
                  <a:gd name="T68" fmla="*/ 6 w 970"/>
                  <a:gd name="T69" fmla="*/ 140 h 671"/>
                  <a:gd name="T70" fmla="*/ 27 w 970"/>
                  <a:gd name="T71" fmla="*/ 109 h 671"/>
                  <a:gd name="T72" fmla="*/ 248 w 970"/>
                  <a:gd name="T73" fmla="*/ 8 h 671"/>
                  <a:gd name="T74" fmla="*/ 380 w 970"/>
                  <a:gd name="T75" fmla="*/ 0 h 671"/>
                  <a:gd name="T76" fmla="*/ 451 w 970"/>
                  <a:gd name="T77" fmla="*/ 15 h 671"/>
                  <a:gd name="T78" fmla="*/ 502 w 970"/>
                  <a:gd name="T79" fmla="*/ 8 h 671"/>
                  <a:gd name="T80" fmla="*/ 595 w 970"/>
                  <a:gd name="T81" fmla="*/ 54 h 671"/>
                  <a:gd name="T82" fmla="*/ 625 w 970"/>
                  <a:gd name="T83" fmla="*/ 66 h 671"/>
                  <a:gd name="T84" fmla="*/ 658 w 970"/>
                  <a:gd name="T85" fmla="*/ 53 h 671"/>
                  <a:gd name="T86" fmla="*/ 670 w 970"/>
                  <a:gd name="T87" fmla="*/ 72 h 671"/>
                  <a:gd name="T88" fmla="*/ 684 w 970"/>
                  <a:gd name="T89" fmla="*/ 92 h 671"/>
                  <a:gd name="T90" fmla="*/ 720 w 970"/>
                  <a:gd name="T91" fmla="*/ 94 h 671"/>
                  <a:gd name="T92" fmla="*/ 759 w 970"/>
                  <a:gd name="T93" fmla="*/ 103 h 671"/>
                  <a:gd name="T94" fmla="*/ 797 w 970"/>
                  <a:gd name="T95" fmla="*/ 92 h 671"/>
                  <a:gd name="T96" fmla="*/ 852 w 970"/>
                  <a:gd name="T97" fmla="*/ 197 h 671"/>
                  <a:gd name="T98" fmla="*/ 924 w 970"/>
                  <a:gd name="T99" fmla="*/ 214 h 671"/>
                  <a:gd name="T100" fmla="*/ 970 w 970"/>
                  <a:gd name="T101" fmla="*/ 25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671">
                    <a:moveTo>
                      <a:pt x="970" y="258"/>
                    </a:moveTo>
                    <a:lnTo>
                      <a:pt x="961" y="261"/>
                    </a:lnTo>
                    <a:lnTo>
                      <a:pt x="958" y="263"/>
                    </a:lnTo>
                    <a:lnTo>
                      <a:pt x="953" y="268"/>
                    </a:lnTo>
                    <a:lnTo>
                      <a:pt x="948" y="274"/>
                    </a:lnTo>
                    <a:lnTo>
                      <a:pt x="944" y="282"/>
                    </a:lnTo>
                    <a:lnTo>
                      <a:pt x="941" y="287"/>
                    </a:lnTo>
                    <a:lnTo>
                      <a:pt x="939" y="293"/>
                    </a:lnTo>
                    <a:lnTo>
                      <a:pt x="938" y="297"/>
                    </a:lnTo>
                    <a:lnTo>
                      <a:pt x="938" y="301"/>
                    </a:lnTo>
                    <a:lnTo>
                      <a:pt x="938" y="305"/>
                    </a:lnTo>
                    <a:lnTo>
                      <a:pt x="940" y="312"/>
                    </a:lnTo>
                    <a:lnTo>
                      <a:pt x="942" y="313"/>
                    </a:lnTo>
                    <a:lnTo>
                      <a:pt x="935" y="320"/>
                    </a:lnTo>
                    <a:lnTo>
                      <a:pt x="922" y="338"/>
                    </a:lnTo>
                    <a:lnTo>
                      <a:pt x="919" y="340"/>
                    </a:lnTo>
                    <a:lnTo>
                      <a:pt x="916" y="342"/>
                    </a:lnTo>
                    <a:lnTo>
                      <a:pt x="913" y="343"/>
                    </a:lnTo>
                    <a:lnTo>
                      <a:pt x="909" y="343"/>
                    </a:lnTo>
                    <a:lnTo>
                      <a:pt x="898" y="340"/>
                    </a:lnTo>
                    <a:lnTo>
                      <a:pt x="881" y="339"/>
                    </a:lnTo>
                    <a:lnTo>
                      <a:pt x="877" y="338"/>
                    </a:lnTo>
                    <a:lnTo>
                      <a:pt x="870" y="333"/>
                    </a:lnTo>
                    <a:lnTo>
                      <a:pt x="848" y="316"/>
                    </a:lnTo>
                    <a:lnTo>
                      <a:pt x="836" y="303"/>
                    </a:lnTo>
                    <a:lnTo>
                      <a:pt x="830" y="298"/>
                    </a:lnTo>
                    <a:lnTo>
                      <a:pt x="826" y="296"/>
                    </a:lnTo>
                    <a:lnTo>
                      <a:pt x="822" y="294"/>
                    </a:lnTo>
                    <a:lnTo>
                      <a:pt x="818" y="294"/>
                    </a:lnTo>
                    <a:lnTo>
                      <a:pt x="815" y="294"/>
                    </a:lnTo>
                    <a:lnTo>
                      <a:pt x="810" y="295"/>
                    </a:lnTo>
                    <a:lnTo>
                      <a:pt x="803" y="298"/>
                    </a:lnTo>
                    <a:lnTo>
                      <a:pt x="739" y="331"/>
                    </a:lnTo>
                    <a:lnTo>
                      <a:pt x="727" y="339"/>
                    </a:lnTo>
                    <a:lnTo>
                      <a:pt x="719" y="347"/>
                    </a:lnTo>
                    <a:lnTo>
                      <a:pt x="712" y="354"/>
                    </a:lnTo>
                    <a:lnTo>
                      <a:pt x="705" y="370"/>
                    </a:lnTo>
                    <a:lnTo>
                      <a:pt x="704" y="374"/>
                    </a:lnTo>
                    <a:lnTo>
                      <a:pt x="700" y="378"/>
                    </a:lnTo>
                    <a:lnTo>
                      <a:pt x="694" y="382"/>
                    </a:lnTo>
                    <a:lnTo>
                      <a:pt x="656" y="398"/>
                    </a:lnTo>
                    <a:lnTo>
                      <a:pt x="636" y="412"/>
                    </a:lnTo>
                    <a:lnTo>
                      <a:pt x="592" y="448"/>
                    </a:lnTo>
                    <a:lnTo>
                      <a:pt x="572" y="470"/>
                    </a:lnTo>
                    <a:lnTo>
                      <a:pt x="567" y="479"/>
                    </a:lnTo>
                    <a:lnTo>
                      <a:pt x="564" y="485"/>
                    </a:lnTo>
                    <a:lnTo>
                      <a:pt x="563" y="489"/>
                    </a:lnTo>
                    <a:lnTo>
                      <a:pt x="561" y="492"/>
                    </a:lnTo>
                    <a:lnTo>
                      <a:pt x="557" y="494"/>
                    </a:lnTo>
                    <a:lnTo>
                      <a:pt x="550" y="496"/>
                    </a:lnTo>
                    <a:lnTo>
                      <a:pt x="546" y="496"/>
                    </a:lnTo>
                    <a:lnTo>
                      <a:pt x="541" y="496"/>
                    </a:lnTo>
                    <a:lnTo>
                      <a:pt x="538" y="496"/>
                    </a:lnTo>
                    <a:lnTo>
                      <a:pt x="534" y="497"/>
                    </a:lnTo>
                    <a:lnTo>
                      <a:pt x="532" y="501"/>
                    </a:lnTo>
                    <a:lnTo>
                      <a:pt x="529" y="509"/>
                    </a:lnTo>
                    <a:lnTo>
                      <a:pt x="525" y="517"/>
                    </a:lnTo>
                    <a:lnTo>
                      <a:pt x="525" y="520"/>
                    </a:lnTo>
                    <a:lnTo>
                      <a:pt x="524" y="524"/>
                    </a:lnTo>
                    <a:lnTo>
                      <a:pt x="525" y="527"/>
                    </a:lnTo>
                    <a:lnTo>
                      <a:pt x="528" y="543"/>
                    </a:lnTo>
                    <a:lnTo>
                      <a:pt x="528" y="548"/>
                    </a:lnTo>
                    <a:lnTo>
                      <a:pt x="528" y="550"/>
                    </a:lnTo>
                    <a:lnTo>
                      <a:pt x="525" y="554"/>
                    </a:lnTo>
                    <a:lnTo>
                      <a:pt x="523" y="555"/>
                    </a:lnTo>
                    <a:lnTo>
                      <a:pt x="518" y="555"/>
                    </a:lnTo>
                    <a:lnTo>
                      <a:pt x="515" y="554"/>
                    </a:lnTo>
                    <a:lnTo>
                      <a:pt x="502" y="549"/>
                    </a:lnTo>
                    <a:lnTo>
                      <a:pt x="499" y="548"/>
                    </a:lnTo>
                    <a:lnTo>
                      <a:pt x="495" y="549"/>
                    </a:lnTo>
                    <a:lnTo>
                      <a:pt x="491" y="550"/>
                    </a:lnTo>
                    <a:lnTo>
                      <a:pt x="487" y="555"/>
                    </a:lnTo>
                    <a:lnTo>
                      <a:pt x="485" y="559"/>
                    </a:lnTo>
                    <a:lnTo>
                      <a:pt x="484" y="563"/>
                    </a:lnTo>
                    <a:lnTo>
                      <a:pt x="484" y="567"/>
                    </a:lnTo>
                    <a:lnTo>
                      <a:pt x="485" y="572"/>
                    </a:lnTo>
                    <a:lnTo>
                      <a:pt x="494" y="586"/>
                    </a:lnTo>
                    <a:lnTo>
                      <a:pt x="494" y="588"/>
                    </a:lnTo>
                    <a:lnTo>
                      <a:pt x="494" y="591"/>
                    </a:lnTo>
                    <a:lnTo>
                      <a:pt x="494" y="595"/>
                    </a:lnTo>
                    <a:lnTo>
                      <a:pt x="491" y="596"/>
                    </a:lnTo>
                    <a:lnTo>
                      <a:pt x="487" y="598"/>
                    </a:lnTo>
                    <a:lnTo>
                      <a:pt x="471" y="600"/>
                    </a:lnTo>
                    <a:lnTo>
                      <a:pt x="465" y="601"/>
                    </a:lnTo>
                    <a:lnTo>
                      <a:pt x="459" y="603"/>
                    </a:lnTo>
                    <a:lnTo>
                      <a:pt x="432" y="618"/>
                    </a:lnTo>
                    <a:lnTo>
                      <a:pt x="426" y="620"/>
                    </a:lnTo>
                    <a:lnTo>
                      <a:pt x="417" y="621"/>
                    </a:lnTo>
                    <a:lnTo>
                      <a:pt x="410" y="623"/>
                    </a:lnTo>
                    <a:lnTo>
                      <a:pt x="404" y="629"/>
                    </a:lnTo>
                    <a:lnTo>
                      <a:pt x="389" y="625"/>
                    </a:lnTo>
                    <a:lnTo>
                      <a:pt x="342" y="617"/>
                    </a:lnTo>
                    <a:lnTo>
                      <a:pt x="314" y="619"/>
                    </a:lnTo>
                    <a:lnTo>
                      <a:pt x="308" y="620"/>
                    </a:lnTo>
                    <a:lnTo>
                      <a:pt x="303" y="622"/>
                    </a:lnTo>
                    <a:lnTo>
                      <a:pt x="298" y="625"/>
                    </a:lnTo>
                    <a:lnTo>
                      <a:pt x="294" y="628"/>
                    </a:lnTo>
                    <a:lnTo>
                      <a:pt x="282" y="644"/>
                    </a:lnTo>
                    <a:lnTo>
                      <a:pt x="279" y="648"/>
                    </a:lnTo>
                    <a:lnTo>
                      <a:pt x="276" y="649"/>
                    </a:lnTo>
                    <a:lnTo>
                      <a:pt x="273" y="651"/>
                    </a:lnTo>
                    <a:lnTo>
                      <a:pt x="270" y="652"/>
                    </a:lnTo>
                    <a:lnTo>
                      <a:pt x="267" y="653"/>
                    </a:lnTo>
                    <a:lnTo>
                      <a:pt x="263" y="654"/>
                    </a:lnTo>
                    <a:lnTo>
                      <a:pt x="256" y="655"/>
                    </a:lnTo>
                    <a:lnTo>
                      <a:pt x="237" y="654"/>
                    </a:lnTo>
                    <a:lnTo>
                      <a:pt x="228" y="655"/>
                    </a:lnTo>
                    <a:lnTo>
                      <a:pt x="186" y="671"/>
                    </a:lnTo>
                    <a:lnTo>
                      <a:pt x="183" y="671"/>
                    </a:lnTo>
                    <a:lnTo>
                      <a:pt x="178" y="671"/>
                    </a:lnTo>
                    <a:lnTo>
                      <a:pt x="175" y="671"/>
                    </a:lnTo>
                    <a:lnTo>
                      <a:pt x="171" y="669"/>
                    </a:lnTo>
                    <a:lnTo>
                      <a:pt x="169" y="668"/>
                    </a:lnTo>
                    <a:lnTo>
                      <a:pt x="166" y="666"/>
                    </a:lnTo>
                    <a:lnTo>
                      <a:pt x="163" y="663"/>
                    </a:lnTo>
                    <a:lnTo>
                      <a:pt x="162" y="660"/>
                    </a:lnTo>
                    <a:lnTo>
                      <a:pt x="160" y="655"/>
                    </a:lnTo>
                    <a:lnTo>
                      <a:pt x="158" y="650"/>
                    </a:lnTo>
                    <a:lnTo>
                      <a:pt x="160" y="602"/>
                    </a:lnTo>
                    <a:lnTo>
                      <a:pt x="157" y="582"/>
                    </a:lnTo>
                    <a:lnTo>
                      <a:pt x="152" y="562"/>
                    </a:lnTo>
                    <a:lnTo>
                      <a:pt x="151" y="557"/>
                    </a:lnTo>
                    <a:lnTo>
                      <a:pt x="151" y="552"/>
                    </a:lnTo>
                    <a:lnTo>
                      <a:pt x="161" y="489"/>
                    </a:lnTo>
                    <a:lnTo>
                      <a:pt x="160" y="485"/>
                    </a:lnTo>
                    <a:lnTo>
                      <a:pt x="158" y="481"/>
                    </a:lnTo>
                    <a:lnTo>
                      <a:pt x="155" y="478"/>
                    </a:lnTo>
                    <a:lnTo>
                      <a:pt x="151" y="478"/>
                    </a:lnTo>
                    <a:lnTo>
                      <a:pt x="143" y="480"/>
                    </a:lnTo>
                    <a:lnTo>
                      <a:pt x="139" y="480"/>
                    </a:lnTo>
                    <a:lnTo>
                      <a:pt x="135" y="478"/>
                    </a:lnTo>
                    <a:lnTo>
                      <a:pt x="133" y="475"/>
                    </a:lnTo>
                    <a:lnTo>
                      <a:pt x="131" y="471"/>
                    </a:lnTo>
                    <a:lnTo>
                      <a:pt x="130" y="466"/>
                    </a:lnTo>
                    <a:lnTo>
                      <a:pt x="133" y="461"/>
                    </a:lnTo>
                    <a:lnTo>
                      <a:pt x="139" y="450"/>
                    </a:lnTo>
                    <a:lnTo>
                      <a:pt x="139" y="448"/>
                    </a:lnTo>
                    <a:lnTo>
                      <a:pt x="140" y="441"/>
                    </a:lnTo>
                    <a:lnTo>
                      <a:pt x="140" y="436"/>
                    </a:lnTo>
                    <a:lnTo>
                      <a:pt x="140" y="432"/>
                    </a:lnTo>
                    <a:lnTo>
                      <a:pt x="140" y="428"/>
                    </a:lnTo>
                    <a:lnTo>
                      <a:pt x="137" y="420"/>
                    </a:lnTo>
                    <a:lnTo>
                      <a:pt x="139" y="418"/>
                    </a:lnTo>
                    <a:lnTo>
                      <a:pt x="142" y="414"/>
                    </a:lnTo>
                    <a:lnTo>
                      <a:pt x="145" y="408"/>
                    </a:lnTo>
                    <a:lnTo>
                      <a:pt x="155" y="378"/>
                    </a:lnTo>
                    <a:lnTo>
                      <a:pt x="160" y="367"/>
                    </a:lnTo>
                    <a:lnTo>
                      <a:pt x="167" y="358"/>
                    </a:lnTo>
                    <a:lnTo>
                      <a:pt x="188" y="339"/>
                    </a:lnTo>
                    <a:lnTo>
                      <a:pt x="192" y="336"/>
                    </a:lnTo>
                    <a:lnTo>
                      <a:pt x="193" y="332"/>
                    </a:lnTo>
                    <a:lnTo>
                      <a:pt x="195" y="328"/>
                    </a:lnTo>
                    <a:lnTo>
                      <a:pt x="196" y="324"/>
                    </a:lnTo>
                    <a:lnTo>
                      <a:pt x="195" y="320"/>
                    </a:lnTo>
                    <a:lnTo>
                      <a:pt x="192" y="316"/>
                    </a:lnTo>
                    <a:lnTo>
                      <a:pt x="188" y="313"/>
                    </a:lnTo>
                    <a:lnTo>
                      <a:pt x="167" y="302"/>
                    </a:lnTo>
                    <a:lnTo>
                      <a:pt x="161" y="298"/>
                    </a:lnTo>
                    <a:lnTo>
                      <a:pt x="158" y="295"/>
                    </a:lnTo>
                    <a:lnTo>
                      <a:pt x="155" y="291"/>
                    </a:lnTo>
                    <a:lnTo>
                      <a:pt x="154" y="288"/>
                    </a:lnTo>
                    <a:lnTo>
                      <a:pt x="136" y="214"/>
                    </a:lnTo>
                    <a:lnTo>
                      <a:pt x="134" y="209"/>
                    </a:lnTo>
                    <a:lnTo>
                      <a:pt x="132" y="206"/>
                    </a:lnTo>
                    <a:lnTo>
                      <a:pt x="122" y="195"/>
                    </a:lnTo>
                    <a:lnTo>
                      <a:pt x="103" y="179"/>
                    </a:lnTo>
                    <a:lnTo>
                      <a:pt x="92" y="174"/>
                    </a:lnTo>
                    <a:lnTo>
                      <a:pt x="88" y="170"/>
                    </a:lnTo>
                    <a:lnTo>
                      <a:pt x="83" y="167"/>
                    </a:lnTo>
                    <a:lnTo>
                      <a:pt x="83" y="166"/>
                    </a:lnTo>
                    <a:lnTo>
                      <a:pt x="79" y="161"/>
                    </a:lnTo>
                    <a:lnTo>
                      <a:pt x="73" y="158"/>
                    </a:lnTo>
                    <a:lnTo>
                      <a:pt x="64" y="154"/>
                    </a:lnTo>
                    <a:lnTo>
                      <a:pt x="10" y="142"/>
                    </a:lnTo>
                    <a:lnTo>
                      <a:pt x="6" y="140"/>
                    </a:lnTo>
                    <a:lnTo>
                      <a:pt x="3" y="138"/>
                    </a:lnTo>
                    <a:lnTo>
                      <a:pt x="0" y="135"/>
                    </a:lnTo>
                    <a:lnTo>
                      <a:pt x="19" y="115"/>
                    </a:lnTo>
                    <a:lnTo>
                      <a:pt x="22" y="112"/>
                    </a:lnTo>
                    <a:lnTo>
                      <a:pt x="27" y="109"/>
                    </a:lnTo>
                    <a:lnTo>
                      <a:pt x="89" y="78"/>
                    </a:lnTo>
                    <a:lnTo>
                      <a:pt x="119" y="70"/>
                    </a:lnTo>
                    <a:lnTo>
                      <a:pt x="181" y="35"/>
                    </a:lnTo>
                    <a:lnTo>
                      <a:pt x="245" y="8"/>
                    </a:lnTo>
                    <a:lnTo>
                      <a:pt x="248" y="8"/>
                    </a:lnTo>
                    <a:lnTo>
                      <a:pt x="259" y="11"/>
                    </a:lnTo>
                    <a:lnTo>
                      <a:pt x="277" y="19"/>
                    </a:lnTo>
                    <a:lnTo>
                      <a:pt x="287" y="22"/>
                    </a:lnTo>
                    <a:lnTo>
                      <a:pt x="291" y="22"/>
                    </a:lnTo>
                    <a:lnTo>
                      <a:pt x="380" y="0"/>
                    </a:lnTo>
                    <a:lnTo>
                      <a:pt x="392" y="0"/>
                    </a:lnTo>
                    <a:lnTo>
                      <a:pt x="399" y="0"/>
                    </a:lnTo>
                    <a:lnTo>
                      <a:pt x="404" y="0"/>
                    </a:lnTo>
                    <a:lnTo>
                      <a:pt x="445" y="14"/>
                    </a:lnTo>
                    <a:lnTo>
                      <a:pt x="451" y="15"/>
                    </a:lnTo>
                    <a:lnTo>
                      <a:pt x="456" y="15"/>
                    </a:lnTo>
                    <a:lnTo>
                      <a:pt x="460" y="15"/>
                    </a:lnTo>
                    <a:lnTo>
                      <a:pt x="479" y="9"/>
                    </a:lnTo>
                    <a:lnTo>
                      <a:pt x="498" y="8"/>
                    </a:lnTo>
                    <a:lnTo>
                      <a:pt x="502" y="8"/>
                    </a:lnTo>
                    <a:lnTo>
                      <a:pt x="559" y="22"/>
                    </a:lnTo>
                    <a:lnTo>
                      <a:pt x="567" y="24"/>
                    </a:lnTo>
                    <a:lnTo>
                      <a:pt x="571" y="27"/>
                    </a:lnTo>
                    <a:lnTo>
                      <a:pt x="575" y="31"/>
                    </a:lnTo>
                    <a:lnTo>
                      <a:pt x="595" y="54"/>
                    </a:lnTo>
                    <a:lnTo>
                      <a:pt x="600" y="59"/>
                    </a:lnTo>
                    <a:lnTo>
                      <a:pt x="606" y="62"/>
                    </a:lnTo>
                    <a:lnTo>
                      <a:pt x="614" y="66"/>
                    </a:lnTo>
                    <a:lnTo>
                      <a:pt x="620" y="67"/>
                    </a:lnTo>
                    <a:lnTo>
                      <a:pt x="625" y="66"/>
                    </a:lnTo>
                    <a:lnTo>
                      <a:pt x="630" y="65"/>
                    </a:lnTo>
                    <a:lnTo>
                      <a:pt x="635" y="63"/>
                    </a:lnTo>
                    <a:lnTo>
                      <a:pt x="649" y="55"/>
                    </a:lnTo>
                    <a:lnTo>
                      <a:pt x="653" y="54"/>
                    </a:lnTo>
                    <a:lnTo>
                      <a:pt x="658" y="53"/>
                    </a:lnTo>
                    <a:lnTo>
                      <a:pt x="664" y="53"/>
                    </a:lnTo>
                    <a:lnTo>
                      <a:pt x="667" y="54"/>
                    </a:lnTo>
                    <a:lnTo>
                      <a:pt x="669" y="56"/>
                    </a:lnTo>
                    <a:lnTo>
                      <a:pt x="669" y="58"/>
                    </a:lnTo>
                    <a:lnTo>
                      <a:pt x="670" y="72"/>
                    </a:lnTo>
                    <a:lnTo>
                      <a:pt x="670" y="75"/>
                    </a:lnTo>
                    <a:lnTo>
                      <a:pt x="672" y="78"/>
                    </a:lnTo>
                    <a:lnTo>
                      <a:pt x="675" y="84"/>
                    </a:lnTo>
                    <a:lnTo>
                      <a:pt x="678" y="89"/>
                    </a:lnTo>
                    <a:lnTo>
                      <a:pt x="684" y="92"/>
                    </a:lnTo>
                    <a:lnTo>
                      <a:pt x="689" y="94"/>
                    </a:lnTo>
                    <a:lnTo>
                      <a:pt x="693" y="94"/>
                    </a:lnTo>
                    <a:lnTo>
                      <a:pt x="710" y="92"/>
                    </a:lnTo>
                    <a:lnTo>
                      <a:pt x="715" y="93"/>
                    </a:lnTo>
                    <a:lnTo>
                      <a:pt x="720" y="94"/>
                    </a:lnTo>
                    <a:lnTo>
                      <a:pt x="737" y="104"/>
                    </a:lnTo>
                    <a:lnTo>
                      <a:pt x="744" y="106"/>
                    </a:lnTo>
                    <a:lnTo>
                      <a:pt x="749" y="107"/>
                    </a:lnTo>
                    <a:lnTo>
                      <a:pt x="752" y="106"/>
                    </a:lnTo>
                    <a:lnTo>
                      <a:pt x="759" y="103"/>
                    </a:lnTo>
                    <a:lnTo>
                      <a:pt x="779" y="90"/>
                    </a:lnTo>
                    <a:lnTo>
                      <a:pt x="783" y="88"/>
                    </a:lnTo>
                    <a:lnTo>
                      <a:pt x="789" y="87"/>
                    </a:lnTo>
                    <a:lnTo>
                      <a:pt x="794" y="89"/>
                    </a:lnTo>
                    <a:lnTo>
                      <a:pt x="797" y="92"/>
                    </a:lnTo>
                    <a:lnTo>
                      <a:pt x="800" y="96"/>
                    </a:lnTo>
                    <a:lnTo>
                      <a:pt x="828" y="147"/>
                    </a:lnTo>
                    <a:lnTo>
                      <a:pt x="842" y="184"/>
                    </a:lnTo>
                    <a:lnTo>
                      <a:pt x="848" y="193"/>
                    </a:lnTo>
                    <a:lnTo>
                      <a:pt x="852" y="197"/>
                    </a:lnTo>
                    <a:lnTo>
                      <a:pt x="857" y="200"/>
                    </a:lnTo>
                    <a:lnTo>
                      <a:pt x="863" y="203"/>
                    </a:lnTo>
                    <a:lnTo>
                      <a:pt x="867" y="205"/>
                    </a:lnTo>
                    <a:lnTo>
                      <a:pt x="919" y="213"/>
                    </a:lnTo>
                    <a:lnTo>
                      <a:pt x="924" y="214"/>
                    </a:lnTo>
                    <a:lnTo>
                      <a:pt x="932" y="219"/>
                    </a:lnTo>
                    <a:lnTo>
                      <a:pt x="936" y="221"/>
                    </a:lnTo>
                    <a:lnTo>
                      <a:pt x="963" y="246"/>
                    </a:lnTo>
                    <a:lnTo>
                      <a:pt x="968" y="252"/>
                    </a:lnTo>
                    <a:lnTo>
                      <a:pt x="970" y="258"/>
                    </a:lnTo>
                    <a:lnTo>
                      <a:pt x="970" y="25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17" name="Freeform 12">
                <a:extLst>
                  <a:ext uri="{FF2B5EF4-FFF2-40B4-BE49-F238E27FC236}"/>
                </a:extLst>
              </p:cNvPr>
              <p:cNvSpPr>
                <a:spLocks noEditPoints="1"/>
              </p:cNvSpPr>
              <p:nvPr/>
            </p:nvSpPr>
            <p:spPr bwMode="auto">
              <a:xfrm>
                <a:off x="1698625" y="2819400"/>
                <a:ext cx="1485900" cy="1327150"/>
              </a:xfrm>
              <a:custGeom>
                <a:avLst/>
                <a:gdLst>
                  <a:gd name="T0" fmla="*/ 402 w 936"/>
                  <a:gd name="T1" fmla="*/ 671 h 836"/>
                  <a:gd name="T2" fmla="*/ 385 w 936"/>
                  <a:gd name="T3" fmla="*/ 670 h 836"/>
                  <a:gd name="T4" fmla="*/ 396 w 936"/>
                  <a:gd name="T5" fmla="*/ 676 h 836"/>
                  <a:gd name="T6" fmla="*/ 369 w 936"/>
                  <a:gd name="T7" fmla="*/ 660 h 836"/>
                  <a:gd name="T8" fmla="*/ 382 w 936"/>
                  <a:gd name="T9" fmla="*/ 646 h 836"/>
                  <a:gd name="T10" fmla="*/ 386 w 936"/>
                  <a:gd name="T11" fmla="*/ 667 h 836"/>
                  <a:gd name="T12" fmla="*/ 367 w 936"/>
                  <a:gd name="T13" fmla="*/ 655 h 836"/>
                  <a:gd name="T14" fmla="*/ 360 w 936"/>
                  <a:gd name="T15" fmla="*/ 646 h 836"/>
                  <a:gd name="T16" fmla="*/ 389 w 936"/>
                  <a:gd name="T17" fmla="*/ 640 h 836"/>
                  <a:gd name="T18" fmla="*/ 346 w 936"/>
                  <a:gd name="T19" fmla="*/ 645 h 836"/>
                  <a:gd name="T20" fmla="*/ 327 w 936"/>
                  <a:gd name="T21" fmla="*/ 640 h 836"/>
                  <a:gd name="T22" fmla="*/ 328 w 936"/>
                  <a:gd name="T23" fmla="*/ 632 h 836"/>
                  <a:gd name="T24" fmla="*/ 331 w 936"/>
                  <a:gd name="T25" fmla="*/ 617 h 836"/>
                  <a:gd name="T26" fmla="*/ 337 w 936"/>
                  <a:gd name="T27" fmla="*/ 614 h 836"/>
                  <a:gd name="T28" fmla="*/ 832 w 936"/>
                  <a:gd name="T29" fmla="*/ 196 h 836"/>
                  <a:gd name="T30" fmla="*/ 935 w 936"/>
                  <a:gd name="T31" fmla="*/ 342 h 836"/>
                  <a:gd name="T32" fmla="*/ 871 w 936"/>
                  <a:gd name="T33" fmla="*/ 434 h 836"/>
                  <a:gd name="T34" fmla="*/ 704 w 936"/>
                  <a:gd name="T35" fmla="*/ 395 h 836"/>
                  <a:gd name="T36" fmla="*/ 661 w 936"/>
                  <a:gd name="T37" fmla="*/ 399 h 836"/>
                  <a:gd name="T38" fmla="*/ 611 w 936"/>
                  <a:gd name="T39" fmla="*/ 388 h 836"/>
                  <a:gd name="T40" fmla="*/ 563 w 936"/>
                  <a:gd name="T41" fmla="*/ 359 h 836"/>
                  <a:gd name="T42" fmla="*/ 485 w 936"/>
                  <a:gd name="T43" fmla="*/ 322 h 836"/>
                  <a:gd name="T44" fmla="*/ 369 w 936"/>
                  <a:gd name="T45" fmla="*/ 343 h 836"/>
                  <a:gd name="T46" fmla="*/ 406 w 936"/>
                  <a:gd name="T47" fmla="*/ 381 h 836"/>
                  <a:gd name="T48" fmla="*/ 448 w 936"/>
                  <a:gd name="T49" fmla="*/ 454 h 836"/>
                  <a:gd name="T50" fmla="*/ 449 w 936"/>
                  <a:gd name="T51" fmla="*/ 545 h 836"/>
                  <a:gd name="T52" fmla="*/ 510 w 936"/>
                  <a:gd name="T53" fmla="*/ 586 h 836"/>
                  <a:gd name="T54" fmla="*/ 575 w 936"/>
                  <a:gd name="T55" fmla="*/ 664 h 836"/>
                  <a:gd name="T56" fmla="*/ 536 w 936"/>
                  <a:gd name="T57" fmla="*/ 789 h 836"/>
                  <a:gd name="T58" fmla="*/ 475 w 936"/>
                  <a:gd name="T59" fmla="*/ 817 h 836"/>
                  <a:gd name="T60" fmla="*/ 443 w 936"/>
                  <a:gd name="T61" fmla="*/ 787 h 836"/>
                  <a:gd name="T62" fmla="*/ 451 w 936"/>
                  <a:gd name="T63" fmla="*/ 754 h 836"/>
                  <a:gd name="T64" fmla="*/ 433 w 936"/>
                  <a:gd name="T65" fmla="*/ 701 h 836"/>
                  <a:gd name="T66" fmla="*/ 409 w 936"/>
                  <a:gd name="T67" fmla="*/ 659 h 836"/>
                  <a:gd name="T68" fmla="*/ 386 w 936"/>
                  <a:gd name="T69" fmla="*/ 626 h 836"/>
                  <a:gd name="T70" fmla="*/ 354 w 936"/>
                  <a:gd name="T71" fmla="*/ 604 h 836"/>
                  <a:gd name="T72" fmla="*/ 354 w 936"/>
                  <a:gd name="T73" fmla="*/ 561 h 836"/>
                  <a:gd name="T74" fmla="*/ 259 w 936"/>
                  <a:gd name="T75" fmla="*/ 429 h 836"/>
                  <a:gd name="T76" fmla="*/ 205 w 936"/>
                  <a:gd name="T77" fmla="*/ 346 h 836"/>
                  <a:gd name="T78" fmla="*/ 156 w 936"/>
                  <a:gd name="T79" fmla="*/ 271 h 836"/>
                  <a:gd name="T80" fmla="*/ 128 w 936"/>
                  <a:gd name="T81" fmla="*/ 221 h 836"/>
                  <a:gd name="T82" fmla="*/ 107 w 936"/>
                  <a:gd name="T83" fmla="*/ 182 h 836"/>
                  <a:gd name="T84" fmla="*/ 91 w 936"/>
                  <a:gd name="T85" fmla="*/ 174 h 836"/>
                  <a:gd name="T86" fmla="*/ 60 w 936"/>
                  <a:gd name="T87" fmla="*/ 171 h 836"/>
                  <a:gd name="T88" fmla="*/ 45 w 936"/>
                  <a:gd name="T89" fmla="*/ 173 h 836"/>
                  <a:gd name="T90" fmla="*/ 40 w 936"/>
                  <a:gd name="T91" fmla="*/ 172 h 836"/>
                  <a:gd name="T92" fmla="*/ 33 w 936"/>
                  <a:gd name="T93" fmla="*/ 171 h 836"/>
                  <a:gd name="T94" fmla="*/ 20 w 936"/>
                  <a:gd name="T95" fmla="*/ 164 h 836"/>
                  <a:gd name="T96" fmla="*/ 11 w 936"/>
                  <a:gd name="T97" fmla="*/ 178 h 836"/>
                  <a:gd name="T98" fmla="*/ 0 w 936"/>
                  <a:gd name="T99" fmla="*/ 167 h 836"/>
                  <a:gd name="T100" fmla="*/ 15 w 936"/>
                  <a:gd name="T101" fmla="*/ 154 h 836"/>
                  <a:gd name="T102" fmla="*/ 17 w 936"/>
                  <a:gd name="T103" fmla="*/ 137 h 836"/>
                  <a:gd name="T104" fmla="*/ 37 w 936"/>
                  <a:gd name="T105" fmla="*/ 50 h 836"/>
                  <a:gd name="T106" fmla="*/ 70 w 936"/>
                  <a:gd name="T107" fmla="*/ 19 h 836"/>
                  <a:gd name="T108" fmla="*/ 251 w 936"/>
                  <a:gd name="T109" fmla="*/ 11 h 836"/>
                  <a:gd name="T110" fmla="*/ 429 w 936"/>
                  <a:gd name="T111" fmla="*/ 76 h 836"/>
                  <a:gd name="T112" fmla="*/ 526 w 936"/>
                  <a:gd name="T113" fmla="*/ 23 h 836"/>
                  <a:gd name="T114" fmla="*/ 557 w 936"/>
                  <a:gd name="T115" fmla="*/ 129 h 836"/>
                  <a:gd name="T116" fmla="*/ 672 w 936"/>
                  <a:gd name="T117" fmla="*/ 145 h 836"/>
                  <a:gd name="T118" fmla="*/ 740 w 936"/>
                  <a:gd name="T119" fmla="*/ 157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6" h="836">
                    <a:moveTo>
                      <a:pt x="406" y="664"/>
                    </a:moveTo>
                    <a:lnTo>
                      <a:pt x="407" y="668"/>
                    </a:lnTo>
                    <a:lnTo>
                      <a:pt x="409" y="667"/>
                    </a:lnTo>
                    <a:lnTo>
                      <a:pt x="410" y="673"/>
                    </a:lnTo>
                    <a:lnTo>
                      <a:pt x="412" y="675"/>
                    </a:lnTo>
                    <a:lnTo>
                      <a:pt x="412" y="675"/>
                    </a:lnTo>
                    <a:lnTo>
                      <a:pt x="410" y="675"/>
                    </a:lnTo>
                    <a:lnTo>
                      <a:pt x="409" y="677"/>
                    </a:lnTo>
                    <a:lnTo>
                      <a:pt x="406" y="675"/>
                    </a:lnTo>
                    <a:lnTo>
                      <a:pt x="406" y="672"/>
                    </a:lnTo>
                    <a:lnTo>
                      <a:pt x="406" y="671"/>
                    </a:lnTo>
                    <a:lnTo>
                      <a:pt x="404" y="671"/>
                    </a:lnTo>
                    <a:lnTo>
                      <a:pt x="402" y="671"/>
                    </a:lnTo>
                    <a:lnTo>
                      <a:pt x="400" y="670"/>
                    </a:lnTo>
                    <a:lnTo>
                      <a:pt x="400" y="668"/>
                    </a:lnTo>
                    <a:lnTo>
                      <a:pt x="399" y="668"/>
                    </a:lnTo>
                    <a:lnTo>
                      <a:pt x="397" y="669"/>
                    </a:lnTo>
                    <a:lnTo>
                      <a:pt x="397" y="668"/>
                    </a:lnTo>
                    <a:lnTo>
                      <a:pt x="398" y="664"/>
                    </a:lnTo>
                    <a:lnTo>
                      <a:pt x="399" y="662"/>
                    </a:lnTo>
                    <a:lnTo>
                      <a:pt x="401" y="662"/>
                    </a:lnTo>
                    <a:lnTo>
                      <a:pt x="404" y="662"/>
                    </a:lnTo>
                    <a:lnTo>
                      <a:pt x="406" y="664"/>
                    </a:lnTo>
                    <a:close/>
                    <a:moveTo>
                      <a:pt x="376" y="666"/>
                    </a:moveTo>
                    <a:lnTo>
                      <a:pt x="379" y="667"/>
                    </a:lnTo>
                    <a:lnTo>
                      <a:pt x="385" y="670"/>
                    </a:lnTo>
                    <a:lnTo>
                      <a:pt x="388" y="670"/>
                    </a:lnTo>
                    <a:lnTo>
                      <a:pt x="390" y="670"/>
                    </a:lnTo>
                    <a:lnTo>
                      <a:pt x="391" y="671"/>
                    </a:lnTo>
                    <a:lnTo>
                      <a:pt x="392" y="673"/>
                    </a:lnTo>
                    <a:lnTo>
                      <a:pt x="389" y="673"/>
                    </a:lnTo>
                    <a:lnTo>
                      <a:pt x="388" y="676"/>
                    </a:lnTo>
                    <a:lnTo>
                      <a:pt x="390" y="677"/>
                    </a:lnTo>
                    <a:lnTo>
                      <a:pt x="391" y="677"/>
                    </a:lnTo>
                    <a:lnTo>
                      <a:pt x="393" y="675"/>
                    </a:lnTo>
                    <a:lnTo>
                      <a:pt x="396" y="673"/>
                    </a:lnTo>
                    <a:lnTo>
                      <a:pt x="399" y="673"/>
                    </a:lnTo>
                    <a:lnTo>
                      <a:pt x="399" y="674"/>
                    </a:lnTo>
                    <a:lnTo>
                      <a:pt x="396" y="676"/>
                    </a:lnTo>
                    <a:lnTo>
                      <a:pt x="395" y="677"/>
                    </a:lnTo>
                    <a:lnTo>
                      <a:pt x="393" y="678"/>
                    </a:lnTo>
                    <a:lnTo>
                      <a:pt x="391" y="682"/>
                    </a:lnTo>
                    <a:lnTo>
                      <a:pt x="389" y="684"/>
                    </a:lnTo>
                    <a:lnTo>
                      <a:pt x="385" y="682"/>
                    </a:lnTo>
                    <a:lnTo>
                      <a:pt x="383" y="678"/>
                    </a:lnTo>
                    <a:lnTo>
                      <a:pt x="379" y="676"/>
                    </a:lnTo>
                    <a:lnTo>
                      <a:pt x="372" y="668"/>
                    </a:lnTo>
                    <a:lnTo>
                      <a:pt x="371" y="667"/>
                    </a:lnTo>
                    <a:lnTo>
                      <a:pt x="372" y="666"/>
                    </a:lnTo>
                    <a:lnTo>
                      <a:pt x="372" y="664"/>
                    </a:lnTo>
                    <a:lnTo>
                      <a:pt x="370" y="662"/>
                    </a:lnTo>
                    <a:lnTo>
                      <a:pt x="369" y="660"/>
                    </a:lnTo>
                    <a:lnTo>
                      <a:pt x="369" y="659"/>
                    </a:lnTo>
                    <a:lnTo>
                      <a:pt x="370" y="659"/>
                    </a:lnTo>
                    <a:lnTo>
                      <a:pt x="372" y="661"/>
                    </a:lnTo>
                    <a:lnTo>
                      <a:pt x="375" y="664"/>
                    </a:lnTo>
                    <a:lnTo>
                      <a:pt x="376" y="666"/>
                    </a:lnTo>
                    <a:lnTo>
                      <a:pt x="376" y="666"/>
                    </a:lnTo>
                    <a:close/>
                    <a:moveTo>
                      <a:pt x="381" y="651"/>
                    </a:moveTo>
                    <a:lnTo>
                      <a:pt x="381" y="652"/>
                    </a:lnTo>
                    <a:lnTo>
                      <a:pt x="379" y="652"/>
                    </a:lnTo>
                    <a:lnTo>
                      <a:pt x="376" y="649"/>
                    </a:lnTo>
                    <a:lnTo>
                      <a:pt x="377" y="647"/>
                    </a:lnTo>
                    <a:lnTo>
                      <a:pt x="379" y="645"/>
                    </a:lnTo>
                    <a:lnTo>
                      <a:pt x="382" y="646"/>
                    </a:lnTo>
                    <a:lnTo>
                      <a:pt x="384" y="647"/>
                    </a:lnTo>
                    <a:lnTo>
                      <a:pt x="384" y="649"/>
                    </a:lnTo>
                    <a:lnTo>
                      <a:pt x="381" y="651"/>
                    </a:lnTo>
                    <a:lnTo>
                      <a:pt x="381" y="651"/>
                    </a:lnTo>
                    <a:close/>
                    <a:moveTo>
                      <a:pt x="360" y="646"/>
                    </a:moveTo>
                    <a:lnTo>
                      <a:pt x="368" y="652"/>
                    </a:lnTo>
                    <a:lnTo>
                      <a:pt x="369" y="653"/>
                    </a:lnTo>
                    <a:lnTo>
                      <a:pt x="369" y="655"/>
                    </a:lnTo>
                    <a:lnTo>
                      <a:pt x="372" y="656"/>
                    </a:lnTo>
                    <a:lnTo>
                      <a:pt x="375" y="657"/>
                    </a:lnTo>
                    <a:lnTo>
                      <a:pt x="379" y="660"/>
                    </a:lnTo>
                    <a:lnTo>
                      <a:pt x="384" y="665"/>
                    </a:lnTo>
                    <a:lnTo>
                      <a:pt x="386" y="667"/>
                    </a:lnTo>
                    <a:lnTo>
                      <a:pt x="386" y="667"/>
                    </a:lnTo>
                    <a:lnTo>
                      <a:pt x="384" y="668"/>
                    </a:lnTo>
                    <a:lnTo>
                      <a:pt x="382" y="666"/>
                    </a:lnTo>
                    <a:lnTo>
                      <a:pt x="380" y="664"/>
                    </a:lnTo>
                    <a:lnTo>
                      <a:pt x="378" y="664"/>
                    </a:lnTo>
                    <a:lnTo>
                      <a:pt x="376" y="661"/>
                    </a:lnTo>
                    <a:lnTo>
                      <a:pt x="375" y="661"/>
                    </a:lnTo>
                    <a:lnTo>
                      <a:pt x="374" y="661"/>
                    </a:lnTo>
                    <a:lnTo>
                      <a:pt x="372" y="661"/>
                    </a:lnTo>
                    <a:lnTo>
                      <a:pt x="370" y="659"/>
                    </a:lnTo>
                    <a:lnTo>
                      <a:pt x="369" y="657"/>
                    </a:lnTo>
                    <a:lnTo>
                      <a:pt x="368" y="657"/>
                    </a:lnTo>
                    <a:lnTo>
                      <a:pt x="367" y="655"/>
                    </a:lnTo>
                    <a:lnTo>
                      <a:pt x="367" y="654"/>
                    </a:lnTo>
                    <a:lnTo>
                      <a:pt x="365" y="653"/>
                    </a:lnTo>
                    <a:lnTo>
                      <a:pt x="362" y="653"/>
                    </a:lnTo>
                    <a:lnTo>
                      <a:pt x="362" y="652"/>
                    </a:lnTo>
                    <a:lnTo>
                      <a:pt x="361" y="649"/>
                    </a:lnTo>
                    <a:lnTo>
                      <a:pt x="359" y="647"/>
                    </a:lnTo>
                    <a:lnTo>
                      <a:pt x="355" y="648"/>
                    </a:lnTo>
                    <a:lnTo>
                      <a:pt x="354" y="649"/>
                    </a:lnTo>
                    <a:lnTo>
                      <a:pt x="353" y="650"/>
                    </a:lnTo>
                    <a:lnTo>
                      <a:pt x="353" y="648"/>
                    </a:lnTo>
                    <a:lnTo>
                      <a:pt x="354" y="646"/>
                    </a:lnTo>
                    <a:lnTo>
                      <a:pt x="356" y="645"/>
                    </a:lnTo>
                    <a:lnTo>
                      <a:pt x="360" y="646"/>
                    </a:lnTo>
                    <a:lnTo>
                      <a:pt x="360" y="646"/>
                    </a:lnTo>
                    <a:close/>
                    <a:moveTo>
                      <a:pt x="393" y="642"/>
                    </a:moveTo>
                    <a:lnTo>
                      <a:pt x="393" y="644"/>
                    </a:lnTo>
                    <a:lnTo>
                      <a:pt x="391" y="643"/>
                    </a:lnTo>
                    <a:lnTo>
                      <a:pt x="391" y="645"/>
                    </a:lnTo>
                    <a:lnTo>
                      <a:pt x="391" y="645"/>
                    </a:lnTo>
                    <a:lnTo>
                      <a:pt x="392" y="648"/>
                    </a:lnTo>
                    <a:lnTo>
                      <a:pt x="393" y="653"/>
                    </a:lnTo>
                    <a:lnTo>
                      <a:pt x="393" y="655"/>
                    </a:lnTo>
                    <a:lnTo>
                      <a:pt x="391" y="652"/>
                    </a:lnTo>
                    <a:lnTo>
                      <a:pt x="390" y="651"/>
                    </a:lnTo>
                    <a:lnTo>
                      <a:pt x="389" y="649"/>
                    </a:lnTo>
                    <a:lnTo>
                      <a:pt x="389" y="640"/>
                    </a:lnTo>
                    <a:lnTo>
                      <a:pt x="390" y="639"/>
                    </a:lnTo>
                    <a:lnTo>
                      <a:pt x="391" y="638"/>
                    </a:lnTo>
                    <a:lnTo>
                      <a:pt x="392" y="639"/>
                    </a:lnTo>
                    <a:lnTo>
                      <a:pt x="393" y="641"/>
                    </a:lnTo>
                    <a:lnTo>
                      <a:pt x="393" y="642"/>
                    </a:lnTo>
                    <a:lnTo>
                      <a:pt x="393" y="642"/>
                    </a:lnTo>
                    <a:close/>
                    <a:moveTo>
                      <a:pt x="333" y="635"/>
                    </a:moveTo>
                    <a:lnTo>
                      <a:pt x="338" y="639"/>
                    </a:lnTo>
                    <a:lnTo>
                      <a:pt x="340" y="641"/>
                    </a:lnTo>
                    <a:lnTo>
                      <a:pt x="342" y="641"/>
                    </a:lnTo>
                    <a:lnTo>
                      <a:pt x="344" y="641"/>
                    </a:lnTo>
                    <a:lnTo>
                      <a:pt x="345" y="644"/>
                    </a:lnTo>
                    <a:lnTo>
                      <a:pt x="346" y="645"/>
                    </a:lnTo>
                    <a:lnTo>
                      <a:pt x="347" y="645"/>
                    </a:lnTo>
                    <a:lnTo>
                      <a:pt x="349" y="643"/>
                    </a:lnTo>
                    <a:lnTo>
                      <a:pt x="350" y="643"/>
                    </a:lnTo>
                    <a:lnTo>
                      <a:pt x="353" y="645"/>
                    </a:lnTo>
                    <a:lnTo>
                      <a:pt x="353" y="646"/>
                    </a:lnTo>
                    <a:lnTo>
                      <a:pt x="351" y="648"/>
                    </a:lnTo>
                    <a:lnTo>
                      <a:pt x="350" y="648"/>
                    </a:lnTo>
                    <a:lnTo>
                      <a:pt x="349" y="648"/>
                    </a:lnTo>
                    <a:lnTo>
                      <a:pt x="346" y="647"/>
                    </a:lnTo>
                    <a:lnTo>
                      <a:pt x="333" y="639"/>
                    </a:lnTo>
                    <a:lnTo>
                      <a:pt x="330" y="639"/>
                    </a:lnTo>
                    <a:lnTo>
                      <a:pt x="329" y="641"/>
                    </a:lnTo>
                    <a:lnTo>
                      <a:pt x="327" y="640"/>
                    </a:lnTo>
                    <a:lnTo>
                      <a:pt x="323" y="638"/>
                    </a:lnTo>
                    <a:lnTo>
                      <a:pt x="322" y="635"/>
                    </a:lnTo>
                    <a:lnTo>
                      <a:pt x="321" y="631"/>
                    </a:lnTo>
                    <a:lnTo>
                      <a:pt x="322" y="628"/>
                    </a:lnTo>
                    <a:lnTo>
                      <a:pt x="326" y="624"/>
                    </a:lnTo>
                    <a:lnTo>
                      <a:pt x="328" y="621"/>
                    </a:lnTo>
                    <a:lnTo>
                      <a:pt x="330" y="620"/>
                    </a:lnTo>
                    <a:lnTo>
                      <a:pt x="330" y="622"/>
                    </a:lnTo>
                    <a:lnTo>
                      <a:pt x="329" y="624"/>
                    </a:lnTo>
                    <a:lnTo>
                      <a:pt x="326" y="628"/>
                    </a:lnTo>
                    <a:lnTo>
                      <a:pt x="326" y="630"/>
                    </a:lnTo>
                    <a:lnTo>
                      <a:pt x="327" y="631"/>
                    </a:lnTo>
                    <a:lnTo>
                      <a:pt x="328" y="632"/>
                    </a:lnTo>
                    <a:lnTo>
                      <a:pt x="330" y="632"/>
                    </a:lnTo>
                    <a:lnTo>
                      <a:pt x="331" y="633"/>
                    </a:lnTo>
                    <a:lnTo>
                      <a:pt x="333" y="635"/>
                    </a:lnTo>
                    <a:lnTo>
                      <a:pt x="333" y="635"/>
                    </a:lnTo>
                    <a:close/>
                    <a:moveTo>
                      <a:pt x="337" y="618"/>
                    </a:moveTo>
                    <a:lnTo>
                      <a:pt x="338" y="619"/>
                    </a:lnTo>
                    <a:lnTo>
                      <a:pt x="340" y="618"/>
                    </a:lnTo>
                    <a:lnTo>
                      <a:pt x="340" y="619"/>
                    </a:lnTo>
                    <a:lnTo>
                      <a:pt x="339" y="621"/>
                    </a:lnTo>
                    <a:lnTo>
                      <a:pt x="338" y="622"/>
                    </a:lnTo>
                    <a:lnTo>
                      <a:pt x="336" y="621"/>
                    </a:lnTo>
                    <a:lnTo>
                      <a:pt x="332" y="618"/>
                    </a:lnTo>
                    <a:lnTo>
                      <a:pt x="331" y="617"/>
                    </a:lnTo>
                    <a:lnTo>
                      <a:pt x="330" y="615"/>
                    </a:lnTo>
                    <a:lnTo>
                      <a:pt x="329" y="609"/>
                    </a:lnTo>
                    <a:lnTo>
                      <a:pt x="329" y="602"/>
                    </a:lnTo>
                    <a:lnTo>
                      <a:pt x="331" y="595"/>
                    </a:lnTo>
                    <a:lnTo>
                      <a:pt x="336" y="592"/>
                    </a:lnTo>
                    <a:lnTo>
                      <a:pt x="333" y="596"/>
                    </a:lnTo>
                    <a:lnTo>
                      <a:pt x="331" y="599"/>
                    </a:lnTo>
                    <a:lnTo>
                      <a:pt x="331" y="603"/>
                    </a:lnTo>
                    <a:lnTo>
                      <a:pt x="332" y="606"/>
                    </a:lnTo>
                    <a:lnTo>
                      <a:pt x="336" y="609"/>
                    </a:lnTo>
                    <a:lnTo>
                      <a:pt x="338" y="610"/>
                    </a:lnTo>
                    <a:lnTo>
                      <a:pt x="338" y="611"/>
                    </a:lnTo>
                    <a:lnTo>
                      <a:pt x="337" y="614"/>
                    </a:lnTo>
                    <a:lnTo>
                      <a:pt x="337" y="617"/>
                    </a:lnTo>
                    <a:lnTo>
                      <a:pt x="337" y="618"/>
                    </a:lnTo>
                    <a:close/>
                    <a:moveTo>
                      <a:pt x="740" y="157"/>
                    </a:moveTo>
                    <a:lnTo>
                      <a:pt x="743" y="160"/>
                    </a:lnTo>
                    <a:lnTo>
                      <a:pt x="746" y="162"/>
                    </a:lnTo>
                    <a:lnTo>
                      <a:pt x="750" y="164"/>
                    </a:lnTo>
                    <a:lnTo>
                      <a:pt x="804" y="176"/>
                    </a:lnTo>
                    <a:lnTo>
                      <a:pt x="813" y="180"/>
                    </a:lnTo>
                    <a:lnTo>
                      <a:pt x="819" y="183"/>
                    </a:lnTo>
                    <a:lnTo>
                      <a:pt x="823" y="188"/>
                    </a:lnTo>
                    <a:lnTo>
                      <a:pt x="823" y="189"/>
                    </a:lnTo>
                    <a:lnTo>
                      <a:pt x="828" y="192"/>
                    </a:lnTo>
                    <a:lnTo>
                      <a:pt x="832" y="196"/>
                    </a:lnTo>
                    <a:lnTo>
                      <a:pt x="843" y="201"/>
                    </a:lnTo>
                    <a:lnTo>
                      <a:pt x="862" y="217"/>
                    </a:lnTo>
                    <a:lnTo>
                      <a:pt x="872" y="228"/>
                    </a:lnTo>
                    <a:lnTo>
                      <a:pt x="874" y="231"/>
                    </a:lnTo>
                    <a:lnTo>
                      <a:pt x="876" y="236"/>
                    </a:lnTo>
                    <a:lnTo>
                      <a:pt x="894" y="310"/>
                    </a:lnTo>
                    <a:lnTo>
                      <a:pt x="895" y="313"/>
                    </a:lnTo>
                    <a:lnTo>
                      <a:pt x="898" y="317"/>
                    </a:lnTo>
                    <a:lnTo>
                      <a:pt x="901" y="320"/>
                    </a:lnTo>
                    <a:lnTo>
                      <a:pt x="907" y="324"/>
                    </a:lnTo>
                    <a:lnTo>
                      <a:pt x="928" y="335"/>
                    </a:lnTo>
                    <a:lnTo>
                      <a:pt x="932" y="338"/>
                    </a:lnTo>
                    <a:lnTo>
                      <a:pt x="935" y="342"/>
                    </a:lnTo>
                    <a:lnTo>
                      <a:pt x="936" y="346"/>
                    </a:lnTo>
                    <a:lnTo>
                      <a:pt x="935" y="350"/>
                    </a:lnTo>
                    <a:lnTo>
                      <a:pt x="933" y="354"/>
                    </a:lnTo>
                    <a:lnTo>
                      <a:pt x="932" y="358"/>
                    </a:lnTo>
                    <a:lnTo>
                      <a:pt x="928" y="361"/>
                    </a:lnTo>
                    <a:lnTo>
                      <a:pt x="907" y="380"/>
                    </a:lnTo>
                    <a:lnTo>
                      <a:pt x="900" y="389"/>
                    </a:lnTo>
                    <a:lnTo>
                      <a:pt x="895" y="400"/>
                    </a:lnTo>
                    <a:lnTo>
                      <a:pt x="885" y="430"/>
                    </a:lnTo>
                    <a:lnTo>
                      <a:pt x="882" y="436"/>
                    </a:lnTo>
                    <a:lnTo>
                      <a:pt x="879" y="440"/>
                    </a:lnTo>
                    <a:lnTo>
                      <a:pt x="877" y="442"/>
                    </a:lnTo>
                    <a:lnTo>
                      <a:pt x="871" y="434"/>
                    </a:lnTo>
                    <a:lnTo>
                      <a:pt x="868" y="431"/>
                    </a:lnTo>
                    <a:lnTo>
                      <a:pt x="865" y="429"/>
                    </a:lnTo>
                    <a:lnTo>
                      <a:pt x="860" y="428"/>
                    </a:lnTo>
                    <a:lnTo>
                      <a:pt x="791" y="440"/>
                    </a:lnTo>
                    <a:lnTo>
                      <a:pt x="775" y="440"/>
                    </a:lnTo>
                    <a:lnTo>
                      <a:pt x="766" y="438"/>
                    </a:lnTo>
                    <a:lnTo>
                      <a:pt x="760" y="436"/>
                    </a:lnTo>
                    <a:lnTo>
                      <a:pt x="739" y="420"/>
                    </a:lnTo>
                    <a:lnTo>
                      <a:pt x="718" y="413"/>
                    </a:lnTo>
                    <a:lnTo>
                      <a:pt x="713" y="410"/>
                    </a:lnTo>
                    <a:lnTo>
                      <a:pt x="708" y="406"/>
                    </a:lnTo>
                    <a:lnTo>
                      <a:pt x="706" y="399"/>
                    </a:lnTo>
                    <a:lnTo>
                      <a:pt x="704" y="395"/>
                    </a:lnTo>
                    <a:lnTo>
                      <a:pt x="700" y="392"/>
                    </a:lnTo>
                    <a:lnTo>
                      <a:pt x="697" y="391"/>
                    </a:lnTo>
                    <a:lnTo>
                      <a:pt x="695" y="394"/>
                    </a:lnTo>
                    <a:lnTo>
                      <a:pt x="694" y="396"/>
                    </a:lnTo>
                    <a:lnTo>
                      <a:pt x="695" y="401"/>
                    </a:lnTo>
                    <a:lnTo>
                      <a:pt x="696" y="404"/>
                    </a:lnTo>
                    <a:lnTo>
                      <a:pt x="695" y="407"/>
                    </a:lnTo>
                    <a:lnTo>
                      <a:pt x="691" y="409"/>
                    </a:lnTo>
                    <a:lnTo>
                      <a:pt x="687" y="409"/>
                    </a:lnTo>
                    <a:lnTo>
                      <a:pt x="683" y="407"/>
                    </a:lnTo>
                    <a:lnTo>
                      <a:pt x="670" y="401"/>
                    </a:lnTo>
                    <a:lnTo>
                      <a:pt x="665" y="400"/>
                    </a:lnTo>
                    <a:lnTo>
                      <a:pt x="661" y="399"/>
                    </a:lnTo>
                    <a:lnTo>
                      <a:pt x="657" y="400"/>
                    </a:lnTo>
                    <a:lnTo>
                      <a:pt x="655" y="401"/>
                    </a:lnTo>
                    <a:lnTo>
                      <a:pt x="640" y="413"/>
                    </a:lnTo>
                    <a:lnTo>
                      <a:pt x="635" y="416"/>
                    </a:lnTo>
                    <a:lnTo>
                      <a:pt x="630" y="418"/>
                    </a:lnTo>
                    <a:lnTo>
                      <a:pt x="627" y="417"/>
                    </a:lnTo>
                    <a:lnTo>
                      <a:pt x="625" y="413"/>
                    </a:lnTo>
                    <a:lnTo>
                      <a:pt x="625" y="410"/>
                    </a:lnTo>
                    <a:lnTo>
                      <a:pt x="626" y="406"/>
                    </a:lnTo>
                    <a:lnTo>
                      <a:pt x="626" y="403"/>
                    </a:lnTo>
                    <a:lnTo>
                      <a:pt x="625" y="399"/>
                    </a:lnTo>
                    <a:lnTo>
                      <a:pt x="622" y="396"/>
                    </a:lnTo>
                    <a:lnTo>
                      <a:pt x="611" y="388"/>
                    </a:lnTo>
                    <a:lnTo>
                      <a:pt x="609" y="386"/>
                    </a:lnTo>
                    <a:lnTo>
                      <a:pt x="608" y="382"/>
                    </a:lnTo>
                    <a:lnTo>
                      <a:pt x="607" y="380"/>
                    </a:lnTo>
                    <a:lnTo>
                      <a:pt x="608" y="376"/>
                    </a:lnTo>
                    <a:lnTo>
                      <a:pt x="607" y="374"/>
                    </a:lnTo>
                    <a:lnTo>
                      <a:pt x="605" y="372"/>
                    </a:lnTo>
                    <a:lnTo>
                      <a:pt x="602" y="369"/>
                    </a:lnTo>
                    <a:lnTo>
                      <a:pt x="600" y="368"/>
                    </a:lnTo>
                    <a:lnTo>
                      <a:pt x="595" y="367"/>
                    </a:lnTo>
                    <a:lnTo>
                      <a:pt x="579" y="367"/>
                    </a:lnTo>
                    <a:lnTo>
                      <a:pt x="572" y="365"/>
                    </a:lnTo>
                    <a:lnTo>
                      <a:pt x="566" y="363"/>
                    </a:lnTo>
                    <a:lnTo>
                      <a:pt x="563" y="359"/>
                    </a:lnTo>
                    <a:lnTo>
                      <a:pt x="554" y="345"/>
                    </a:lnTo>
                    <a:lnTo>
                      <a:pt x="550" y="339"/>
                    </a:lnTo>
                    <a:lnTo>
                      <a:pt x="547" y="331"/>
                    </a:lnTo>
                    <a:lnTo>
                      <a:pt x="542" y="314"/>
                    </a:lnTo>
                    <a:lnTo>
                      <a:pt x="541" y="311"/>
                    </a:lnTo>
                    <a:lnTo>
                      <a:pt x="538" y="307"/>
                    </a:lnTo>
                    <a:lnTo>
                      <a:pt x="534" y="304"/>
                    </a:lnTo>
                    <a:lnTo>
                      <a:pt x="531" y="304"/>
                    </a:lnTo>
                    <a:lnTo>
                      <a:pt x="528" y="304"/>
                    </a:lnTo>
                    <a:lnTo>
                      <a:pt x="497" y="320"/>
                    </a:lnTo>
                    <a:lnTo>
                      <a:pt x="493" y="321"/>
                    </a:lnTo>
                    <a:lnTo>
                      <a:pt x="489" y="322"/>
                    </a:lnTo>
                    <a:lnTo>
                      <a:pt x="485" y="322"/>
                    </a:lnTo>
                    <a:lnTo>
                      <a:pt x="478" y="321"/>
                    </a:lnTo>
                    <a:lnTo>
                      <a:pt x="474" y="319"/>
                    </a:lnTo>
                    <a:lnTo>
                      <a:pt x="459" y="310"/>
                    </a:lnTo>
                    <a:lnTo>
                      <a:pt x="451" y="307"/>
                    </a:lnTo>
                    <a:lnTo>
                      <a:pt x="446" y="305"/>
                    </a:lnTo>
                    <a:lnTo>
                      <a:pt x="442" y="305"/>
                    </a:lnTo>
                    <a:lnTo>
                      <a:pt x="438" y="307"/>
                    </a:lnTo>
                    <a:lnTo>
                      <a:pt x="395" y="327"/>
                    </a:lnTo>
                    <a:lnTo>
                      <a:pt x="376" y="332"/>
                    </a:lnTo>
                    <a:lnTo>
                      <a:pt x="373" y="334"/>
                    </a:lnTo>
                    <a:lnTo>
                      <a:pt x="369" y="337"/>
                    </a:lnTo>
                    <a:lnTo>
                      <a:pt x="369" y="340"/>
                    </a:lnTo>
                    <a:lnTo>
                      <a:pt x="369" y="343"/>
                    </a:lnTo>
                    <a:lnTo>
                      <a:pt x="372" y="345"/>
                    </a:lnTo>
                    <a:lnTo>
                      <a:pt x="376" y="345"/>
                    </a:lnTo>
                    <a:lnTo>
                      <a:pt x="386" y="343"/>
                    </a:lnTo>
                    <a:lnTo>
                      <a:pt x="390" y="343"/>
                    </a:lnTo>
                    <a:lnTo>
                      <a:pt x="391" y="343"/>
                    </a:lnTo>
                    <a:lnTo>
                      <a:pt x="395" y="344"/>
                    </a:lnTo>
                    <a:lnTo>
                      <a:pt x="398" y="347"/>
                    </a:lnTo>
                    <a:lnTo>
                      <a:pt x="400" y="350"/>
                    </a:lnTo>
                    <a:lnTo>
                      <a:pt x="402" y="351"/>
                    </a:lnTo>
                    <a:lnTo>
                      <a:pt x="403" y="355"/>
                    </a:lnTo>
                    <a:lnTo>
                      <a:pt x="406" y="366"/>
                    </a:lnTo>
                    <a:lnTo>
                      <a:pt x="406" y="371"/>
                    </a:lnTo>
                    <a:lnTo>
                      <a:pt x="406" y="381"/>
                    </a:lnTo>
                    <a:lnTo>
                      <a:pt x="402" y="407"/>
                    </a:lnTo>
                    <a:lnTo>
                      <a:pt x="402" y="415"/>
                    </a:lnTo>
                    <a:lnTo>
                      <a:pt x="403" y="419"/>
                    </a:lnTo>
                    <a:lnTo>
                      <a:pt x="404" y="424"/>
                    </a:lnTo>
                    <a:lnTo>
                      <a:pt x="406" y="427"/>
                    </a:lnTo>
                    <a:lnTo>
                      <a:pt x="408" y="432"/>
                    </a:lnTo>
                    <a:lnTo>
                      <a:pt x="411" y="435"/>
                    </a:lnTo>
                    <a:lnTo>
                      <a:pt x="414" y="439"/>
                    </a:lnTo>
                    <a:lnTo>
                      <a:pt x="418" y="441"/>
                    </a:lnTo>
                    <a:lnTo>
                      <a:pt x="422" y="443"/>
                    </a:lnTo>
                    <a:lnTo>
                      <a:pt x="442" y="449"/>
                    </a:lnTo>
                    <a:lnTo>
                      <a:pt x="445" y="450"/>
                    </a:lnTo>
                    <a:lnTo>
                      <a:pt x="448" y="454"/>
                    </a:lnTo>
                    <a:lnTo>
                      <a:pt x="450" y="458"/>
                    </a:lnTo>
                    <a:lnTo>
                      <a:pt x="450" y="463"/>
                    </a:lnTo>
                    <a:lnTo>
                      <a:pt x="449" y="467"/>
                    </a:lnTo>
                    <a:lnTo>
                      <a:pt x="448" y="470"/>
                    </a:lnTo>
                    <a:lnTo>
                      <a:pt x="437" y="487"/>
                    </a:lnTo>
                    <a:lnTo>
                      <a:pt x="435" y="495"/>
                    </a:lnTo>
                    <a:lnTo>
                      <a:pt x="434" y="498"/>
                    </a:lnTo>
                    <a:lnTo>
                      <a:pt x="434" y="502"/>
                    </a:lnTo>
                    <a:lnTo>
                      <a:pt x="434" y="506"/>
                    </a:lnTo>
                    <a:lnTo>
                      <a:pt x="435" y="510"/>
                    </a:lnTo>
                    <a:lnTo>
                      <a:pt x="444" y="530"/>
                    </a:lnTo>
                    <a:lnTo>
                      <a:pt x="447" y="537"/>
                    </a:lnTo>
                    <a:lnTo>
                      <a:pt x="449" y="545"/>
                    </a:lnTo>
                    <a:lnTo>
                      <a:pt x="450" y="548"/>
                    </a:lnTo>
                    <a:lnTo>
                      <a:pt x="451" y="550"/>
                    </a:lnTo>
                    <a:lnTo>
                      <a:pt x="453" y="549"/>
                    </a:lnTo>
                    <a:lnTo>
                      <a:pt x="460" y="545"/>
                    </a:lnTo>
                    <a:lnTo>
                      <a:pt x="464" y="543"/>
                    </a:lnTo>
                    <a:lnTo>
                      <a:pt x="467" y="544"/>
                    </a:lnTo>
                    <a:lnTo>
                      <a:pt x="497" y="562"/>
                    </a:lnTo>
                    <a:lnTo>
                      <a:pt x="499" y="563"/>
                    </a:lnTo>
                    <a:lnTo>
                      <a:pt x="501" y="565"/>
                    </a:lnTo>
                    <a:lnTo>
                      <a:pt x="504" y="575"/>
                    </a:lnTo>
                    <a:lnTo>
                      <a:pt x="505" y="579"/>
                    </a:lnTo>
                    <a:lnTo>
                      <a:pt x="507" y="583"/>
                    </a:lnTo>
                    <a:lnTo>
                      <a:pt x="510" y="586"/>
                    </a:lnTo>
                    <a:lnTo>
                      <a:pt x="532" y="605"/>
                    </a:lnTo>
                    <a:lnTo>
                      <a:pt x="534" y="609"/>
                    </a:lnTo>
                    <a:lnTo>
                      <a:pt x="537" y="612"/>
                    </a:lnTo>
                    <a:lnTo>
                      <a:pt x="540" y="617"/>
                    </a:lnTo>
                    <a:lnTo>
                      <a:pt x="545" y="632"/>
                    </a:lnTo>
                    <a:lnTo>
                      <a:pt x="551" y="654"/>
                    </a:lnTo>
                    <a:lnTo>
                      <a:pt x="552" y="658"/>
                    </a:lnTo>
                    <a:lnTo>
                      <a:pt x="554" y="659"/>
                    </a:lnTo>
                    <a:lnTo>
                      <a:pt x="557" y="660"/>
                    </a:lnTo>
                    <a:lnTo>
                      <a:pt x="567" y="660"/>
                    </a:lnTo>
                    <a:lnTo>
                      <a:pt x="571" y="661"/>
                    </a:lnTo>
                    <a:lnTo>
                      <a:pt x="573" y="662"/>
                    </a:lnTo>
                    <a:lnTo>
                      <a:pt x="575" y="664"/>
                    </a:lnTo>
                    <a:lnTo>
                      <a:pt x="577" y="668"/>
                    </a:lnTo>
                    <a:lnTo>
                      <a:pt x="577" y="671"/>
                    </a:lnTo>
                    <a:lnTo>
                      <a:pt x="571" y="714"/>
                    </a:lnTo>
                    <a:lnTo>
                      <a:pt x="573" y="774"/>
                    </a:lnTo>
                    <a:lnTo>
                      <a:pt x="572" y="777"/>
                    </a:lnTo>
                    <a:lnTo>
                      <a:pt x="571" y="781"/>
                    </a:lnTo>
                    <a:lnTo>
                      <a:pt x="567" y="785"/>
                    </a:lnTo>
                    <a:lnTo>
                      <a:pt x="564" y="788"/>
                    </a:lnTo>
                    <a:lnTo>
                      <a:pt x="559" y="790"/>
                    </a:lnTo>
                    <a:lnTo>
                      <a:pt x="556" y="791"/>
                    </a:lnTo>
                    <a:lnTo>
                      <a:pt x="547" y="791"/>
                    </a:lnTo>
                    <a:lnTo>
                      <a:pt x="540" y="790"/>
                    </a:lnTo>
                    <a:lnTo>
                      <a:pt x="536" y="789"/>
                    </a:lnTo>
                    <a:lnTo>
                      <a:pt x="533" y="790"/>
                    </a:lnTo>
                    <a:lnTo>
                      <a:pt x="528" y="792"/>
                    </a:lnTo>
                    <a:lnTo>
                      <a:pt x="525" y="796"/>
                    </a:lnTo>
                    <a:lnTo>
                      <a:pt x="520" y="801"/>
                    </a:lnTo>
                    <a:lnTo>
                      <a:pt x="517" y="806"/>
                    </a:lnTo>
                    <a:lnTo>
                      <a:pt x="512" y="808"/>
                    </a:lnTo>
                    <a:lnTo>
                      <a:pt x="508" y="809"/>
                    </a:lnTo>
                    <a:lnTo>
                      <a:pt x="504" y="811"/>
                    </a:lnTo>
                    <a:lnTo>
                      <a:pt x="498" y="812"/>
                    </a:lnTo>
                    <a:lnTo>
                      <a:pt x="484" y="812"/>
                    </a:lnTo>
                    <a:lnTo>
                      <a:pt x="481" y="813"/>
                    </a:lnTo>
                    <a:lnTo>
                      <a:pt x="478" y="815"/>
                    </a:lnTo>
                    <a:lnTo>
                      <a:pt x="475" y="817"/>
                    </a:lnTo>
                    <a:lnTo>
                      <a:pt x="473" y="821"/>
                    </a:lnTo>
                    <a:lnTo>
                      <a:pt x="472" y="823"/>
                    </a:lnTo>
                    <a:lnTo>
                      <a:pt x="470" y="835"/>
                    </a:lnTo>
                    <a:lnTo>
                      <a:pt x="469" y="836"/>
                    </a:lnTo>
                    <a:lnTo>
                      <a:pt x="459" y="820"/>
                    </a:lnTo>
                    <a:lnTo>
                      <a:pt x="449" y="806"/>
                    </a:lnTo>
                    <a:lnTo>
                      <a:pt x="444" y="799"/>
                    </a:lnTo>
                    <a:lnTo>
                      <a:pt x="444" y="794"/>
                    </a:lnTo>
                    <a:lnTo>
                      <a:pt x="444" y="793"/>
                    </a:lnTo>
                    <a:lnTo>
                      <a:pt x="444" y="791"/>
                    </a:lnTo>
                    <a:lnTo>
                      <a:pt x="444" y="789"/>
                    </a:lnTo>
                    <a:lnTo>
                      <a:pt x="444" y="788"/>
                    </a:lnTo>
                    <a:lnTo>
                      <a:pt x="443" y="787"/>
                    </a:lnTo>
                    <a:lnTo>
                      <a:pt x="440" y="790"/>
                    </a:lnTo>
                    <a:lnTo>
                      <a:pt x="438" y="790"/>
                    </a:lnTo>
                    <a:lnTo>
                      <a:pt x="436" y="788"/>
                    </a:lnTo>
                    <a:lnTo>
                      <a:pt x="434" y="784"/>
                    </a:lnTo>
                    <a:lnTo>
                      <a:pt x="430" y="778"/>
                    </a:lnTo>
                    <a:lnTo>
                      <a:pt x="435" y="778"/>
                    </a:lnTo>
                    <a:lnTo>
                      <a:pt x="438" y="779"/>
                    </a:lnTo>
                    <a:lnTo>
                      <a:pt x="443" y="779"/>
                    </a:lnTo>
                    <a:lnTo>
                      <a:pt x="446" y="777"/>
                    </a:lnTo>
                    <a:lnTo>
                      <a:pt x="449" y="775"/>
                    </a:lnTo>
                    <a:lnTo>
                      <a:pt x="449" y="765"/>
                    </a:lnTo>
                    <a:lnTo>
                      <a:pt x="452" y="758"/>
                    </a:lnTo>
                    <a:lnTo>
                      <a:pt x="451" y="754"/>
                    </a:lnTo>
                    <a:lnTo>
                      <a:pt x="449" y="746"/>
                    </a:lnTo>
                    <a:lnTo>
                      <a:pt x="448" y="741"/>
                    </a:lnTo>
                    <a:lnTo>
                      <a:pt x="449" y="730"/>
                    </a:lnTo>
                    <a:lnTo>
                      <a:pt x="448" y="726"/>
                    </a:lnTo>
                    <a:lnTo>
                      <a:pt x="448" y="722"/>
                    </a:lnTo>
                    <a:lnTo>
                      <a:pt x="446" y="718"/>
                    </a:lnTo>
                    <a:lnTo>
                      <a:pt x="444" y="715"/>
                    </a:lnTo>
                    <a:lnTo>
                      <a:pt x="441" y="711"/>
                    </a:lnTo>
                    <a:lnTo>
                      <a:pt x="439" y="709"/>
                    </a:lnTo>
                    <a:lnTo>
                      <a:pt x="437" y="708"/>
                    </a:lnTo>
                    <a:lnTo>
                      <a:pt x="436" y="707"/>
                    </a:lnTo>
                    <a:lnTo>
                      <a:pt x="434" y="703"/>
                    </a:lnTo>
                    <a:lnTo>
                      <a:pt x="433" y="701"/>
                    </a:lnTo>
                    <a:lnTo>
                      <a:pt x="429" y="699"/>
                    </a:lnTo>
                    <a:lnTo>
                      <a:pt x="426" y="695"/>
                    </a:lnTo>
                    <a:lnTo>
                      <a:pt x="423" y="691"/>
                    </a:lnTo>
                    <a:lnTo>
                      <a:pt x="421" y="687"/>
                    </a:lnTo>
                    <a:lnTo>
                      <a:pt x="421" y="685"/>
                    </a:lnTo>
                    <a:lnTo>
                      <a:pt x="421" y="681"/>
                    </a:lnTo>
                    <a:lnTo>
                      <a:pt x="420" y="679"/>
                    </a:lnTo>
                    <a:lnTo>
                      <a:pt x="419" y="677"/>
                    </a:lnTo>
                    <a:lnTo>
                      <a:pt x="416" y="675"/>
                    </a:lnTo>
                    <a:lnTo>
                      <a:pt x="415" y="673"/>
                    </a:lnTo>
                    <a:lnTo>
                      <a:pt x="419" y="671"/>
                    </a:lnTo>
                    <a:lnTo>
                      <a:pt x="416" y="667"/>
                    </a:lnTo>
                    <a:lnTo>
                      <a:pt x="409" y="659"/>
                    </a:lnTo>
                    <a:lnTo>
                      <a:pt x="407" y="657"/>
                    </a:lnTo>
                    <a:lnTo>
                      <a:pt x="405" y="648"/>
                    </a:lnTo>
                    <a:lnTo>
                      <a:pt x="404" y="647"/>
                    </a:lnTo>
                    <a:lnTo>
                      <a:pt x="401" y="646"/>
                    </a:lnTo>
                    <a:lnTo>
                      <a:pt x="400" y="645"/>
                    </a:lnTo>
                    <a:lnTo>
                      <a:pt x="400" y="644"/>
                    </a:lnTo>
                    <a:lnTo>
                      <a:pt x="400" y="641"/>
                    </a:lnTo>
                    <a:lnTo>
                      <a:pt x="399" y="639"/>
                    </a:lnTo>
                    <a:lnTo>
                      <a:pt x="396" y="632"/>
                    </a:lnTo>
                    <a:lnTo>
                      <a:pt x="395" y="631"/>
                    </a:lnTo>
                    <a:lnTo>
                      <a:pt x="393" y="629"/>
                    </a:lnTo>
                    <a:lnTo>
                      <a:pt x="388" y="627"/>
                    </a:lnTo>
                    <a:lnTo>
                      <a:pt x="386" y="626"/>
                    </a:lnTo>
                    <a:lnTo>
                      <a:pt x="379" y="616"/>
                    </a:lnTo>
                    <a:lnTo>
                      <a:pt x="375" y="610"/>
                    </a:lnTo>
                    <a:lnTo>
                      <a:pt x="371" y="609"/>
                    </a:lnTo>
                    <a:lnTo>
                      <a:pt x="371" y="612"/>
                    </a:lnTo>
                    <a:lnTo>
                      <a:pt x="372" y="614"/>
                    </a:lnTo>
                    <a:lnTo>
                      <a:pt x="373" y="616"/>
                    </a:lnTo>
                    <a:lnTo>
                      <a:pt x="371" y="617"/>
                    </a:lnTo>
                    <a:lnTo>
                      <a:pt x="369" y="617"/>
                    </a:lnTo>
                    <a:lnTo>
                      <a:pt x="363" y="613"/>
                    </a:lnTo>
                    <a:lnTo>
                      <a:pt x="361" y="612"/>
                    </a:lnTo>
                    <a:lnTo>
                      <a:pt x="360" y="611"/>
                    </a:lnTo>
                    <a:lnTo>
                      <a:pt x="356" y="606"/>
                    </a:lnTo>
                    <a:lnTo>
                      <a:pt x="354" y="604"/>
                    </a:lnTo>
                    <a:lnTo>
                      <a:pt x="354" y="603"/>
                    </a:lnTo>
                    <a:lnTo>
                      <a:pt x="354" y="599"/>
                    </a:lnTo>
                    <a:lnTo>
                      <a:pt x="354" y="598"/>
                    </a:lnTo>
                    <a:lnTo>
                      <a:pt x="353" y="597"/>
                    </a:lnTo>
                    <a:lnTo>
                      <a:pt x="351" y="597"/>
                    </a:lnTo>
                    <a:lnTo>
                      <a:pt x="349" y="592"/>
                    </a:lnTo>
                    <a:lnTo>
                      <a:pt x="349" y="587"/>
                    </a:lnTo>
                    <a:lnTo>
                      <a:pt x="351" y="583"/>
                    </a:lnTo>
                    <a:lnTo>
                      <a:pt x="354" y="579"/>
                    </a:lnTo>
                    <a:lnTo>
                      <a:pt x="356" y="576"/>
                    </a:lnTo>
                    <a:lnTo>
                      <a:pt x="357" y="571"/>
                    </a:lnTo>
                    <a:lnTo>
                      <a:pt x="356" y="565"/>
                    </a:lnTo>
                    <a:lnTo>
                      <a:pt x="354" y="561"/>
                    </a:lnTo>
                    <a:lnTo>
                      <a:pt x="351" y="556"/>
                    </a:lnTo>
                    <a:lnTo>
                      <a:pt x="346" y="554"/>
                    </a:lnTo>
                    <a:lnTo>
                      <a:pt x="339" y="552"/>
                    </a:lnTo>
                    <a:lnTo>
                      <a:pt x="334" y="552"/>
                    </a:lnTo>
                    <a:lnTo>
                      <a:pt x="328" y="549"/>
                    </a:lnTo>
                    <a:lnTo>
                      <a:pt x="324" y="544"/>
                    </a:lnTo>
                    <a:lnTo>
                      <a:pt x="314" y="519"/>
                    </a:lnTo>
                    <a:lnTo>
                      <a:pt x="309" y="512"/>
                    </a:lnTo>
                    <a:lnTo>
                      <a:pt x="302" y="502"/>
                    </a:lnTo>
                    <a:lnTo>
                      <a:pt x="290" y="472"/>
                    </a:lnTo>
                    <a:lnTo>
                      <a:pt x="277" y="448"/>
                    </a:lnTo>
                    <a:lnTo>
                      <a:pt x="269" y="438"/>
                    </a:lnTo>
                    <a:lnTo>
                      <a:pt x="259" y="429"/>
                    </a:lnTo>
                    <a:lnTo>
                      <a:pt x="255" y="424"/>
                    </a:lnTo>
                    <a:lnTo>
                      <a:pt x="252" y="416"/>
                    </a:lnTo>
                    <a:lnTo>
                      <a:pt x="247" y="407"/>
                    </a:lnTo>
                    <a:lnTo>
                      <a:pt x="243" y="396"/>
                    </a:lnTo>
                    <a:lnTo>
                      <a:pt x="241" y="396"/>
                    </a:lnTo>
                    <a:lnTo>
                      <a:pt x="238" y="394"/>
                    </a:lnTo>
                    <a:lnTo>
                      <a:pt x="234" y="388"/>
                    </a:lnTo>
                    <a:lnTo>
                      <a:pt x="224" y="378"/>
                    </a:lnTo>
                    <a:lnTo>
                      <a:pt x="210" y="360"/>
                    </a:lnTo>
                    <a:lnTo>
                      <a:pt x="205" y="351"/>
                    </a:lnTo>
                    <a:lnTo>
                      <a:pt x="204" y="350"/>
                    </a:lnTo>
                    <a:lnTo>
                      <a:pt x="204" y="348"/>
                    </a:lnTo>
                    <a:lnTo>
                      <a:pt x="205" y="346"/>
                    </a:lnTo>
                    <a:lnTo>
                      <a:pt x="206" y="343"/>
                    </a:lnTo>
                    <a:lnTo>
                      <a:pt x="207" y="342"/>
                    </a:lnTo>
                    <a:lnTo>
                      <a:pt x="206" y="339"/>
                    </a:lnTo>
                    <a:lnTo>
                      <a:pt x="203" y="334"/>
                    </a:lnTo>
                    <a:lnTo>
                      <a:pt x="188" y="316"/>
                    </a:lnTo>
                    <a:lnTo>
                      <a:pt x="180" y="311"/>
                    </a:lnTo>
                    <a:lnTo>
                      <a:pt x="178" y="309"/>
                    </a:lnTo>
                    <a:lnTo>
                      <a:pt x="174" y="304"/>
                    </a:lnTo>
                    <a:lnTo>
                      <a:pt x="170" y="297"/>
                    </a:lnTo>
                    <a:lnTo>
                      <a:pt x="165" y="291"/>
                    </a:lnTo>
                    <a:lnTo>
                      <a:pt x="158" y="280"/>
                    </a:lnTo>
                    <a:lnTo>
                      <a:pt x="157" y="275"/>
                    </a:lnTo>
                    <a:lnTo>
                      <a:pt x="156" y="271"/>
                    </a:lnTo>
                    <a:lnTo>
                      <a:pt x="156" y="265"/>
                    </a:lnTo>
                    <a:lnTo>
                      <a:pt x="155" y="261"/>
                    </a:lnTo>
                    <a:lnTo>
                      <a:pt x="153" y="259"/>
                    </a:lnTo>
                    <a:lnTo>
                      <a:pt x="148" y="252"/>
                    </a:lnTo>
                    <a:lnTo>
                      <a:pt x="144" y="247"/>
                    </a:lnTo>
                    <a:lnTo>
                      <a:pt x="141" y="236"/>
                    </a:lnTo>
                    <a:lnTo>
                      <a:pt x="137" y="231"/>
                    </a:lnTo>
                    <a:lnTo>
                      <a:pt x="135" y="229"/>
                    </a:lnTo>
                    <a:lnTo>
                      <a:pt x="132" y="228"/>
                    </a:lnTo>
                    <a:lnTo>
                      <a:pt x="131" y="228"/>
                    </a:lnTo>
                    <a:lnTo>
                      <a:pt x="130" y="226"/>
                    </a:lnTo>
                    <a:lnTo>
                      <a:pt x="129" y="224"/>
                    </a:lnTo>
                    <a:lnTo>
                      <a:pt x="128" y="221"/>
                    </a:lnTo>
                    <a:lnTo>
                      <a:pt x="127" y="214"/>
                    </a:lnTo>
                    <a:lnTo>
                      <a:pt x="125" y="212"/>
                    </a:lnTo>
                    <a:lnTo>
                      <a:pt x="116" y="202"/>
                    </a:lnTo>
                    <a:lnTo>
                      <a:pt x="113" y="198"/>
                    </a:lnTo>
                    <a:lnTo>
                      <a:pt x="113" y="196"/>
                    </a:lnTo>
                    <a:lnTo>
                      <a:pt x="109" y="194"/>
                    </a:lnTo>
                    <a:lnTo>
                      <a:pt x="101" y="188"/>
                    </a:lnTo>
                    <a:lnTo>
                      <a:pt x="101" y="190"/>
                    </a:lnTo>
                    <a:lnTo>
                      <a:pt x="100" y="190"/>
                    </a:lnTo>
                    <a:lnTo>
                      <a:pt x="98" y="187"/>
                    </a:lnTo>
                    <a:lnTo>
                      <a:pt x="100" y="185"/>
                    </a:lnTo>
                    <a:lnTo>
                      <a:pt x="105" y="183"/>
                    </a:lnTo>
                    <a:lnTo>
                      <a:pt x="107" y="182"/>
                    </a:lnTo>
                    <a:lnTo>
                      <a:pt x="109" y="182"/>
                    </a:lnTo>
                    <a:lnTo>
                      <a:pt x="109" y="182"/>
                    </a:lnTo>
                    <a:lnTo>
                      <a:pt x="107" y="178"/>
                    </a:lnTo>
                    <a:lnTo>
                      <a:pt x="106" y="178"/>
                    </a:lnTo>
                    <a:lnTo>
                      <a:pt x="102" y="176"/>
                    </a:lnTo>
                    <a:lnTo>
                      <a:pt x="100" y="176"/>
                    </a:lnTo>
                    <a:lnTo>
                      <a:pt x="99" y="176"/>
                    </a:lnTo>
                    <a:lnTo>
                      <a:pt x="99" y="177"/>
                    </a:lnTo>
                    <a:lnTo>
                      <a:pt x="98" y="177"/>
                    </a:lnTo>
                    <a:lnTo>
                      <a:pt x="97" y="175"/>
                    </a:lnTo>
                    <a:lnTo>
                      <a:pt x="95" y="174"/>
                    </a:lnTo>
                    <a:lnTo>
                      <a:pt x="94" y="174"/>
                    </a:lnTo>
                    <a:lnTo>
                      <a:pt x="91" y="174"/>
                    </a:lnTo>
                    <a:lnTo>
                      <a:pt x="90" y="174"/>
                    </a:lnTo>
                    <a:lnTo>
                      <a:pt x="88" y="171"/>
                    </a:lnTo>
                    <a:lnTo>
                      <a:pt x="80" y="166"/>
                    </a:lnTo>
                    <a:lnTo>
                      <a:pt x="78" y="167"/>
                    </a:lnTo>
                    <a:lnTo>
                      <a:pt x="75" y="167"/>
                    </a:lnTo>
                    <a:lnTo>
                      <a:pt x="75" y="167"/>
                    </a:lnTo>
                    <a:lnTo>
                      <a:pt x="75" y="169"/>
                    </a:lnTo>
                    <a:lnTo>
                      <a:pt x="73" y="167"/>
                    </a:lnTo>
                    <a:lnTo>
                      <a:pt x="70" y="167"/>
                    </a:lnTo>
                    <a:lnTo>
                      <a:pt x="68" y="167"/>
                    </a:lnTo>
                    <a:lnTo>
                      <a:pt x="67" y="169"/>
                    </a:lnTo>
                    <a:lnTo>
                      <a:pt x="62" y="170"/>
                    </a:lnTo>
                    <a:lnTo>
                      <a:pt x="60" y="171"/>
                    </a:lnTo>
                    <a:lnTo>
                      <a:pt x="60" y="172"/>
                    </a:lnTo>
                    <a:lnTo>
                      <a:pt x="59" y="174"/>
                    </a:lnTo>
                    <a:lnTo>
                      <a:pt x="58" y="174"/>
                    </a:lnTo>
                    <a:lnTo>
                      <a:pt x="58" y="173"/>
                    </a:lnTo>
                    <a:lnTo>
                      <a:pt x="57" y="173"/>
                    </a:lnTo>
                    <a:lnTo>
                      <a:pt x="54" y="173"/>
                    </a:lnTo>
                    <a:lnTo>
                      <a:pt x="51" y="172"/>
                    </a:lnTo>
                    <a:lnTo>
                      <a:pt x="47" y="173"/>
                    </a:lnTo>
                    <a:lnTo>
                      <a:pt x="45" y="175"/>
                    </a:lnTo>
                    <a:lnTo>
                      <a:pt x="45" y="174"/>
                    </a:lnTo>
                    <a:lnTo>
                      <a:pt x="44" y="174"/>
                    </a:lnTo>
                    <a:lnTo>
                      <a:pt x="44" y="173"/>
                    </a:lnTo>
                    <a:lnTo>
                      <a:pt x="45" y="173"/>
                    </a:lnTo>
                    <a:lnTo>
                      <a:pt x="45" y="171"/>
                    </a:lnTo>
                    <a:lnTo>
                      <a:pt x="45" y="169"/>
                    </a:lnTo>
                    <a:lnTo>
                      <a:pt x="45" y="168"/>
                    </a:lnTo>
                    <a:lnTo>
                      <a:pt x="49" y="167"/>
                    </a:lnTo>
                    <a:lnTo>
                      <a:pt x="47" y="167"/>
                    </a:lnTo>
                    <a:lnTo>
                      <a:pt x="45" y="166"/>
                    </a:lnTo>
                    <a:lnTo>
                      <a:pt x="44" y="167"/>
                    </a:lnTo>
                    <a:lnTo>
                      <a:pt x="42" y="167"/>
                    </a:lnTo>
                    <a:lnTo>
                      <a:pt x="42" y="168"/>
                    </a:lnTo>
                    <a:lnTo>
                      <a:pt x="43" y="168"/>
                    </a:lnTo>
                    <a:lnTo>
                      <a:pt x="43" y="169"/>
                    </a:lnTo>
                    <a:lnTo>
                      <a:pt x="41" y="170"/>
                    </a:lnTo>
                    <a:lnTo>
                      <a:pt x="40" y="172"/>
                    </a:lnTo>
                    <a:lnTo>
                      <a:pt x="38" y="175"/>
                    </a:lnTo>
                    <a:lnTo>
                      <a:pt x="37" y="175"/>
                    </a:lnTo>
                    <a:lnTo>
                      <a:pt x="37" y="174"/>
                    </a:lnTo>
                    <a:lnTo>
                      <a:pt x="37" y="171"/>
                    </a:lnTo>
                    <a:lnTo>
                      <a:pt x="39" y="170"/>
                    </a:lnTo>
                    <a:lnTo>
                      <a:pt x="41" y="169"/>
                    </a:lnTo>
                    <a:lnTo>
                      <a:pt x="41" y="167"/>
                    </a:lnTo>
                    <a:lnTo>
                      <a:pt x="38" y="167"/>
                    </a:lnTo>
                    <a:lnTo>
                      <a:pt x="37" y="167"/>
                    </a:lnTo>
                    <a:lnTo>
                      <a:pt x="35" y="168"/>
                    </a:lnTo>
                    <a:lnTo>
                      <a:pt x="35" y="171"/>
                    </a:lnTo>
                    <a:lnTo>
                      <a:pt x="34" y="170"/>
                    </a:lnTo>
                    <a:lnTo>
                      <a:pt x="33" y="171"/>
                    </a:lnTo>
                    <a:lnTo>
                      <a:pt x="33" y="168"/>
                    </a:lnTo>
                    <a:lnTo>
                      <a:pt x="31" y="168"/>
                    </a:lnTo>
                    <a:lnTo>
                      <a:pt x="31" y="169"/>
                    </a:lnTo>
                    <a:lnTo>
                      <a:pt x="30" y="169"/>
                    </a:lnTo>
                    <a:lnTo>
                      <a:pt x="30" y="168"/>
                    </a:lnTo>
                    <a:lnTo>
                      <a:pt x="29" y="167"/>
                    </a:lnTo>
                    <a:lnTo>
                      <a:pt x="28" y="167"/>
                    </a:lnTo>
                    <a:lnTo>
                      <a:pt x="27" y="168"/>
                    </a:lnTo>
                    <a:lnTo>
                      <a:pt x="25" y="167"/>
                    </a:lnTo>
                    <a:lnTo>
                      <a:pt x="23" y="164"/>
                    </a:lnTo>
                    <a:lnTo>
                      <a:pt x="22" y="162"/>
                    </a:lnTo>
                    <a:lnTo>
                      <a:pt x="21" y="164"/>
                    </a:lnTo>
                    <a:lnTo>
                      <a:pt x="20" y="164"/>
                    </a:lnTo>
                    <a:lnTo>
                      <a:pt x="18" y="163"/>
                    </a:lnTo>
                    <a:lnTo>
                      <a:pt x="17" y="164"/>
                    </a:lnTo>
                    <a:lnTo>
                      <a:pt x="17" y="166"/>
                    </a:lnTo>
                    <a:lnTo>
                      <a:pt x="16" y="167"/>
                    </a:lnTo>
                    <a:lnTo>
                      <a:pt x="13" y="169"/>
                    </a:lnTo>
                    <a:lnTo>
                      <a:pt x="12" y="169"/>
                    </a:lnTo>
                    <a:lnTo>
                      <a:pt x="12" y="171"/>
                    </a:lnTo>
                    <a:lnTo>
                      <a:pt x="15" y="174"/>
                    </a:lnTo>
                    <a:lnTo>
                      <a:pt x="15" y="175"/>
                    </a:lnTo>
                    <a:lnTo>
                      <a:pt x="15" y="175"/>
                    </a:lnTo>
                    <a:lnTo>
                      <a:pt x="14" y="176"/>
                    </a:lnTo>
                    <a:lnTo>
                      <a:pt x="12" y="175"/>
                    </a:lnTo>
                    <a:lnTo>
                      <a:pt x="11" y="178"/>
                    </a:lnTo>
                    <a:lnTo>
                      <a:pt x="11" y="181"/>
                    </a:lnTo>
                    <a:lnTo>
                      <a:pt x="10" y="182"/>
                    </a:lnTo>
                    <a:lnTo>
                      <a:pt x="7" y="182"/>
                    </a:lnTo>
                    <a:lnTo>
                      <a:pt x="7" y="182"/>
                    </a:lnTo>
                    <a:lnTo>
                      <a:pt x="7" y="182"/>
                    </a:lnTo>
                    <a:lnTo>
                      <a:pt x="7" y="180"/>
                    </a:lnTo>
                    <a:lnTo>
                      <a:pt x="6" y="177"/>
                    </a:lnTo>
                    <a:lnTo>
                      <a:pt x="5" y="175"/>
                    </a:lnTo>
                    <a:lnTo>
                      <a:pt x="5" y="170"/>
                    </a:lnTo>
                    <a:lnTo>
                      <a:pt x="4" y="169"/>
                    </a:lnTo>
                    <a:lnTo>
                      <a:pt x="0" y="171"/>
                    </a:lnTo>
                    <a:lnTo>
                      <a:pt x="0" y="168"/>
                    </a:lnTo>
                    <a:lnTo>
                      <a:pt x="0" y="167"/>
                    </a:lnTo>
                    <a:lnTo>
                      <a:pt x="2" y="164"/>
                    </a:lnTo>
                    <a:lnTo>
                      <a:pt x="3" y="162"/>
                    </a:lnTo>
                    <a:lnTo>
                      <a:pt x="5" y="161"/>
                    </a:lnTo>
                    <a:lnTo>
                      <a:pt x="5" y="160"/>
                    </a:lnTo>
                    <a:lnTo>
                      <a:pt x="7" y="160"/>
                    </a:lnTo>
                    <a:lnTo>
                      <a:pt x="8" y="158"/>
                    </a:lnTo>
                    <a:lnTo>
                      <a:pt x="7" y="157"/>
                    </a:lnTo>
                    <a:lnTo>
                      <a:pt x="8" y="155"/>
                    </a:lnTo>
                    <a:lnTo>
                      <a:pt x="11" y="154"/>
                    </a:lnTo>
                    <a:lnTo>
                      <a:pt x="11" y="156"/>
                    </a:lnTo>
                    <a:lnTo>
                      <a:pt x="13" y="157"/>
                    </a:lnTo>
                    <a:lnTo>
                      <a:pt x="14" y="156"/>
                    </a:lnTo>
                    <a:lnTo>
                      <a:pt x="15" y="154"/>
                    </a:lnTo>
                    <a:lnTo>
                      <a:pt x="14" y="154"/>
                    </a:lnTo>
                    <a:lnTo>
                      <a:pt x="14" y="152"/>
                    </a:lnTo>
                    <a:lnTo>
                      <a:pt x="12" y="152"/>
                    </a:lnTo>
                    <a:lnTo>
                      <a:pt x="12" y="150"/>
                    </a:lnTo>
                    <a:lnTo>
                      <a:pt x="14" y="150"/>
                    </a:lnTo>
                    <a:lnTo>
                      <a:pt x="15" y="149"/>
                    </a:lnTo>
                    <a:lnTo>
                      <a:pt x="15" y="147"/>
                    </a:lnTo>
                    <a:lnTo>
                      <a:pt x="15" y="146"/>
                    </a:lnTo>
                    <a:lnTo>
                      <a:pt x="16" y="137"/>
                    </a:lnTo>
                    <a:lnTo>
                      <a:pt x="18" y="137"/>
                    </a:lnTo>
                    <a:lnTo>
                      <a:pt x="19" y="137"/>
                    </a:lnTo>
                    <a:lnTo>
                      <a:pt x="19" y="136"/>
                    </a:lnTo>
                    <a:lnTo>
                      <a:pt x="17" y="137"/>
                    </a:lnTo>
                    <a:lnTo>
                      <a:pt x="16" y="136"/>
                    </a:lnTo>
                    <a:lnTo>
                      <a:pt x="20" y="132"/>
                    </a:lnTo>
                    <a:lnTo>
                      <a:pt x="23" y="126"/>
                    </a:lnTo>
                    <a:lnTo>
                      <a:pt x="26" y="120"/>
                    </a:lnTo>
                    <a:lnTo>
                      <a:pt x="28" y="110"/>
                    </a:lnTo>
                    <a:lnTo>
                      <a:pt x="31" y="106"/>
                    </a:lnTo>
                    <a:lnTo>
                      <a:pt x="32" y="99"/>
                    </a:lnTo>
                    <a:lnTo>
                      <a:pt x="33" y="97"/>
                    </a:lnTo>
                    <a:lnTo>
                      <a:pt x="38" y="88"/>
                    </a:lnTo>
                    <a:lnTo>
                      <a:pt x="37" y="79"/>
                    </a:lnTo>
                    <a:lnTo>
                      <a:pt x="37" y="70"/>
                    </a:lnTo>
                    <a:lnTo>
                      <a:pt x="34" y="61"/>
                    </a:lnTo>
                    <a:lnTo>
                      <a:pt x="37" y="50"/>
                    </a:lnTo>
                    <a:lnTo>
                      <a:pt x="39" y="44"/>
                    </a:lnTo>
                    <a:lnTo>
                      <a:pt x="42" y="39"/>
                    </a:lnTo>
                    <a:lnTo>
                      <a:pt x="42" y="38"/>
                    </a:lnTo>
                    <a:lnTo>
                      <a:pt x="41" y="38"/>
                    </a:lnTo>
                    <a:lnTo>
                      <a:pt x="44" y="33"/>
                    </a:lnTo>
                    <a:lnTo>
                      <a:pt x="44" y="30"/>
                    </a:lnTo>
                    <a:lnTo>
                      <a:pt x="43" y="29"/>
                    </a:lnTo>
                    <a:lnTo>
                      <a:pt x="43" y="27"/>
                    </a:lnTo>
                    <a:lnTo>
                      <a:pt x="45" y="22"/>
                    </a:lnTo>
                    <a:lnTo>
                      <a:pt x="45" y="20"/>
                    </a:lnTo>
                    <a:lnTo>
                      <a:pt x="59" y="19"/>
                    </a:lnTo>
                    <a:lnTo>
                      <a:pt x="65" y="18"/>
                    </a:lnTo>
                    <a:lnTo>
                      <a:pt x="70" y="19"/>
                    </a:lnTo>
                    <a:lnTo>
                      <a:pt x="84" y="22"/>
                    </a:lnTo>
                    <a:lnTo>
                      <a:pt x="108" y="24"/>
                    </a:lnTo>
                    <a:lnTo>
                      <a:pt x="112" y="23"/>
                    </a:lnTo>
                    <a:lnTo>
                      <a:pt x="115" y="22"/>
                    </a:lnTo>
                    <a:lnTo>
                      <a:pt x="120" y="16"/>
                    </a:lnTo>
                    <a:lnTo>
                      <a:pt x="127" y="14"/>
                    </a:lnTo>
                    <a:lnTo>
                      <a:pt x="134" y="11"/>
                    </a:lnTo>
                    <a:lnTo>
                      <a:pt x="168" y="5"/>
                    </a:lnTo>
                    <a:lnTo>
                      <a:pt x="190" y="3"/>
                    </a:lnTo>
                    <a:lnTo>
                      <a:pt x="203" y="0"/>
                    </a:lnTo>
                    <a:lnTo>
                      <a:pt x="214" y="0"/>
                    </a:lnTo>
                    <a:lnTo>
                      <a:pt x="247" y="8"/>
                    </a:lnTo>
                    <a:lnTo>
                      <a:pt x="251" y="11"/>
                    </a:lnTo>
                    <a:lnTo>
                      <a:pt x="258" y="15"/>
                    </a:lnTo>
                    <a:lnTo>
                      <a:pt x="263" y="21"/>
                    </a:lnTo>
                    <a:lnTo>
                      <a:pt x="307" y="77"/>
                    </a:lnTo>
                    <a:lnTo>
                      <a:pt x="308" y="78"/>
                    </a:lnTo>
                    <a:lnTo>
                      <a:pt x="309" y="79"/>
                    </a:lnTo>
                    <a:lnTo>
                      <a:pt x="316" y="82"/>
                    </a:lnTo>
                    <a:lnTo>
                      <a:pt x="320" y="82"/>
                    </a:lnTo>
                    <a:lnTo>
                      <a:pt x="323" y="82"/>
                    </a:lnTo>
                    <a:lnTo>
                      <a:pt x="341" y="75"/>
                    </a:lnTo>
                    <a:lnTo>
                      <a:pt x="381" y="66"/>
                    </a:lnTo>
                    <a:lnTo>
                      <a:pt x="395" y="66"/>
                    </a:lnTo>
                    <a:lnTo>
                      <a:pt x="404" y="67"/>
                    </a:lnTo>
                    <a:lnTo>
                      <a:pt x="429" y="76"/>
                    </a:lnTo>
                    <a:lnTo>
                      <a:pt x="444" y="78"/>
                    </a:lnTo>
                    <a:lnTo>
                      <a:pt x="473" y="80"/>
                    </a:lnTo>
                    <a:lnTo>
                      <a:pt x="477" y="79"/>
                    </a:lnTo>
                    <a:lnTo>
                      <a:pt x="481" y="77"/>
                    </a:lnTo>
                    <a:lnTo>
                      <a:pt x="483" y="74"/>
                    </a:lnTo>
                    <a:lnTo>
                      <a:pt x="486" y="70"/>
                    </a:lnTo>
                    <a:lnTo>
                      <a:pt x="492" y="53"/>
                    </a:lnTo>
                    <a:lnTo>
                      <a:pt x="494" y="48"/>
                    </a:lnTo>
                    <a:lnTo>
                      <a:pt x="497" y="45"/>
                    </a:lnTo>
                    <a:lnTo>
                      <a:pt x="500" y="42"/>
                    </a:lnTo>
                    <a:lnTo>
                      <a:pt x="512" y="35"/>
                    </a:lnTo>
                    <a:lnTo>
                      <a:pt x="522" y="24"/>
                    </a:lnTo>
                    <a:lnTo>
                      <a:pt x="526" y="23"/>
                    </a:lnTo>
                    <a:lnTo>
                      <a:pt x="529" y="24"/>
                    </a:lnTo>
                    <a:lnTo>
                      <a:pt x="532" y="26"/>
                    </a:lnTo>
                    <a:lnTo>
                      <a:pt x="534" y="30"/>
                    </a:lnTo>
                    <a:lnTo>
                      <a:pt x="534" y="35"/>
                    </a:lnTo>
                    <a:lnTo>
                      <a:pt x="533" y="65"/>
                    </a:lnTo>
                    <a:lnTo>
                      <a:pt x="534" y="83"/>
                    </a:lnTo>
                    <a:lnTo>
                      <a:pt x="534" y="93"/>
                    </a:lnTo>
                    <a:lnTo>
                      <a:pt x="536" y="101"/>
                    </a:lnTo>
                    <a:lnTo>
                      <a:pt x="539" y="107"/>
                    </a:lnTo>
                    <a:lnTo>
                      <a:pt x="542" y="112"/>
                    </a:lnTo>
                    <a:lnTo>
                      <a:pt x="543" y="116"/>
                    </a:lnTo>
                    <a:lnTo>
                      <a:pt x="547" y="120"/>
                    </a:lnTo>
                    <a:lnTo>
                      <a:pt x="557" y="129"/>
                    </a:lnTo>
                    <a:lnTo>
                      <a:pt x="565" y="133"/>
                    </a:lnTo>
                    <a:lnTo>
                      <a:pt x="584" y="139"/>
                    </a:lnTo>
                    <a:lnTo>
                      <a:pt x="594" y="142"/>
                    </a:lnTo>
                    <a:lnTo>
                      <a:pt x="628" y="145"/>
                    </a:lnTo>
                    <a:lnTo>
                      <a:pt x="633" y="144"/>
                    </a:lnTo>
                    <a:lnTo>
                      <a:pt x="640" y="143"/>
                    </a:lnTo>
                    <a:lnTo>
                      <a:pt x="644" y="141"/>
                    </a:lnTo>
                    <a:lnTo>
                      <a:pt x="649" y="139"/>
                    </a:lnTo>
                    <a:lnTo>
                      <a:pt x="653" y="140"/>
                    </a:lnTo>
                    <a:lnTo>
                      <a:pt x="659" y="144"/>
                    </a:lnTo>
                    <a:lnTo>
                      <a:pt x="662" y="145"/>
                    </a:lnTo>
                    <a:lnTo>
                      <a:pt x="665" y="145"/>
                    </a:lnTo>
                    <a:lnTo>
                      <a:pt x="672" y="145"/>
                    </a:lnTo>
                    <a:lnTo>
                      <a:pt x="677" y="157"/>
                    </a:lnTo>
                    <a:lnTo>
                      <a:pt x="680" y="160"/>
                    </a:lnTo>
                    <a:lnTo>
                      <a:pt x="684" y="162"/>
                    </a:lnTo>
                    <a:lnTo>
                      <a:pt x="688" y="162"/>
                    </a:lnTo>
                    <a:lnTo>
                      <a:pt x="692" y="162"/>
                    </a:lnTo>
                    <a:lnTo>
                      <a:pt x="696" y="160"/>
                    </a:lnTo>
                    <a:lnTo>
                      <a:pt x="714" y="152"/>
                    </a:lnTo>
                    <a:lnTo>
                      <a:pt x="718" y="150"/>
                    </a:lnTo>
                    <a:lnTo>
                      <a:pt x="724" y="149"/>
                    </a:lnTo>
                    <a:lnTo>
                      <a:pt x="729" y="149"/>
                    </a:lnTo>
                    <a:lnTo>
                      <a:pt x="731" y="150"/>
                    </a:lnTo>
                    <a:lnTo>
                      <a:pt x="734" y="152"/>
                    </a:lnTo>
                    <a:lnTo>
                      <a:pt x="740" y="157"/>
                    </a:lnTo>
                    <a:lnTo>
                      <a:pt x="740" y="157"/>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18" name="Freeform 13">
                <a:extLst>
                  <a:ext uri="{FF2B5EF4-FFF2-40B4-BE49-F238E27FC236}"/>
                </a:extLst>
              </p:cNvPr>
              <p:cNvSpPr>
                <a:spLocks/>
              </p:cNvSpPr>
              <p:nvPr/>
            </p:nvSpPr>
            <p:spPr bwMode="auto">
              <a:xfrm>
                <a:off x="2570163" y="1851025"/>
                <a:ext cx="2274888" cy="1430338"/>
              </a:xfrm>
              <a:custGeom>
                <a:avLst/>
                <a:gdLst>
                  <a:gd name="T0" fmla="*/ 1329 w 1433"/>
                  <a:gd name="T1" fmla="*/ 639 h 901"/>
                  <a:gd name="T2" fmla="*/ 1230 w 1433"/>
                  <a:gd name="T3" fmla="*/ 795 h 901"/>
                  <a:gd name="T4" fmla="*/ 1186 w 1433"/>
                  <a:gd name="T5" fmla="*/ 859 h 901"/>
                  <a:gd name="T6" fmla="*/ 1185 w 1433"/>
                  <a:gd name="T7" fmla="*/ 875 h 901"/>
                  <a:gd name="T8" fmla="*/ 1186 w 1433"/>
                  <a:gd name="T9" fmla="*/ 897 h 901"/>
                  <a:gd name="T10" fmla="*/ 1171 w 1433"/>
                  <a:gd name="T11" fmla="*/ 899 h 901"/>
                  <a:gd name="T12" fmla="*/ 1159 w 1433"/>
                  <a:gd name="T13" fmla="*/ 884 h 901"/>
                  <a:gd name="T14" fmla="*/ 1115 w 1433"/>
                  <a:gd name="T15" fmla="*/ 846 h 901"/>
                  <a:gd name="T16" fmla="*/ 1048 w 1433"/>
                  <a:gd name="T17" fmla="*/ 832 h 901"/>
                  <a:gd name="T18" fmla="*/ 1019 w 1433"/>
                  <a:gd name="T19" fmla="*/ 779 h 901"/>
                  <a:gd name="T20" fmla="*/ 980 w 1433"/>
                  <a:gd name="T21" fmla="*/ 719 h 901"/>
                  <a:gd name="T22" fmla="*/ 943 w 1433"/>
                  <a:gd name="T23" fmla="*/ 738 h 901"/>
                  <a:gd name="T24" fmla="*/ 911 w 1433"/>
                  <a:gd name="T25" fmla="*/ 726 h 901"/>
                  <a:gd name="T26" fmla="*/ 880 w 1433"/>
                  <a:gd name="T27" fmla="*/ 726 h 901"/>
                  <a:gd name="T28" fmla="*/ 863 w 1433"/>
                  <a:gd name="T29" fmla="*/ 710 h 901"/>
                  <a:gd name="T30" fmla="*/ 860 w 1433"/>
                  <a:gd name="T31" fmla="*/ 688 h 901"/>
                  <a:gd name="T32" fmla="*/ 844 w 1433"/>
                  <a:gd name="T33" fmla="*/ 686 h 901"/>
                  <a:gd name="T34" fmla="*/ 816 w 1433"/>
                  <a:gd name="T35" fmla="*/ 698 h 901"/>
                  <a:gd name="T36" fmla="*/ 791 w 1433"/>
                  <a:gd name="T37" fmla="*/ 691 h 901"/>
                  <a:gd name="T38" fmla="*/ 758 w 1433"/>
                  <a:gd name="T39" fmla="*/ 656 h 901"/>
                  <a:gd name="T40" fmla="*/ 670 w 1433"/>
                  <a:gd name="T41" fmla="*/ 641 h 901"/>
                  <a:gd name="T42" fmla="*/ 636 w 1433"/>
                  <a:gd name="T43" fmla="*/ 646 h 901"/>
                  <a:gd name="T44" fmla="*/ 571 w 1433"/>
                  <a:gd name="T45" fmla="*/ 632 h 901"/>
                  <a:gd name="T46" fmla="*/ 450 w 1433"/>
                  <a:gd name="T47" fmla="*/ 643 h 901"/>
                  <a:gd name="T48" fmla="*/ 478 w 1433"/>
                  <a:gd name="T49" fmla="*/ 608 h 901"/>
                  <a:gd name="T50" fmla="*/ 487 w 1433"/>
                  <a:gd name="T51" fmla="*/ 532 h 901"/>
                  <a:gd name="T52" fmla="*/ 652 w 1433"/>
                  <a:gd name="T53" fmla="*/ 422 h 901"/>
                  <a:gd name="T54" fmla="*/ 678 w 1433"/>
                  <a:gd name="T55" fmla="*/ 396 h 901"/>
                  <a:gd name="T56" fmla="*/ 640 w 1433"/>
                  <a:gd name="T57" fmla="*/ 360 h 901"/>
                  <a:gd name="T58" fmla="*/ 622 w 1433"/>
                  <a:gd name="T59" fmla="*/ 327 h 901"/>
                  <a:gd name="T60" fmla="*/ 603 w 1433"/>
                  <a:gd name="T61" fmla="*/ 313 h 901"/>
                  <a:gd name="T62" fmla="*/ 556 w 1433"/>
                  <a:gd name="T63" fmla="*/ 306 h 901"/>
                  <a:gd name="T64" fmla="*/ 505 w 1433"/>
                  <a:gd name="T65" fmla="*/ 273 h 901"/>
                  <a:gd name="T66" fmla="*/ 372 w 1433"/>
                  <a:gd name="T67" fmla="*/ 268 h 901"/>
                  <a:gd name="T68" fmla="*/ 346 w 1433"/>
                  <a:gd name="T69" fmla="*/ 250 h 901"/>
                  <a:gd name="T70" fmla="*/ 201 w 1433"/>
                  <a:gd name="T71" fmla="*/ 228 h 901"/>
                  <a:gd name="T72" fmla="*/ 60 w 1433"/>
                  <a:gd name="T73" fmla="*/ 241 h 901"/>
                  <a:gd name="T74" fmla="*/ 45 w 1433"/>
                  <a:gd name="T75" fmla="*/ 230 h 901"/>
                  <a:gd name="T76" fmla="*/ 26 w 1433"/>
                  <a:gd name="T77" fmla="*/ 198 h 901"/>
                  <a:gd name="T78" fmla="*/ 3 w 1433"/>
                  <a:gd name="T79" fmla="*/ 175 h 901"/>
                  <a:gd name="T80" fmla="*/ 1 w 1433"/>
                  <a:gd name="T81" fmla="*/ 147 h 901"/>
                  <a:gd name="T82" fmla="*/ 191 w 1433"/>
                  <a:gd name="T83" fmla="*/ 23 h 901"/>
                  <a:gd name="T84" fmla="*/ 250 w 1433"/>
                  <a:gd name="T85" fmla="*/ 5 h 901"/>
                  <a:gd name="T86" fmla="*/ 429 w 1433"/>
                  <a:gd name="T87" fmla="*/ 39 h 901"/>
                  <a:gd name="T88" fmla="*/ 515 w 1433"/>
                  <a:gd name="T89" fmla="*/ 91 h 901"/>
                  <a:gd name="T90" fmla="*/ 706 w 1433"/>
                  <a:gd name="T91" fmla="*/ 205 h 901"/>
                  <a:gd name="T92" fmla="*/ 821 w 1433"/>
                  <a:gd name="T93" fmla="*/ 305 h 901"/>
                  <a:gd name="T94" fmla="*/ 933 w 1433"/>
                  <a:gd name="T95" fmla="*/ 397 h 901"/>
                  <a:gd name="T96" fmla="*/ 1099 w 1433"/>
                  <a:gd name="T97" fmla="*/ 533 h 901"/>
                  <a:gd name="T98" fmla="*/ 1147 w 1433"/>
                  <a:gd name="T99" fmla="*/ 571 h 901"/>
                  <a:gd name="T100" fmla="*/ 1433 w 1433"/>
                  <a:gd name="T101" fmla="*/ 59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3" h="901">
                    <a:moveTo>
                      <a:pt x="1433" y="593"/>
                    </a:moveTo>
                    <a:lnTo>
                      <a:pt x="1431" y="595"/>
                    </a:lnTo>
                    <a:lnTo>
                      <a:pt x="1352" y="625"/>
                    </a:lnTo>
                    <a:lnTo>
                      <a:pt x="1329" y="639"/>
                    </a:lnTo>
                    <a:lnTo>
                      <a:pt x="1312" y="654"/>
                    </a:lnTo>
                    <a:lnTo>
                      <a:pt x="1299" y="669"/>
                    </a:lnTo>
                    <a:lnTo>
                      <a:pt x="1289" y="684"/>
                    </a:lnTo>
                    <a:lnTo>
                      <a:pt x="1230" y="795"/>
                    </a:lnTo>
                    <a:lnTo>
                      <a:pt x="1222" y="808"/>
                    </a:lnTo>
                    <a:lnTo>
                      <a:pt x="1194" y="841"/>
                    </a:lnTo>
                    <a:lnTo>
                      <a:pt x="1190" y="848"/>
                    </a:lnTo>
                    <a:lnTo>
                      <a:pt x="1186" y="859"/>
                    </a:lnTo>
                    <a:lnTo>
                      <a:pt x="1185" y="864"/>
                    </a:lnTo>
                    <a:lnTo>
                      <a:pt x="1184" y="868"/>
                    </a:lnTo>
                    <a:lnTo>
                      <a:pt x="1184" y="870"/>
                    </a:lnTo>
                    <a:lnTo>
                      <a:pt x="1185" y="875"/>
                    </a:lnTo>
                    <a:lnTo>
                      <a:pt x="1187" y="878"/>
                    </a:lnTo>
                    <a:lnTo>
                      <a:pt x="1191" y="884"/>
                    </a:lnTo>
                    <a:lnTo>
                      <a:pt x="1193" y="887"/>
                    </a:lnTo>
                    <a:lnTo>
                      <a:pt x="1186" y="897"/>
                    </a:lnTo>
                    <a:lnTo>
                      <a:pt x="1182" y="899"/>
                    </a:lnTo>
                    <a:lnTo>
                      <a:pt x="1179" y="901"/>
                    </a:lnTo>
                    <a:lnTo>
                      <a:pt x="1174" y="901"/>
                    </a:lnTo>
                    <a:lnTo>
                      <a:pt x="1171" y="899"/>
                    </a:lnTo>
                    <a:lnTo>
                      <a:pt x="1168" y="897"/>
                    </a:lnTo>
                    <a:lnTo>
                      <a:pt x="1165" y="892"/>
                    </a:lnTo>
                    <a:lnTo>
                      <a:pt x="1161" y="890"/>
                    </a:lnTo>
                    <a:lnTo>
                      <a:pt x="1159" y="884"/>
                    </a:lnTo>
                    <a:lnTo>
                      <a:pt x="1154" y="878"/>
                    </a:lnTo>
                    <a:lnTo>
                      <a:pt x="1127" y="853"/>
                    </a:lnTo>
                    <a:lnTo>
                      <a:pt x="1123" y="851"/>
                    </a:lnTo>
                    <a:lnTo>
                      <a:pt x="1115" y="846"/>
                    </a:lnTo>
                    <a:lnTo>
                      <a:pt x="1110" y="845"/>
                    </a:lnTo>
                    <a:lnTo>
                      <a:pt x="1058" y="837"/>
                    </a:lnTo>
                    <a:lnTo>
                      <a:pt x="1054" y="835"/>
                    </a:lnTo>
                    <a:lnTo>
                      <a:pt x="1048" y="832"/>
                    </a:lnTo>
                    <a:lnTo>
                      <a:pt x="1043" y="829"/>
                    </a:lnTo>
                    <a:lnTo>
                      <a:pt x="1039" y="825"/>
                    </a:lnTo>
                    <a:lnTo>
                      <a:pt x="1033" y="816"/>
                    </a:lnTo>
                    <a:lnTo>
                      <a:pt x="1019" y="779"/>
                    </a:lnTo>
                    <a:lnTo>
                      <a:pt x="991" y="728"/>
                    </a:lnTo>
                    <a:lnTo>
                      <a:pt x="988" y="724"/>
                    </a:lnTo>
                    <a:lnTo>
                      <a:pt x="985" y="721"/>
                    </a:lnTo>
                    <a:lnTo>
                      <a:pt x="980" y="719"/>
                    </a:lnTo>
                    <a:lnTo>
                      <a:pt x="974" y="720"/>
                    </a:lnTo>
                    <a:lnTo>
                      <a:pt x="970" y="722"/>
                    </a:lnTo>
                    <a:lnTo>
                      <a:pt x="950" y="735"/>
                    </a:lnTo>
                    <a:lnTo>
                      <a:pt x="943" y="738"/>
                    </a:lnTo>
                    <a:lnTo>
                      <a:pt x="940" y="739"/>
                    </a:lnTo>
                    <a:lnTo>
                      <a:pt x="935" y="738"/>
                    </a:lnTo>
                    <a:lnTo>
                      <a:pt x="928" y="736"/>
                    </a:lnTo>
                    <a:lnTo>
                      <a:pt x="911" y="726"/>
                    </a:lnTo>
                    <a:lnTo>
                      <a:pt x="906" y="725"/>
                    </a:lnTo>
                    <a:lnTo>
                      <a:pt x="901" y="724"/>
                    </a:lnTo>
                    <a:lnTo>
                      <a:pt x="884" y="726"/>
                    </a:lnTo>
                    <a:lnTo>
                      <a:pt x="880" y="726"/>
                    </a:lnTo>
                    <a:lnTo>
                      <a:pt x="875" y="724"/>
                    </a:lnTo>
                    <a:lnTo>
                      <a:pt x="869" y="721"/>
                    </a:lnTo>
                    <a:lnTo>
                      <a:pt x="866" y="716"/>
                    </a:lnTo>
                    <a:lnTo>
                      <a:pt x="863" y="710"/>
                    </a:lnTo>
                    <a:lnTo>
                      <a:pt x="861" y="707"/>
                    </a:lnTo>
                    <a:lnTo>
                      <a:pt x="861" y="704"/>
                    </a:lnTo>
                    <a:lnTo>
                      <a:pt x="860" y="690"/>
                    </a:lnTo>
                    <a:lnTo>
                      <a:pt x="860" y="688"/>
                    </a:lnTo>
                    <a:lnTo>
                      <a:pt x="858" y="686"/>
                    </a:lnTo>
                    <a:lnTo>
                      <a:pt x="855" y="685"/>
                    </a:lnTo>
                    <a:lnTo>
                      <a:pt x="849" y="685"/>
                    </a:lnTo>
                    <a:lnTo>
                      <a:pt x="844" y="686"/>
                    </a:lnTo>
                    <a:lnTo>
                      <a:pt x="840" y="687"/>
                    </a:lnTo>
                    <a:lnTo>
                      <a:pt x="826" y="695"/>
                    </a:lnTo>
                    <a:lnTo>
                      <a:pt x="821" y="697"/>
                    </a:lnTo>
                    <a:lnTo>
                      <a:pt x="816" y="698"/>
                    </a:lnTo>
                    <a:lnTo>
                      <a:pt x="811" y="699"/>
                    </a:lnTo>
                    <a:lnTo>
                      <a:pt x="805" y="698"/>
                    </a:lnTo>
                    <a:lnTo>
                      <a:pt x="797" y="694"/>
                    </a:lnTo>
                    <a:lnTo>
                      <a:pt x="791" y="691"/>
                    </a:lnTo>
                    <a:lnTo>
                      <a:pt x="786" y="686"/>
                    </a:lnTo>
                    <a:lnTo>
                      <a:pt x="766" y="663"/>
                    </a:lnTo>
                    <a:lnTo>
                      <a:pt x="762" y="659"/>
                    </a:lnTo>
                    <a:lnTo>
                      <a:pt x="758" y="656"/>
                    </a:lnTo>
                    <a:lnTo>
                      <a:pt x="750" y="654"/>
                    </a:lnTo>
                    <a:lnTo>
                      <a:pt x="693" y="640"/>
                    </a:lnTo>
                    <a:lnTo>
                      <a:pt x="689" y="640"/>
                    </a:lnTo>
                    <a:lnTo>
                      <a:pt x="670" y="641"/>
                    </a:lnTo>
                    <a:lnTo>
                      <a:pt x="651" y="647"/>
                    </a:lnTo>
                    <a:lnTo>
                      <a:pt x="647" y="647"/>
                    </a:lnTo>
                    <a:lnTo>
                      <a:pt x="642" y="647"/>
                    </a:lnTo>
                    <a:lnTo>
                      <a:pt x="636" y="646"/>
                    </a:lnTo>
                    <a:lnTo>
                      <a:pt x="595" y="632"/>
                    </a:lnTo>
                    <a:lnTo>
                      <a:pt x="590" y="632"/>
                    </a:lnTo>
                    <a:lnTo>
                      <a:pt x="583" y="632"/>
                    </a:lnTo>
                    <a:lnTo>
                      <a:pt x="571" y="632"/>
                    </a:lnTo>
                    <a:lnTo>
                      <a:pt x="482" y="654"/>
                    </a:lnTo>
                    <a:lnTo>
                      <a:pt x="478" y="654"/>
                    </a:lnTo>
                    <a:lnTo>
                      <a:pt x="468" y="651"/>
                    </a:lnTo>
                    <a:lnTo>
                      <a:pt x="450" y="643"/>
                    </a:lnTo>
                    <a:lnTo>
                      <a:pt x="473" y="619"/>
                    </a:lnTo>
                    <a:lnTo>
                      <a:pt x="476" y="615"/>
                    </a:lnTo>
                    <a:lnTo>
                      <a:pt x="477" y="611"/>
                    </a:lnTo>
                    <a:lnTo>
                      <a:pt x="478" y="608"/>
                    </a:lnTo>
                    <a:lnTo>
                      <a:pt x="482" y="544"/>
                    </a:lnTo>
                    <a:lnTo>
                      <a:pt x="483" y="540"/>
                    </a:lnTo>
                    <a:lnTo>
                      <a:pt x="484" y="535"/>
                    </a:lnTo>
                    <a:lnTo>
                      <a:pt x="487" y="532"/>
                    </a:lnTo>
                    <a:lnTo>
                      <a:pt x="490" y="527"/>
                    </a:lnTo>
                    <a:lnTo>
                      <a:pt x="494" y="524"/>
                    </a:lnTo>
                    <a:lnTo>
                      <a:pt x="512" y="510"/>
                    </a:lnTo>
                    <a:lnTo>
                      <a:pt x="652" y="422"/>
                    </a:lnTo>
                    <a:lnTo>
                      <a:pt x="666" y="411"/>
                    </a:lnTo>
                    <a:lnTo>
                      <a:pt x="673" y="403"/>
                    </a:lnTo>
                    <a:lnTo>
                      <a:pt x="676" y="399"/>
                    </a:lnTo>
                    <a:lnTo>
                      <a:pt x="678" y="396"/>
                    </a:lnTo>
                    <a:lnTo>
                      <a:pt x="676" y="391"/>
                    </a:lnTo>
                    <a:lnTo>
                      <a:pt x="673" y="388"/>
                    </a:lnTo>
                    <a:lnTo>
                      <a:pt x="648" y="368"/>
                    </a:lnTo>
                    <a:lnTo>
                      <a:pt x="640" y="360"/>
                    </a:lnTo>
                    <a:lnTo>
                      <a:pt x="637" y="356"/>
                    </a:lnTo>
                    <a:lnTo>
                      <a:pt x="632" y="348"/>
                    </a:lnTo>
                    <a:lnTo>
                      <a:pt x="625" y="330"/>
                    </a:lnTo>
                    <a:lnTo>
                      <a:pt x="622" y="327"/>
                    </a:lnTo>
                    <a:lnTo>
                      <a:pt x="617" y="321"/>
                    </a:lnTo>
                    <a:lnTo>
                      <a:pt x="615" y="318"/>
                    </a:lnTo>
                    <a:lnTo>
                      <a:pt x="609" y="314"/>
                    </a:lnTo>
                    <a:lnTo>
                      <a:pt x="603" y="313"/>
                    </a:lnTo>
                    <a:lnTo>
                      <a:pt x="584" y="309"/>
                    </a:lnTo>
                    <a:lnTo>
                      <a:pt x="570" y="309"/>
                    </a:lnTo>
                    <a:lnTo>
                      <a:pt x="561" y="308"/>
                    </a:lnTo>
                    <a:lnTo>
                      <a:pt x="556" y="306"/>
                    </a:lnTo>
                    <a:lnTo>
                      <a:pt x="550" y="304"/>
                    </a:lnTo>
                    <a:lnTo>
                      <a:pt x="518" y="277"/>
                    </a:lnTo>
                    <a:lnTo>
                      <a:pt x="512" y="275"/>
                    </a:lnTo>
                    <a:lnTo>
                      <a:pt x="505" y="273"/>
                    </a:lnTo>
                    <a:lnTo>
                      <a:pt x="489" y="273"/>
                    </a:lnTo>
                    <a:lnTo>
                      <a:pt x="479" y="274"/>
                    </a:lnTo>
                    <a:lnTo>
                      <a:pt x="388" y="272"/>
                    </a:lnTo>
                    <a:lnTo>
                      <a:pt x="372" y="268"/>
                    </a:lnTo>
                    <a:lnTo>
                      <a:pt x="367" y="267"/>
                    </a:lnTo>
                    <a:lnTo>
                      <a:pt x="362" y="264"/>
                    </a:lnTo>
                    <a:lnTo>
                      <a:pt x="350" y="252"/>
                    </a:lnTo>
                    <a:lnTo>
                      <a:pt x="346" y="250"/>
                    </a:lnTo>
                    <a:lnTo>
                      <a:pt x="342" y="247"/>
                    </a:lnTo>
                    <a:lnTo>
                      <a:pt x="337" y="246"/>
                    </a:lnTo>
                    <a:lnTo>
                      <a:pt x="223" y="229"/>
                    </a:lnTo>
                    <a:lnTo>
                      <a:pt x="201" y="228"/>
                    </a:lnTo>
                    <a:lnTo>
                      <a:pt x="150" y="236"/>
                    </a:lnTo>
                    <a:lnTo>
                      <a:pt x="76" y="244"/>
                    </a:lnTo>
                    <a:lnTo>
                      <a:pt x="67" y="243"/>
                    </a:lnTo>
                    <a:lnTo>
                      <a:pt x="60" y="241"/>
                    </a:lnTo>
                    <a:lnTo>
                      <a:pt x="56" y="239"/>
                    </a:lnTo>
                    <a:lnTo>
                      <a:pt x="53" y="237"/>
                    </a:lnTo>
                    <a:lnTo>
                      <a:pt x="49" y="234"/>
                    </a:lnTo>
                    <a:lnTo>
                      <a:pt x="45" y="230"/>
                    </a:lnTo>
                    <a:lnTo>
                      <a:pt x="40" y="221"/>
                    </a:lnTo>
                    <a:lnTo>
                      <a:pt x="37" y="214"/>
                    </a:lnTo>
                    <a:lnTo>
                      <a:pt x="32" y="205"/>
                    </a:lnTo>
                    <a:lnTo>
                      <a:pt x="26" y="198"/>
                    </a:lnTo>
                    <a:lnTo>
                      <a:pt x="22" y="192"/>
                    </a:lnTo>
                    <a:lnTo>
                      <a:pt x="7" y="182"/>
                    </a:lnTo>
                    <a:lnTo>
                      <a:pt x="5" y="178"/>
                    </a:lnTo>
                    <a:lnTo>
                      <a:pt x="3" y="175"/>
                    </a:lnTo>
                    <a:lnTo>
                      <a:pt x="3" y="173"/>
                    </a:lnTo>
                    <a:lnTo>
                      <a:pt x="1" y="166"/>
                    </a:lnTo>
                    <a:lnTo>
                      <a:pt x="0" y="154"/>
                    </a:lnTo>
                    <a:lnTo>
                      <a:pt x="1" y="147"/>
                    </a:lnTo>
                    <a:lnTo>
                      <a:pt x="22" y="72"/>
                    </a:lnTo>
                    <a:lnTo>
                      <a:pt x="91" y="53"/>
                    </a:lnTo>
                    <a:lnTo>
                      <a:pt x="185" y="24"/>
                    </a:lnTo>
                    <a:lnTo>
                      <a:pt x="191" y="23"/>
                    </a:lnTo>
                    <a:lnTo>
                      <a:pt x="211" y="3"/>
                    </a:lnTo>
                    <a:lnTo>
                      <a:pt x="214" y="0"/>
                    </a:lnTo>
                    <a:lnTo>
                      <a:pt x="218" y="0"/>
                    </a:lnTo>
                    <a:lnTo>
                      <a:pt x="250" y="5"/>
                    </a:lnTo>
                    <a:lnTo>
                      <a:pt x="316" y="16"/>
                    </a:lnTo>
                    <a:lnTo>
                      <a:pt x="363" y="24"/>
                    </a:lnTo>
                    <a:lnTo>
                      <a:pt x="421" y="36"/>
                    </a:lnTo>
                    <a:lnTo>
                      <a:pt x="429" y="39"/>
                    </a:lnTo>
                    <a:lnTo>
                      <a:pt x="439" y="45"/>
                    </a:lnTo>
                    <a:lnTo>
                      <a:pt x="471" y="64"/>
                    </a:lnTo>
                    <a:lnTo>
                      <a:pt x="485" y="73"/>
                    </a:lnTo>
                    <a:lnTo>
                      <a:pt x="515" y="91"/>
                    </a:lnTo>
                    <a:lnTo>
                      <a:pt x="558" y="116"/>
                    </a:lnTo>
                    <a:lnTo>
                      <a:pt x="602" y="143"/>
                    </a:lnTo>
                    <a:lnTo>
                      <a:pt x="662" y="178"/>
                    </a:lnTo>
                    <a:lnTo>
                      <a:pt x="706" y="205"/>
                    </a:lnTo>
                    <a:lnTo>
                      <a:pt x="716" y="214"/>
                    </a:lnTo>
                    <a:lnTo>
                      <a:pt x="759" y="252"/>
                    </a:lnTo>
                    <a:lnTo>
                      <a:pt x="773" y="264"/>
                    </a:lnTo>
                    <a:lnTo>
                      <a:pt x="821" y="305"/>
                    </a:lnTo>
                    <a:lnTo>
                      <a:pt x="836" y="319"/>
                    </a:lnTo>
                    <a:lnTo>
                      <a:pt x="869" y="345"/>
                    </a:lnTo>
                    <a:lnTo>
                      <a:pt x="898" y="370"/>
                    </a:lnTo>
                    <a:lnTo>
                      <a:pt x="933" y="397"/>
                    </a:lnTo>
                    <a:lnTo>
                      <a:pt x="990" y="444"/>
                    </a:lnTo>
                    <a:lnTo>
                      <a:pt x="1009" y="460"/>
                    </a:lnTo>
                    <a:lnTo>
                      <a:pt x="1067" y="507"/>
                    </a:lnTo>
                    <a:lnTo>
                      <a:pt x="1099" y="533"/>
                    </a:lnTo>
                    <a:lnTo>
                      <a:pt x="1114" y="546"/>
                    </a:lnTo>
                    <a:lnTo>
                      <a:pt x="1130" y="558"/>
                    </a:lnTo>
                    <a:lnTo>
                      <a:pt x="1144" y="569"/>
                    </a:lnTo>
                    <a:lnTo>
                      <a:pt x="1147" y="571"/>
                    </a:lnTo>
                    <a:lnTo>
                      <a:pt x="1250" y="579"/>
                    </a:lnTo>
                    <a:lnTo>
                      <a:pt x="1267" y="581"/>
                    </a:lnTo>
                    <a:lnTo>
                      <a:pt x="1422" y="595"/>
                    </a:lnTo>
                    <a:lnTo>
                      <a:pt x="1433" y="593"/>
                    </a:lnTo>
                    <a:lnTo>
                      <a:pt x="1433" y="593"/>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19" name="Freeform 14">
                <a:extLst>
                  <a:ext uri="{FF2B5EF4-FFF2-40B4-BE49-F238E27FC236}"/>
                </a:extLst>
              </p:cNvPr>
              <p:cNvSpPr>
                <a:spLocks/>
              </p:cNvSpPr>
              <p:nvPr/>
            </p:nvSpPr>
            <p:spPr bwMode="auto">
              <a:xfrm>
                <a:off x="1765300" y="1965325"/>
                <a:ext cx="1881188" cy="1111250"/>
              </a:xfrm>
              <a:custGeom>
                <a:avLst/>
                <a:gdLst>
                  <a:gd name="T0" fmla="*/ 879 w 1185"/>
                  <a:gd name="T1" fmla="*/ 595 h 700"/>
                  <a:gd name="T2" fmla="*/ 720 w 1185"/>
                  <a:gd name="T3" fmla="*/ 672 h 700"/>
                  <a:gd name="T4" fmla="*/ 689 w 1185"/>
                  <a:gd name="T5" fmla="*/ 688 h 700"/>
                  <a:gd name="T6" fmla="*/ 672 w 1185"/>
                  <a:gd name="T7" fmla="*/ 690 h 700"/>
                  <a:gd name="T8" fmla="*/ 642 w 1185"/>
                  <a:gd name="T9" fmla="*/ 700 h 700"/>
                  <a:gd name="T10" fmla="*/ 623 w 1185"/>
                  <a:gd name="T11" fmla="*/ 683 h 700"/>
                  <a:gd name="T12" fmla="*/ 607 w 1185"/>
                  <a:gd name="T13" fmla="*/ 677 h 700"/>
                  <a:gd name="T14" fmla="*/ 586 w 1185"/>
                  <a:gd name="T15" fmla="*/ 683 h 700"/>
                  <a:gd name="T16" fmla="*/ 515 w 1185"/>
                  <a:gd name="T17" fmla="*/ 667 h 700"/>
                  <a:gd name="T18" fmla="*/ 497 w 1185"/>
                  <a:gd name="T19" fmla="*/ 645 h 700"/>
                  <a:gd name="T20" fmla="*/ 491 w 1185"/>
                  <a:gd name="T21" fmla="*/ 603 h 700"/>
                  <a:gd name="T22" fmla="*/ 487 w 1185"/>
                  <a:gd name="T23" fmla="*/ 562 h 700"/>
                  <a:gd name="T24" fmla="*/ 458 w 1185"/>
                  <a:gd name="T25" fmla="*/ 580 h 700"/>
                  <a:gd name="T26" fmla="*/ 444 w 1185"/>
                  <a:gd name="T27" fmla="*/ 608 h 700"/>
                  <a:gd name="T28" fmla="*/ 431 w 1185"/>
                  <a:gd name="T29" fmla="*/ 618 h 700"/>
                  <a:gd name="T30" fmla="*/ 353 w 1185"/>
                  <a:gd name="T31" fmla="*/ 604 h 700"/>
                  <a:gd name="T32" fmla="*/ 278 w 1185"/>
                  <a:gd name="T33" fmla="*/ 620 h 700"/>
                  <a:gd name="T34" fmla="*/ 265 w 1185"/>
                  <a:gd name="T35" fmla="*/ 615 h 700"/>
                  <a:gd name="T36" fmla="*/ 205 w 1185"/>
                  <a:gd name="T37" fmla="*/ 546 h 700"/>
                  <a:gd name="T38" fmla="*/ 126 w 1185"/>
                  <a:gd name="T39" fmla="*/ 543 h 700"/>
                  <a:gd name="T40" fmla="*/ 73 w 1185"/>
                  <a:gd name="T41" fmla="*/ 560 h 700"/>
                  <a:gd name="T42" fmla="*/ 28 w 1185"/>
                  <a:gd name="T43" fmla="*/ 557 h 700"/>
                  <a:gd name="T44" fmla="*/ 3 w 1185"/>
                  <a:gd name="T45" fmla="*/ 557 h 700"/>
                  <a:gd name="T46" fmla="*/ 5 w 1185"/>
                  <a:gd name="T47" fmla="*/ 543 h 700"/>
                  <a:gd name="T48" fmla="*/ 6 w 1185"/>
                  <a:gd name="T49" fmla="*/ 523 h 700"/>
                  <a:gd name="T50" fmla="*/ 14 w 1185"/>
                  <a:gd name="T51" fmla="*/ 495 h 700"/>
                  <a:gd name="T52" fmla="*/ 19 w 1185"/>
                  <a:gd name="T53" fmla="*/ 488 h 700"/>
                  <a:gd name="T54" fmla="*/ 20 w 1185"/>
                  <a:gd name="T55" fmla="*/ 478 h 700"/>
                  <a:gd name="T56" fmla="*/ 20 w 1185"/>
                  <a:gd name="T57" fmla="*/ 471 h 700"/>
                  <a:gd name="T58" fmla="*/ 108 w 1185"/>
                  <a:gd name="T59" fmla="*/ 484 h 700"/>
                  <a:gd name="T60" fmla="*/ 204 w 1185"/>
                  <a:gd name="T61" fmla="*/ 499 h 700"/>
                  <a:gd name="T62" fmla="*/ 305 w 1185"/>
                  <a:gd name="T63" fmla="*/ 392 h 700"/>
                  <a:gd name="T64" fmla="*/ 352 w 1185"/>
                  <a:gd name="T65" fmla="*/ 362 h 700"/>
                  <a:gd name="T66" fmla="*/ 454 w 1185"/>
                  <a:gd name="T67" fmla="*/ 323 h 700"/>
                  <a:gd name="T68" fmla="*/ 476 w 1185"/>
                  <a:gd name="T69" fmla="*/ 276 h 700"/>
                  <a:gd name="T70" fmla="*/ 483 w 1185"/>
                  <a:gd name="T71" fmla="*/ 193 h 700"/>
                  <a:gd name="T72" fmla="*/ 357 w 1185"/>
                  <a:gd name="T73" fmla="*/ 52 h 700"/>
                  <a:gd name="T74" fmla="*/ 508 w 1185"/>
                  <a:gd name="T75" fmla="*/ 75 h 700"/>
                  <a:gd name="T76" fmla="*/ 510 w 1185"/>
                  <a:gd name="T77" fmla="*/ 103 h 700"/>
                  <a:gd name="T78" fmla="*/ 533 w 1185"/>
                  <a:gd name="T79" fmla="*/ 126 h 700"/>
                  <a:gd name="T80" fmla="*/ 552 w 1185"/>
                  <a:gd name="T81" fmla="*/ 158 h 700"/>
                  <a:gd name="T82" fmla="*/ 567 w 1185"/>
                  <a:gd name="T83" fmla="*/ 169 h 700"/>
                  <a:gd name="T84" fmla="*/ 708 w 1185"/>
                  <a:gd name="T85" fmla="*/ 156 h 700"/>
                  <a:gd name="T86" fmla="*/ 853 w 1185"/>
                  <a:gd name="T87" fmla="*/ 178 h 700"/>
                  <a:gd name="T88" fmla="*/ 879 w 1185"/>
                  <a:gd name="T89" fmla="*/ 196 h 700"/>
                  <a:gd name="T90" fmla="*/ 1012 w 1185"/>
                  <a:gd name="T91" fmla="*/ 201 h 700"/>
                  <a:gd name="T92" fmla="*/ 1063 w 1185"/>
                  <a:gd name="T93" fmla="*/ 234 h 700"/>
                  <a:gd name="T94" fmla="*/ 1110 w 1185"/>
                  <a:gd name="T95" fmla="*/ 241 h 700"/>
                  <a:gd name="T96" fmla="*/ 1129 w 1185"/>
                  <a:gd name="T97" fmla="*/ 255 h 700"/>
                  <a:gd name="T98" fmla="*/ 1147 w 1185"/>
                  <a:gd name="T99" fmla="*/ 288 h 700"/>
                  <a:gd name="T100" fmla="*/ 1185 w 1185"/>
                  <a:gd name="T101" fmla="*/ 324 h 700"/>
                  <a:gd name="T102" fmla="*/ 1159 w 1185"/>
                  <a:gd name="T103" fmla="*/ 350 h 700"/>
                  <a:gd name="T104" fmla="*/ 994 w 1185"/>
                  <a:gd name="T105" fmla="*/ 460 h 700"/>
                  <a:gd name="T106" fmla="*/ 985 w 1185"/>
                  <a:gd name="T107" fmla="*/ 536 h 700"/>
                  <a:gd name="T108" fmla="*/ 957 w 1185"/>
                  <a:gd name="T109" fmla="*/ 57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5" h="700">
                    <a:moveTo>
                      <a:pt x="957" y="571"/>
                    </a:moveTo>
                    <a:lnTo>
                      <a:pt x="946" y="568"/>
                    </a:lnTo>
                    <a:lnTo>
                      <a:pt x="943" y="568"/>
                    </a:lnTo>
                    <a:lnTo>
                      <a:pt x="879" y="595"/>
                    </a:lnTo>
                    <a:lnTo>
                      <a:pt x="817" y="630"/>
                    </a:lnTo>
                    <a:lnTo>
                      <a:pt x="787" y="638"/>
                    </a:lnTo>
                    <a:lnTo>
                      <a:pt x="725" y="669"/>
                    </a:lnTo>
                    <a:lnTo>
                      <a:pt x="720" y="672"/>
                    </a:lnTo>
                    <a:lnTo>
                      <a:pt x="717" y="675"/>
                    </a:lnTo>
                    <a:lnTo>
                      <a:pt x="698" y="695"/>
                    </a:lnTo>
                    <a:lnTo>
                      <a:pt x="692" y="690"/>
                    </a:lnTo>
                    <a:lnTo>
                      <a:pt x="689" y="688"/>
                    </a:lnTo>
                    <a:lnTo>
                      <a:pt x="687" y="687"/>
                    </a:lnTo>
                    <a:lnTo>
                      <a:pt x="682" y="687"/>
                    </a:lnTo>
                    <a:lnTo>
                      <a:pt x="676" y="688"/>
                    </a:lnTo>
                    <a:lnTo>
                      <a:pt x="672" y="690"/>
                    </a:lnTo>
                    <a:lnTo>
                      <a:pt x="654" y="698"/>
                    </a:lnTo>
                    <a:lnTo>
                      <a:pt x="650" y="700"/>
                    </a:lnTo>
                    <a:lnTo>
                      <a:pt x="646" y="700"/>
                    </a:lnTo>
                    <a:lnTo>
                      <a:pt x="642" y="700"/>
                    </a:lnTo>
                    <a:lnTo>
                      <a:pt x="638" y="698"/>
                    </a:lnTo>
                    <a:lnTo>
                      <a:pt x="635" y="695"/>
                    </a:lnTo>
                    <a:lnTo>
                      <a:pt x="630" y="683"/>
                    </a:lnTo>
                    <a:lnTo>
                      <a:pt x="623" y="683"/>
                    </a:lnTo>
                    <a:lnTo>
                      <a:pt x="620" y="683"/>
                    </a:lnTo>
                    <a:lnTo>
                      <a:pt x="617" y="682"/>
                    </a:lnTo>
                    <a:lnTo>
                      <a:pt x="611" y="678"/>
                    </a:lnTo>
                    <a:lnTo>
                      <a:pt x="607" y="677"/>
                    </a:lnTo>
                    <a:lnTo>
                      <a:pt x="602" y="679"/>
                    </a:lnTo>
                    <a:lnTo>
                      <a:pt x="598" y="681"/>
                    </a:lnTo>
                    <a:lnTo>
                      <a:pt x="591" y="682"/>
                    </a:lnTo>
                    <a:lnTo>
                      <a:pt x="586" y="683"/>
                    </a:lnTo>
                    <a:lnTo>
                      <a:pt x="552" y="680"/>
                    </a:lnTo>
                    <a:lnTo>
                      <a:pt x="542" y="677"/>
                    </a:lnTo>
                    <a:lnTo>
                      <a:pt x="523" y="671"/>
                    </a:lnTo>
                    <a:lnTo>
                      <a:pt x="515" y="667"/>
                    </a:lnTo>
                    <a:lnTo>
                      <a:pt x="505" y="658"/>
                    </a:lnTo>
                    <a:lnTo>
                      <a:pt x="501" y="654"/>
                    </a:lnTo>
                    <a:lnTo>
                      <a:pt x="500" y="650"/>
                    </a:lnTo>
                    <a:lnTo>
                      <a:pt x="497" y="645"/>
                    </a:lnTo>
                    <a:lnTo>
                      <a:pt x="494" y="639"/>
                    </a:lnTo>
                    <a:lnTo>
                      <a:pt x="492" y="631"/>
                    </a:lnTo>
                    <a:lnTo>
                      <a:pt x="492" y="621"/>
                    </a:lnTo>
                    <a:lnTo>
                      <a:pt x="491" y="603"/>
                    </a:lnTo>
                    <a:lnTo>
                      <a:pt x="492" y="573"/>
                    </a:lnTo>
                    <a:lnTo>
                      <a:pt x="492" y="568"/>
                    </a:lnTo>
                    <a:lnTo>
                      <a:pt x="490" y="564"/>
                    </a:lnTo>
                    <a:lnTo>
                      <a:pt x="487" y="562"/>
                    </a:lnTo>
                    <a:lnTo>
                      <a:pt x="484" y="561"/>
                    </a:lnTo>
                    <a:lnTo>
                      <a:pt x="480" y="562"/>
                    </a:lnTo>
                    <a:lnTo>
                      <a:pt x="470" y="573"/>
                    </a:lnTo>
                    <a:lnTo>
                      <a:pt x="458" y="580"/>
                    </a:lnTo>
                    <a:lnTo>
                      <a:pt x="455" y="583"/>
                    </a:lnTo>
                    <a:lnTo>
                      <a:pt x="452" y="586"/>
                    </a:lnTo>
                    <a:lnTo>
                      <a:pt x="450" y="591"/>
                    </a:lnTo>
                    <a:lnTo>
                      <a:pt x="444" y="608"/>
                    </a:lnTo>
                    <a:lnTo>
                      <a:pt x="441" y="612"/>
                    </a:lnTo>
                    <a:lnTo>
                      <a:pt x="439" y="615"/>
                    </a:lnTo>
                    <a:lnTo>
                      <a:pt x="435" y="617"/>
                    </a:lnTo>
                    <a:lnTo>
                      <a:pt x="431" y="618"/>
                    </a:lnTo>
                    <a:lnTo>
                      <a:pt x="402" y="616"/>
                    </a:lnTo>
                    <a:lnTo>
                      <a:pt x="387" y="614"/>
                    </a:lnTo>
                    <a:lnTo>
                      <a:pt x="362" y="605"/>
                    </a:lnTo>
                    <a:lnTo>
                      <a:pt x="353" y="604"/>
                    </a:lnTo>
                    <a:lnTo>
                      <a:pt x="339" y="604"/>
                    </a:lnTo>
                    <a:lnTo>
                      <a:pt x="299" y="613"/>
                    </a:lnTo>
                    <a:lnTo>
                      <a:pt x="281" y="620"/>
                    </a:lnTo>
                    <a:lnTo>
                      <a:pt x="278" y="620"/>
                    </a:lnTo>
                    <a:lnTo>
                      <a:pt x="274" y="620"/>
                    </a:lnTo>
                    <a:lnTo>
                      <a:pt x="267" y="617"/>
                    </a:lnTo>
                    <a:lnTo>
                      <a:pt x="266" y="616"/>
                    </a:lnTo>
                    <a:lnTo>
                      <a:pt x="265" y="615"/>
                    </a:lnTo>
                    <a:lnTo>
                      <a:pt x="221" y="559"/>
                    </a:lnTo>
                    <a:lnTo>
                      <a:pt x="216" y="553"/>
                    </a:lnTo>
                    <a:lnTo>
                      <a:pt x="209" y="549"/>
                    </a:lnTo>
                    <a:lnTo>
                      <a:pt x="205" y="546"/>
                    </a:lnTo>
                    <a:lnTo>
                      <a:pt x="172" y="538"/>
                    </a:lnTo>
                    <a:lnTo>
                      <a:pt x="161" y="538"/>
                    </a:lnTo>
                    <a:lnTo>
                      <a:pt x="148" y="541"/>
                    </a:lnTo>
                    <a:lnTo>
                      <a:pt x="126" y="543"/>
                    </a:lnTo>
                    <a:lnTo>
                      <a:pt x="92" y="549"/>
                    </a:lnTo>
                    <a:lnTo>
                      <a:pt x="85" y="552"/>
                    </a:lnTo>
                    <a:lnTo>
                      <a:pt x="78" y="554"/>
                    </a:lnTo>
                    <a:lnTo>
                      <a:pt x="73" y="560"/>
                    </a:lnTo>
                    <a:lnTo>
                      <a:pt x="70" y="561"/>
                    </a:lnTo>
                    <a:lnTo>
                      <a:pt x="66" y="562"/>
                    </a:lnTo>
                    <a:lnTo>
                      <a:pt x="42" y="560"/>
                    </a:lnTo>
                    <a:lnTo>
                      <a:pt x="28" y="557"/>
                    </a:lnTo>
                    <a:lnTo>
                      <a:pt x="23" y="556"/>
                    </a:lnTo>
                    <a:lnTo>
                      <a:pt x="17" y="557"/>
                    </a:lnTo>
                    <a:lnTo>
                      <a:pt x="3" y="558"/>
                    </a:lnTo>
                    <a:lnTo>
                      <a:pt x="3" y="557"/>
                    </a:lnTo>
                    <a:lnTo>
                      <a:pt x="0" y="556"/>
                    </a:lnTo>
                    <a:lnTo>
                      <a:pt x="0" y="555"/>
                    </a:lnTo>
                    <a:lnTo>
                      <a:pt x="3" y="551"/>
                    </a:lnTo>
                    <a:lnTo>
                      <a:pt x="5" y="543"/>
                    </a:lnTo>
                    <a:lnTo>
                      <a:pt x="6" y="534"/>
                    </a:lnTo>
                    <a:lnTo>
                      <a:pt x="4" y="530"/>
                    </a:lnTo>
                    <a:lnTo>
                      <a:pt x="4" y="527"/>
                    </a:lnTo>
                    <a:lnTo>
                      <a:pt x="6" y="523"/>
                    </a:lnTo>
                    <a:lnTo>
                      <a:pt x="8" y="519"/>
                    </a:lnTo>
                    <a:lnTo>
                      <a:pt x="11" y="502"/>
                    </a:lnTo>
                    <a:lnTo>
                      <a:pt x="12" y="500"/>
                    </a:lnTo>
                    <a:lnTo>
                      <a:pt x="14" y="495"/>
                    </a:lnTo>
                    <a:lnTo>
                      <a:pt x="14" y="494"/>
                    </a:lnTo>
                    <a:lnTo>
                      <a:pt x="14" y="492"/>
                    </a:lnTo>
                    <a:lnTo>
                      <a:pt x="16" y="490"/>
                    </a:lnTo>
                    <a:lnTo>
                      <a:pt x="19" y="488"/>
                    </a:lnTo>
                    <a:lnTo>
                      <a:pt x="18" y="484"/>
                    </a:lnTo>
                    <a:lnTo>
                      <a:pt x="18" y="480"/>
                    </a:lnTo>
                    <a:lnTo>
                      <a:pt x="18" y="477"/>
                    </a:lnTo>
                    <a:lnTo>
                      <a:pt x="20" y="478"/>
                    </a:lnTo>
                    <a:lnTo>
                      <a:pt x="21" y="477"/>
                    </a:lnTo>
                    <a:lnTo>
                      <a:pt x="21" y="477"/>
                    </a:lnTo>
                    <a:lnTo>
                      <a:pt x="20" y="474"/>
                    </a:lnTo>
                    <a:lnTo>
                      <a:pt x="20" y="471"/>
                    </a:lnTo>
                    <a:lnTo>
                      <a:pt x="20" y="469"/>
                    </a:lnTo>
                    <a:lnTo>
                      <a:pt x="39" y="471"/>
                    </a:lnTo>
                    <a:lnTo>
                      <a:pt x="59" y="475"/>
                    </a:lnTo>
                    <a:lnTo>
                      <a:pt x="108" y="484"/>
                    </a:lnTo>
                    <a:lnTo>
                      <a:pt x="133" y="488"/>
                    </a:lnTo>
                    <a:lnTo>
                      <a:pt x="162" y="493"/>
                    </a:lnTo>
                    <a:lnTo>
                      <a:pt x="199" y="500"/>
                    </a:lnTo>
                    <a:lnTo>
                      <a:pt x="204" y="499"/>
                    </a:lnTo>
                    <a:lnTo>
                      <a:pt x="208" y="497"/>
                    </a:lnTo>
                    <a:lnTo>
                      <a:pt x="226" y="483"/>
                    </a:lnTo>
                    <a:lnTo>
                      <a:pt x="276" y="440"/>
                    </a:lnTo>
                    <a:lnTo>
                      <a:pt x="305" y="392"/>
                    </a:lnTo>
                    <a:lnTo>
                      <a:pt x="314" y="376"/>
                    </a:lnTo>
                    <a:lnTo>
                      <a:pt x="318" y="371"/>
                    </a:lnTo>
                    <a:lnTo>
                      <a:pt x="323" y="369"/>
                    </a:lnTo>
                    <a:lnTo>
                      <a:pt x="352" y="362"/>
                    </a:lnTo>
                    <a:lnTo>
                      <a:pt x="401" y="353"/>
                    </a:lnTo>
                    <a:lnTo>
                      <a:pt x="442" y="344"/>
                    </a:lnTo>
                    <a:lnTo>
                      <a:pt x="446" y="341"/>
                    </a:lnTo>
                    <a:lnTo>
                      <a:pt x="454" y="323"/>
                    </a:lnTo>
                    <a:lnTo>
                      <a:pt x="465" y="294"/>
                    </a:lnTo>
                    <a:lnTo>
                      <a:pt x="470" y="282"/>
                    </a:lnTo>
                    <a:lnTo>
                      <a:pt x="472" y="279"/>
                    </a:lnTo>
                    <a:lnTo>
                      <a:pt x="476" y="276"/>
                    </a:lnTo>
                    <a:lnTo>
                      <a:pt x="514" y="254"/>
                    </a:lnTo>
                    <a:lnTo>
                      <a:pt x="526" y="247"/>
                    </a:lnTo>
                    <a:lnTo>
                      <a:pt x="528" y="246"/>
                    </a:lnTo>
                    <a:lnTo>
                      <a:pt x="483" y="193"/>
                    </a:lnTo>
                    <a:lnTo>
                      <a:pt x="464" y="172"/>
                    </a:lnTo>
                    <a:lnTo>
                      <a:pt x="444" y="147"/>
                    </a:lnTo>
                    <a:lnTo>
                      <a:pt x="401" y="99"/>
                    </a:lnTo>
                    <a:lnTo>
                      <a:pt x="357" y="52"/>
                    </a:lnTo>
                    <a:lnTo>
                      <a:pt x="439" y="27"/>
                    </a:lnTo>
                    <a:lnTo>
                      <a:pt x="522" y="2"/>
                    </a:lnTo>
                    <a:lnTo>
                      <a:pt x="529" y="0"/>
                    </a:lnTo>
                    <a:lnTo>
                      <a:pt x="508" y="75"/>
                    </a:lnTo>
                    <a:lnTo>
                      <a:pt x="507" y="82"/>
                    </a:lnTo>
                    <a:lnTo>
                      <a:pt x="508" y="94"/>
                    </a:lnTo>
                    <a:lnTo>
                      <a:pt x="510" y="101"/>
                    </a:lnTo>
                    <a:lnTo>
                      <a:pt x="510" y="103"/>
                    </a:lnTo>
                    <a:lnTo>
                      <a:pt x="512" y="106"/>
                    </a:lnTo>
                    <a:lnTo>
                      <a:pt x="514" y="110"/>
                    </a:lnTo>
                    <a:lnTo>
                      <a:pt x="529" y="120"/>
                    </a:lnTo>
                    <a:lnTo>
                      <a:pt x="533" y="126"/>
                    </a:lnTo>
                    <a:lnTo>
                      <a:pt x="539" y="133"/>
                    </a:lnTo>
                    <a:lnTo>
                      <a:pt x="544" y="142"/>
                    </a:lnTo>
                    <a:lnTo>
                      <a:pt x="547" y="149"/>
                    </a:lnTo>
                    <a:lnTo>
                      <a:pt x="552" y="158"/>
                    </a:lnTo>
                    <a:lnTo>
                      <a:pt x="556" y="162"/>
                    </a:lnTo>
                    <a:lnTo>
                      <a:pt x="560" y="165"/>
                    </a:lnTo>
                    <a:lnTo>
                      <a:pt x="563" y="167"/>
                    </a:lnTo>
                    <a:lnTo>
                      <a:pt x="567" y="169"/>
                    </a:lnTo>
                    <a:lnTo>
                      <a:pt x="574" y="171"/>
                    </a:lnTo>
                    <a:lnTo>
                      <a:pt x="583" y="172"/>
                    </a:lnTo>
                    <a:lnTo>
                      <a:pt x="657" y="164"/>
                    </a:lnTo>
                    <a:lnTo>
                      <a:pt x="708" y="156"/>
                    </a:lnTo>
                    <a:lnTo>
                      <a:pt x="730" y="157"/>
                    </a:lnTo>
                    <a:lnTo>
                      <a:pt x="844" y="174"/>
                    </a:lnTo>
                    <a:lnTo>
                      <a:pt x="849" y="175"/>
                    </a:lnTo>
                    <a:lnTo>
                      <a:pt x="853" y="178"/>
                    </a:lnTo>
                    <a:lnTo>
                      <a:pt x="857" y="180"/>
                    </a:lnTo>
                    <a:lnTo>
                      <a:pt x="869" y="192"/>
                    </a:lnTo>
                    <a:lnTo>
                      <a:pt x="874" y="195"/>
                    </a:lnTo>
                    <a:lnTo>
                      <a:pt x="879" y="196"/>
                    </a:lnTo>
                    <a:lnTo>
                      <a:pt x="895" y="200"/>
                    </a:lnTo>
                    <a:lnTo>
                      <a:pt x="986" y="202"/>
                    </a:lnTo>
                    <a:lnTo>
                      <a:pt x="996" y="201"/>
                    </a:lnTo>
                    <a:lnTo>
                      <a:pt x="1012" y="201"/>
                    </a:lnTo>
                    <a:lnTo>
                      <a:pt x="1019" y="203"/>
                    </a:lnTo>
                    <a:lnTo>
                      <a:pt x="1025" y="205"/>
                    </a:lnTo>
                    <a:lnTo>
                      <a:pt x="1057" y="232"/>
                    </a:lnTo>
                    <a:lnTo>
                      <a:pt x="1063" y="234"/>
                    </a:lnTo>
                    <a:lnTo>
                      <a:pt x="1068" y="236"/>
                    </a:lnTo>
                    <a:lnTo>
                      <a:pt x="1077" y="237"/>
                    </a:lnTo>
                    <a:lnTo>
                      <a:pt x="1091" y="237"/>
                    </a:lnTo>
                    <a:lnTo>
                      <a:pt x="1110" y="241"/>
                    </a:lnTo>
                    <a:lnTo>
                      <a:pt x="1116" y="242"/>
                    </a:lnTo>
                    <a:lnTo>
                      <a:pt x="1122" y="246"/>
                    </a:lnTo>
                    <a:lnTo>
                      <a:pt x="1124" y="249"/>
                    </a:lnTo>
                    <a:lnTo>
                      <a:pt x="1129" y="255"/>
                    </a:lnTo>
                    <a:lnTo>
                      <a:pt x="1132" y="258"/>
                    </a:lnTo>
                    <a:lnTo>
                      <a:pt x="1139" y="276"/>
                    </a:lnTo>
                    <a:lnTo>
                      <a:pt x="1144" y="284"/>
                    </a:lnTo>
                    <a:lnTo>
                      <a:pt x="1147" y="288"/>
                    </a:lnTo>
                    <a:lnTo>
                      <a:pt x="1155" y="296"/>
                    </a:lnTo>
                    <a:lnTo>
                      <a:pt x="1180" y="316"/>
                    </a:lnTo>
                    <a:lnTo>
                      <a:pt x="1183" y="319"/>
                    </a:lnTo>
                    <a:lnTo>
                      <a:pt x="1185" y="324"/>
                    </a:lnTo>
                    <a:lnTo>
                      <a:pt x="1183" y="327"/>
                    </a:lnTo>
                    <a:lnTo>
                      <a:pt x="1180" y="331"/>
                    </a:lnTo>
                    <a:lnTo>
                      <a:pt x="1173" y="339"/>
                    </a:lnTo>
                    <a:lnTo>
                      <a:pt x="1159" y="350"/>
                    </a:lnTo>
                    <a:lnTo>
                      <a:pt x="1019" y="438"/>
                    </a:lnTo>
                    <a:lnTo>
                      <a:pt x="1001" y="452"/>
                    </a:lnTo>
                    <a:lnTo>
                      <a:pt x="997" y="455"/>
                    </a:lnTo>
                    <a:lnTo>
                      <a:pt x="994" y="460"/>
                    </a:lnTo>
                    <a:lnTo>
                      <a:pt x="991" y="463"/>
                    </a:lnTo>
                    <a:lnTo>
                      <a:pt x="990" y="468"/>
                    </a:lnTo>
                    <a:lnTo>
                      <a:pt x="989" y="472"/>
                    </a:lnTo>
                    <a:lnTo>
                      <a:pt x="985" y="536"/>
                    </a:lnTo>
                    <a:lnTo>
                      <a:pt x="984" y="539"/>
                    </a:lnTo>
                    <a:lnTo>
                      <a:pt x="983" y="543"/>
                    </a:lnTo>
                    <a:lnTo>
                      <a:pt x="980" y="547"/>
                    </a:lnTo>
                    <a:lnTo>
                      <a:pt x="957" y="571"/>
                    </a:lnTo>
                    <a:lnTo>
                      <a:pt x="957" y="571"/>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20" name="Freeform 15">
                <a:extLst>
                  <a:ext uri="{FF2B5EF4-FFF2-40B4-BE49-F238E27FC236}"/>
                </a:extLst>
              </p:cNvPr>
              <p:cNvSpPr>
                <a:spLocks/>
              </p:cNvSpPr>
              <p:nvPr/>
            </p:nvSpPr>
            <p:spPr bwMode="auto">
              <a:xfrm>
                <a:off x="3351213" y="5237163"/>
                <a:ext cx="328613" cy="395288"/>
              </a:xfrm>
              <a:custGeom>
                <a:avLst/>
                <a:gdLst>
                  <a:gd name="T0" fmla="*/ 198 w 207"/>
                  <a:gd name="T1" fmla="*/ 52 h 249"/>
                  <a:gd name="T2" fmla="*/ 200 w 207"/>
                  <a:gd name="T3" fmla="*/ 61 h 249"/>
                  <a:gd name="T4" fmla="*/ 206 w 207"/>
                  <a:gd name="T5" fmla="*/ 69 h 249"/>
                  <a:gd name="T6" fmla="*/ 206 w 207"/>
                  <a:gd name="T7" fmla="*/ 78 h 249"/>
                  <a:gd name="T8" fmla="*/ 198 w 207"/>
                  <a:gd name="T9" fmla="*/ 87 h 249"/>
                  <a:gd name="T10" fmla="*/ 175 w 207"/>
                  <a:gd name="T11" fmla="*/ 104 h 249"/>
                  <a:gd name="T12" fmla="*/ 171 w 207"/>
                  <a:gd name="T13" fmla="*/ 114 h 249"/>
                  <a:gd name="T14" fmla="*/ 168 w 207"/>
                  <a:gd name="T15" fmla="*/ 135 h 249"/>
                  <a:gd name="T16" fmla="*/ 146 w 207"/>
                  <a:gd name="T17" fmla="*/ 174 h 249"/>
                  <a:gd name="T18" fmla="*/ 125 w 207"/>
                  <a:gd name="T19" fmla="*/ 175 h 249"/>
                  <a:gd name="T20" fmla="*/ 118 w 207"/>
                  <a:gd name="T21" fmla="*/ 177 h 249"/>
                  <a:gd name="T22" fmla="*/ 115 w 207"/>
                  <a:gd name="T23" fmla="*/ 181 h 249"/>
                  <a:gd name="T24" fmla="*/ 99 w 207"/>
                  <a:gd name="T25" fmla="*/ 217 h 249"/>
                  <a:gd name="T26" fmla="*/ 94 w 207"/>
                  <a:gd name="T27" fmla="*/ 240 h 249"/>
                  <a:gd name="T28" fmla="*/ 88 w 207"/>
                  <a:gd name="T29" fmla="*/ 245 h 249"/>
                  <a:gd name="T30" fmla="*/ 82 w 207"/>
                  <a:gd name="T31" fmla="*/ 248 h 249"/>
                  <a:gd name="T32" fmla="*/ 74 w 207"/>
                  <a:gd name="T33" fmla="*/ 249 h 249"/>
                  <a:gd name="T34" fmla="*/ 65 w 207"/>
                  <a:gd name="T35" fmla="*/ 246 h 249"/>
                  <a:gd name="T36" fmla="*/ 51 w 207"/>
                  <a:gd name="T37" fmla="*/ 229 h 249"/>
                  <a:gd name="T38" fmla="*/ 35 w 207"/>
                  <a:gd name="T39" fmla="*/ 218 h 249"/>
                  <a:gd name="T40" fmla="*/ 30 w 207"/>
                  <a:gd name="T41" fmla="*/ 214 h 249"/>
                  <a:gd name="T42" fmla="*/ 28 w 207"/>
                  <a:gd name="T43" fmla="*/ 207 h 249"/>
                  <a:gd name="T44" fmla="*/ 28 w 207"/>
                  <a:gd name="T45" fmla="*/ 189 h 249"/>
                  <a:gd name="T46" fmla="*/ 25 w 207"/>
                  <a:gd name="T47" fmla="*/ 174 h 249"/>
                  <a:gd name="T48" fmla="*/ 27 w 207"/>
                  <a:gd name="T49" fmla="*/ 152 h 249"/>
                  <a:gd name="T50" fmla="*/ 26 w 207"/>
                  <a:gd name="T51" fmla="*/ 144 h 249"/>
                  <a:gd name="T52" fmla="*/ 21 w 207"/>
                  <a:gd name="T53" fmla="*/ 137 h 249"/>
                  <a:gd name="T54" fmla="*/ 7 w 207"/>
                  <a:gd name="T55" fmla="*/ 132 h 249"/>
                  <a:gd name="T56" fmla="*/ 1 w 207"/>
                  <a:gd name="T57" fmla="*/ 128 h 249"/>
                  <a:gd name="T58" fmla="*/ 0 w 207"/>
                  <a:gd name="T59" fmla="*/ 121 h 249"/>
                  <a:gd name="T60" fmla="*/ 16 w 207"/>
                  <a:gd name="T61" fmla="*/ 104 h 249"/>
                  <a:gd name="T62" fmla="*/ 24 w 207"/>
                  <a:gd name="T63" fmla="*/ 99 h 249"/>
                  <a:gd name="T64" fmla="*/ 45 w 207"/>
                  <a:gd name="T65" fmla="*/ 95 h 249"/>
                  <a:gd name="T66" fmla="*/ 53 w 207"/>
                  <a:gd name="T67" fmla="*/ 92 h 249"/>
                  <a:gd name="T68" fmla="*/ 59 w 207"/>
                  <a:gd name="T69" fmla="*/ 85 h 249"/>
                  <a:gd name="T70" fmla="*/ 75 w 207"/>
                  <a:gd name="T71" fmla="*/ 52 h 249"/>
                  <a:gd name="T72" fmla="*/ 77 w 207"/>
                  <a:gd name="T73" fmla="*/ 46 h 249"/>
                  <a:gd name="T74" fmla="*/ 73 w 207"/>
                  <a:gd name="T75" fmla="*/ 30 h 249"/>
                  <a:gd name="T76" fmla="*/ 72 w 207"/>
                  <a:gd name="T77" fmla="*/ 18 h 249"/>
                  <a:gd name="T78" fmla="*/ 73 w 207"/>
                  <a:gd name="T79" fmla="*/ 11 h 249"/>
                  <a:gd name="T80" fmla="*/ 75 w 207"/>
                  <a:gd name="T81" fmla="*/ 7 h 249"/>
                  <a:gd name="T82" fmla="*/ 81 w 207"/>
                  <a:gd name="T83" fmla="*/ 1 h 249"/>
                  <a:gd name="T84" fmla="*/ 89 w 207"/>
                  <a:gd name="T85" fmla="*/ 0 h 249"/>
                  <a:gd name="T86" fmla="*/ 98 w 207"/>
                  <a:gd name="T87" fmla="*/ 2 h 249"/>
                  <a:gd name="T88" fmla="*/ 104 w 207"/>
                  <a:gd name="T89" fmla="*/ 9 h 249"/>
                  <a:gd name="T90" fmla="*/ 111 w 207"/>
                  <a:gd name="T91" fmla="*/ 27 h 249"/>
                  <a:gd name="T92" fmla="*/ 117 w 207"/>
                  <a:gd name="T93" fmla="*/ 32 h 249"/>
                  <a:gd name="T94" fmla="*/ 122 w 207"/>
                  <a:gd name="T95" fmla="*/ 33 h 249"/>
                  <a:gd name="T96" fmla="*/ 135 w 207"/>
                  <a:gd name="T97" fmla="*/ 29 h 249"/>
                  <a:gd name="T98" fmla="*/ 145 w 207"/>
                  <a:gd name="T99" fmla="*/ 27 h 249"/>
                  <a:gd name="T100" fmla="*/ 167 w 207"/>
                  <a:gd name="T101" fmla="*/ 25 h 249"/>
                  <a:gd name="T102" fmla="*/ 186 w 207"/>
                  <a:gd name="T103" fmla="*/ 15 h 249"/>
                  <a:gd name="T104" fmla="*/ 193 w 207"/>
                  <a:gd name="T105" fmla="*/ 15 h 249"/>
                  <a:gd name="T106" fmla="*/ 207 w 207"/>
                  <a:gd name="T107" fmla="*/ 2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249">
                    <a:moveTo>
                      <a:pt x="207" y="24"/>
                    </a:moveTo>
                    <a:lnTo>
                      <a:pt x="198" y="52"/>
                    </a:lnTo>
                    <a:lnTo>
                      <a:pt x="199" y="56"/>
                    </a:lnTo>
                    <a:lnTo>
                      <a:pt x="200" y="61"/>
                    </a:lnTo>
                    <a:lnTo>
                      <a:pt x="204" y="66"/>
                    </a:lnTo>
                    <a:lnTo>
                      <a:pt x="206" y="69"/>
                    </a:lnTo>
                    <a:lnTo>
                      <a:pt x="207" y="73"/>
                    </a:lnTo>
                    <a:lnTo>
                      <a:pt x="206" y="78"/>
                    </a:lnTo>
                    <a:lnTo>
                      <a:pt x="201" y="84"/>
                    </a:lnTo>
                    <a:lnTo>
                      <a:pt x="198" y="87"/>
                    </a:lnTo>
                    <a:lnTo>
                      <a:pt x="178" y="100"/>
                    </a:lnTo>
                    <a:lnTo>
                      <a:pt x="175" y="104"/>
                    </a:lnTo>
                    <a:lnTo>
                      <a:pt x="172" y="108"/>
                    </a:lnTo>
                    <a:lnTo>
                      <a:pt x="171" y="114"/>
                    </a:lnTo>
                    <a:lnTo>
                      <a:pt x="170" y="126"/>
                    </a:lnTo>
                    <a:lnTo>
                      <a:pt x="168" y="135"/>
                    </a:lnTo>
                    <a:lnTo>
                      <a:pt x="150" y="172"/>
                    </a:lnTo>
                    <a:lnTo>
                      <a:pt x="146" y="174"/>
                    </a:lnTo>
                    <a:lnTo>
                      <a:pt x="141" y="175"/>
                    </a:lnTo>
                    <a:lnTo>
                      <a:pt x="125" y="175"/>
                    </a:lnTo>
                    <a:lnTo>
                      <a:pt x="121" y="175"/>
                    </a:lnTo>
                    <a:lnTo>
                      <a:pt x="118" y="177"/>
                    </a:lnTo>
                    <a:lnTo>
                      <a:pt x="117" y="178"/>
                    </a:lnTo>
                    <a:lnTo>
                      <a:pt x="115" y="181"/>
                    </a:lnTo>
                    <a:lnTo>
                      <a:pt x="110" y="189"/>
                    </a:lnTo>
                    <a:lnTo>
                      <a:pt x="99" y="217"/>
                    </a:lnTo>
                    <a:lnTo>
                      <a:pt x="95" y="236"/>
                    </a:lnTo>
                    <a:lnTo>
                      <a:pt x="94" y="240"/>
                    </a:lnTo>
                    <a:lnTo>
                      <a:pt x="92" y="243"/>
                    </a:lnTo>
                    <a:lnTo>
                      <a:pt x="88" y="245"/>
                    </a:lnTo>
                    <a:lnTo>
                      <a:pt x="86" y="247"/>
                    </a:lnTo>
                    <a:lnTo>
                      <a:pt x="82" y="248"/>
                    </a:lnTo>
                    <a:lnTo>
                      <a:pt x="78" y="249"/>
                    </a:lnTo>
                    <a:lnTo>
                      <a:pt x="74" y="249"/>
                    </a:lnTo>
                    <a:lnTo>
                      <a:pt x="70" y="248"/>
                    </a:lnTo>
                    <a:lnTo>
                      <a:pt x="65" y="246"/>
                    </a:lnTo>
                    <a:lnTo>
                      <a:pt x="62" y="244"/>
                    </a:lnTo>
                    <a:lnTo>
                      <a:pt x="51" y="229"/>
                    </a:lnTo>
                    <a:lnTo>
                      <a:pt x="48" y="225"/>
                    </a:lnTo>
                    <a:lnTo>
                      <a:pt x="35" y="218"/>
                    </a:lnTo>
                    <a:lnTo>
                      <a:pt x="33" y="217"/>
                    </a:lnTo>
                    <a:lnTo>
                      <a:pt x="30" y="214"/>
                    </a:lnTo>
                    <a:lnTo>
                      <a:pt x="28" y="211"/>
                    </a:lnTo>
                    <a:lnTo>
                      <a:pt x="28" y="207"/>
                    </a:lnTo>
                    <a:lnTo>
                      <a:pt x="28" y="204"/>
                    </a:lnTo>
                    <a:lnTo>
                      <a:pt x="28" y="189"/>
                    </a:lnTo>
                    <a:lnTo>
                      <a:pt x="28" y="185"/>
                    </a:lnTo>
                    <a:lnTo>
                      <a:pt x="25" y="174"/>
                    </a:lnTo>
                    <a:lnTo>
                      <a:pt x="25" y="170"/>
                    </a:lnTo>
                    <a:lnTo>
                      <a:pt x="27" y="152"/>
                    </a:lnTo>
                    <a:lnTo>
                      <a:pt x="27" y="148"/>
                    </a:lnTo>
                    <a:lnTo>
                      <a:pt x="26" y="144"/>
                    </a:lnTo>
                    <a:lnTo>
                      <a:pt x="24" y="140"/>
                    </a:lnTo>
                    <a:lnTo>
                      <a:pt x="21" y="137"/>
                    </a:lnTo>
                    <a:lnTo>
                      <a:pt x="20" y="136"/>
                    </a:lnTo>
                    <a:lnTo>
                      <a:pt x="7" y="132"/>
                    </a:lnTo>
                    <a:lnTo>
                      <a:pt x="4" y="130"/>
                    </a:lnTo>
                    <a:lnTo>
                      <a:pt x="1" y="128"/>
                    </a:lnTo>
                    <a:lnTo>
                      <a:pt x="0" y="124"/>
                    </a:lnTo>
                    <a:lnTo>
                      <a:pt x="0" y="121"/>
                    </a:lnTo>
                    <a:lnTo>
                      <a:pt x="3" y="117"/>
                    </a:lnTo>
                    <a:lnTo>
                      <a:pt x="16" y="104"/>
                    </a:lnTo>
                    <a:lnTo>
                      <a:pt x="20" y="101"/>
                    </a:lnTo>
                    <a:lnTo>
                      <a:pt x="24" y="99"/>
                    </a:lnTo>
                    <a:lnTo>
                      <a:pt x="28" y="98"/>
                    </a:lnTo>
                    <a:lnTo>
                      <a:pt x="45" y="95"/>
                    </a:lnTo>
                    <a:lnTo>
                      <a:pt x="49" y="94"/>
                    </a:lnTo>
                    <a:lnTo>
                      <a:pt x="53" y="92"/>
                    </a:lnTo>
                    <a:lnTo>
                      <a:pt x="57" y="89"/>
                    </a:lnTo>
                    <a:lnTo>
                      <a:pt x="59" y="85"/>
                    </a:lnTo>
                    <a:lnTo>
                      <a:pt x="64" y="73"/>
                    </a:lnTo>
                    <a:lnTo>
                      <a:pt x="75" y="52"/>
                    </a:lnTo>
                    <a:lnTo>
                      <a:pt x="77" y="47"/>
                    </a:lnTo>
                    <a:lnTo>
                      <a:pt x="77" y="46"/>
                    </a:lnTo>
                    <a:lnTo>
                      <a:pt x="76" y="40"/>
                    </a:lnTo>
                    <a:lnTo>
                      <a:pt x="73" y="30"/>
                    </a:lnTo>
                    <a:lnTo>
                      <a:pt x="72" y="22"/>
                    </a:lnTo>
                    <a:lnTo>
                      <a:pt x="72" y="18"/>
                    </a:lnTo>
                    <a:lnTo>
                      <a:pt x="73" y="15"/>
                    </a:lnTo>
                    <a:lnTo>
                      <a:pt x="73" y="11"/>
                    </a:lnTo>
                    <a:lnTo>
                      <a:pt x="74" y="9"/>
                    </a:lnTo>
                    <a:lnTo>
                      <a:pt x="75" y="7"/>
                    </a:lnTo>
                    <a:lnTo>
                      <a:pt x="78" y="4"/>
                    </a:lnTo>
                    <a:lnTo>
                      <a:pt x="81" y="1"/>
                    </a:lnTo>
                    <a:lnTo>
                      <a:pt x="85" y="0"/>
                    </a:lnTo>
                    <a:lnTo>
                      <a:pt x="89" y="0"/>
                    </a:lnTo>
                    <a:lnTo>
                      <a:pt x="93" y="0"/>
                    </a:lnTo>
                    <a:lnTo>
                      <a:pt x="98" y="2"/>
                    </a:lnTo>
                    <a:lnTo>
                      <a:pt x="102" y="6"/>
                    </a:lnTo>
                    <a:lnTo>
                      <a:pt x="104" y="9"/>
                    </a:lnTo>
                    <a:lnTo>
                      <a:pt x="110" y="23"/>
                    </a:lnTo>
                    <a:lnTo>
                      <a:pt x="111" y="27"/>
                    </a:lnTo>
                    <a:lnTo>
                      <a:pt x="114" y="30"/>
                    </a:lnTo>
                    <a:lnTo>
                      <a:pt x="117" y="32"/>
                    </a:lnTo>
                    <a:lnTo>
                      <a:pt x="118" y="33"/>
                    </a:lnTo>
                    <a:lnTo>
                      <a:pt x="122" y="33"/>
                    </a:lnTo>
                    <a:lnTo>
                      <a:pt x="127" y="32"/>
                    </a:lnTo>
                    <a:lnTo>
                      <a:pt x="135" y="29"/>
                    </a:lnTo>
                    <a:lnTo>
                      <a:pt x="140" y="27"/>
                    </a:lnTo>
                    <a:lnTo>
                      <a:pt x="145" y="27"/>
                    </a:lnTo>
                    <a:lnTo>
                      <a:pt x="163" y="27"/>
                    </a:lnTo>
                    <a:lnTo>
                      <a:pt x="167" y="25"/>
                    </a:lnTo>
                    <a:lnTo>
                      <a:pt x="171" y="23"/>
                    </a:lnTo>
                    <a:lnTo>
                      <a:pt x="186" y="15"/>
                    </a:lnTo>
                    <a:lnTo>
                      <a:pt x="189" y="14"/>
                    </a:lnTo>
                    <a:lnTo>
                      <a:pt x="193" y="15"/>
                    </a:lnTo>
                    <a:lnTo>
                      <a:pt x="197" y="16"/>
                    </a:lnTo>
                    <a:lnTo>
                      <a:pt x="207" y="24"/>
                    </a:lnTo>
                    <a:lnTo>
                      <a:pt x="207" y="24"/>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21" name="Freeform 16">
                <a:extLst>
                  <a:ext uri="{FF2B5EF4-FFF2-40B4-BE49-F238E27FC236}"/>
                </a:extLst>
              </p:cNvPr>
              <p:cNvSpPr>
                <a:spLocks/>
              </p:cNvSpPr>
              <p:nvPr/>
            </p:nvSpPr>
            <p:spPr bwMode="auto">
              <a:xfrm>
                <a:off x="3506788" y="5175250"/>
                <a:ext cx="831850" cy="996950"/>
              </a:xfrm>
              <a:custGeom>
                <a:avLst/>
                <a:gdLst>
                  <a:gd name="T0" fmla="*/ 522 w 524"/>
                  <a:gd name="T1" fmla="*/ 294 h 628"/>
                  <a:gd name="T2" fmla="*/ 502 w 524"/>
                  <a:gd name="T3" fmla="*/ 307 h 628"/>
                  <a:gd name="T4" fmla="*/ 503 w 524"/>
                  <a:gd name="T5" fmla="*/ 345 h 628"/>
                  <a:gd name="T6" fmla="*/ 502 w 524"/>
                  <a:gd name="T7" fmla="*/ 371 h 628"/>
                  <a:gd name="T8" fmla="*/ 494 w 524"/>
                  <a:gd name="T9" fmla="*/ 385 h 628"/>
                  <a:gd name="T10" fmla="*/ 459 w 524"/>
                  <a:gd name="T11" fmla="*/ 399 h 628"/>
                  <a:gd name="T12" fmla="*/ 446 w 524"/>
                  <a:gd name="T13" fmla="*/ 412 h 628"/>
                  <a:gd name="T14" fmla="*/ 432 w 524"/>
                  <a:gd name="T15" fmla="*/ 434 h 628"/>
                  <a:gd name="T16" fmla="*/ 379 w 524"/>
                  <a:gd name="T17" fmla="*/ 490 h 628"/>
                  <a:gd name="T18" fmla="*/ 381 w 524"/>
                  <a:gd name="T19" fmla="*/ 515 h 628"/>
                  <a:gd name="T20" fmla="*/ 378 w 524"/>
                  <a:gd name="T21" fmla="*/ 576 h 628"/>
                  <a:gd name="T22" fmla="*/ 381 w 524"/>
                  <a:gd name="T23" fmla="*/ 605 h 628"/>
                  <a:gd name="T24" fmla="*/ 366 w 524"/>
                  <a:gd name="T25" fmla="*/ 621 h 628"/>
                  <a:gd name="T26" fmla="*/ 344 w 524"/>
                  <a:gd name="T27" fmla="*/ 614 h 628"/>
                  <a:gd name="T28" fmla="*/ 313 w 524"/>
                  <a:gd name="T29" fmla="*/ 600 h 628"/>
                  <a:gd name="T30" fmla="*/ 291 w 524"/>
                  <a:gd name="T31" fmla="*/ 586 h 628"/>
                  <a:gd name="T32" fmla="*/ 277 w 524"/>
                  <a:gd name="T33" fmla="*/ 564 h 628"/>
                  <a:gd name="T34" fmla="*/ 261 w 524"/>
                  <a:gd name="T35" fmla="*/ 537 h 628"/>
                  <a:gd name="T36" fmla="*/ 250 w 524"/>
                  <a:gd name="T37" fmla="*/ 530 h 628"/>
                  <a:gd name="T38" fmla="*/ 230 w 524"/>
                  <a:gd name="T39" fmla="*/ 546 h 628"/>
                  <a:gd name="T40" fmla="*/ 215 w 524"/>
                  <a:gd name="T41" fmla="*/ 588 h 628"/>
                  <a:gd name="T42" fmla="*/ 201 w 524"/>
                  <a:gd name="T43" fmla="*/ 585 h 628"/>
                  <a:gd name="T44" fmla="*/ 178 w 524"/>
                  <a:gd name="T45" fmla="*/ 557 h 628"/>
                  <a:gd name="T46" fmla="*/ 164 w 524"/>
                  <a:gd name="T47" fmla="*/ 546 h 628"/>
                  <a:gd name="T48" fmla="*/ 127 w 524"/>
                  <a:gd name="T49" fmla="*/ 539 h 628"/>
                  <a:gd name="T50" fmla="*/ 120 w 524"/>
                  <a:gd name="T51" fmla="*/ 524 h 628"/>
                  <a:gd name="T52" fmla="*/ 96 w 524"/>
                  <a:gd name="T53" fmla="*/ 522 h 628"/>
                  <a:gd name="T54" fmla="*/ 89 w 524"/>
                  <a:gd name="T55" fmla="*/ 510 h 628"/>
                  <a:gd name="T56" fmla="*/ 92 w 524"/>
                  <a:gd name="T57" fmla="*/ 477 h 628"/>
                  <a:gd name="T58" fmla="*/ 71 w 524"/>
                  <a:gd name="T59" fmla="*/ 451 h 628"/>
                  <a:gd name="T60" fmla="*/ 58 w 524"/>
                  <a:gd name="T61" fmla="*/ 402 h 628"/>
                  <a:gd name="T62" fmla="*/ 47 w 524"/>
                  <a:gd name="T63" fmla="*/ 392 h 628"/>
                  <a:gd name="T64" fmla="*/ 12 w 524"/>
                  <a:gd name="T65" fmla="*/ 389 h 628"/>
                  <a:gd name="T66" fmla="*/ 2 w 524"/>
                  <a:gd name="T67" fmla="*/ 378 h 628"/>
                  <a:gd name="T68" fmla="*/ 2 w 524"/>
                  <a:gd name="T69" fmla="*/ 322 h 628"/>
                  <a:gd name="T70" fmla="*/ 12 w 524"/>
                  <a:gd name="T71" fmla="*/ 326 h 628"/>
                  <a:gd name="T72" fmla="*/ 35 w 524"/>
                  <a:gd name="T73" fmla="*/ 313 h 628"/>
                  <a:gd name="T74" fmla="*/ 64 w 524"/>
                  <a:gd name="T75" fmla="*/ 313 h 628"/>
                  <a:gd name="T76" fmla="*/ 75 w 524"/>
                  <a:gd name="T77" fmla="*/ 309 h 628"/>
                  <a:gd name="T78" fmla="*/ 84 w 524"/>
                  <a:gd name="T79" fmla="*/ 280 h 628"/>
                  <a:gd name="T80" fmla="*/ 75 w 524"/>
                  <a:gd name="T81" fmla="*/ 255 h 628"/>
                  <a:gd name="T82" fmla="*/ 80 w 524"/>
                  <a:gd name="T83" fmla="*/ 222 h 628"/>
                  <a:gd name="T84" fmla="*/ 73 w 524"/>
                  <a:gd name="T85" fmla="*/ 209 h 628"/>
                  <a:gd name="T86" fmla="*/ 52 w 524"/>
                  <a:gd name="T87" fmla="*/ 211 h 628"/>
                  <a:gd name="T88" fmla="*/ 74 w 524"/>
                  <a:gd name="T89" fmla="*/ 147 h 628"/>
                  <a:gd name="T90" fmla="*/ 103 w 524"/>
                  <a:gd name="T91" fmla="*/ 123 h 628"/>
                  <a:gd name="T92" fmla="*/ 106 w 524"/>
                  <a:gd name="T93" fmla="*/ 105 h 628"/>
                  <a:gd name="T94" fmla="*/ 109 w 524"/>
                  <a:gd name="T95" fmla="*/ 63 h 628"/>
                  <a:gd name="T96" fmla="*/ 134 w 524"/>
                  <a:gd name="T97" fmla="*/ 110 h 628"/>
                  <a:gd name="T98" fmla="*/ 152 w 524"/>
                  <a:gd name="T99" fmla="*/ 111 h 628"/>
                  <a:gd name="T100" fmla="*/ 242 w 524"/>
                  <a:gd name="T101" fmla="*/ 45 h 628"/>
                  <a:gd name="T102" fmla="*/ 262 w 524"/>
                  <a:gd name="T103" fmla="*/ 30 h 628"/>
                  <a:gd name="T104" fmla="*/ 284 w 524"/>
                  <a:gd name="T105" fmla="*/ 27 h 628"/>
                  <a:gd name="T106" fmla="*/ 312 w 524"/>
                  <a:gd name="T107" fmla="*/ 20 h 628"/>
                  <a:gd name="T108" fmla="*/ 338 w 524"/>
                  <a:gd name="T109" fmla="*/ 23 h 628"/>
                  <a:gd name="T110" fmla="*/ 416 w 524"/>
                  <a:gd name="T111" fmla="*/ 32 h 628"/>
                  <a:gd name="T112" fmla="*/ 447 w 524"/>
                  <a:gd name="T113" fmla="*/ 75 h 628"/>
                  <a:gd name="T114" fmla="*/ 447 w 524"/>
                  <a:gd name="T115" fmla="*/ 90 h 628"/>
                  <a:gd name="T116" fmla="*/ 426 w 524"/>
                  <a:gd name="T117" fmla="*/ 146 h 628"/>
                  <a:gd name="T118" fmla="*/ 439 w 524"/>
                  <a:gd name="T119" fmla="*/ 171 h 628"/>
                  <a:gd name="T120" fmla="*/ 524 w 524"/>
                  <a:gd name="T121" fmla="*/ 26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628">
                    <a:moveTo>
                      <a:pt x="524" y="261"/>
                    </a:moveTo>
                    <a:lnTo>
                      <a:pt x="524" y="284"/>
                    </a:lnTo>
                    <a:lnTo>
                      <a:pt x="524" y="290"/>
                    </a:lnTo>
                    <a:lnTo>
                      <a:pt x="522" y="294"/>
                    </a:lnTo>
                    <a:lnTo>
                      <a:pt x="520" y="296"/>
                    </a:lnTo>
                    <a:lnTo>
                      <a:pt x="518" y="298"/>
                    </a:lnTo>
                    <a:lnTo>
                      <a:pt x="507" y="304"/>
                    </a:lnTo>
                    <a:lnTo>
                      <a:pt x="502" y="307"/>
                    </a:lnTo>
                    <a:lnTo>
                      <a:pt x="499" y="313"/>
                    </a:lnTo>
                    <a:lnTo>
                      <a:pt x="498" y="319"/>
                    </a:lnTo>
                    <a:lnTo>
                      <a:pt x="498" y="322"/>
                    </a:lnTo>
                    <a:lnTo>
                      <a:pt x="503" y="345"/>
                    </a:lnTo>
                    <a:lnTo>
                      <a:pt x="504" y="353"/>
                    </a:lnTo>
                    <a:lnTo>
                      <a:pt x="504" y="359"/>
                    </a:lnTo>
                    <a:lnTo>
                      <a:pt x="504" y="366"/>
                    </a:lnTo>
                    <a:lnTo>
                      <a:pt x="502" y="371"/>
                    </a:lnTo>
                    <a:lnTo>
                      <a:pt x="501" y="375"/>
                    </a:lnTo>
                    <a:lnTo>
                      <a:pt x="499" y="379"/>
                    </a:lnTo>
                    <a:lnTo>
                      <a:pt x="496" y="382"/>
                    </a:lnTo>
                    <a:lnTo>
                      <a:pt x="494" y="385"/>
                    </a:lnTo>
                    <a:lnTo>
                      <a:pt x="486" y="390"/>
                    </a:lnTo>
                    <a:lnTo>
                      <a:pt x="478" y="394"/>
                    </a:lnTo>
                    <a:lnTo>
                      <a:pt x="471" y="397"/>
                    </a:lnTo>
                    <a:lnTo>
                      <a:pt x="459" y="399"/>
                    </a:lnTo>
                    <a:lnTo>
                      <a:pt x="456" y="401"/>
                    </a:lnTo>
                    <a:lnTo>
                      <a:pt x="451" y="404"/>
                    </a:lnTo>
                    <a:lnTo>
                      <a:pt x="448" y="407"/>
                    </a:lnTo>
                    <a:lnTo>
                      <a:pt x="446" y="412"/>
                    </a:lnTo>
                    <a:lnTo>
                      <a:pt x="441" y="421"/>
                    </a:lnTo>
                    <a:lnTo>
                      <a:pt x="440" y="425"/>
                    </a:lnTo>
                    <a:lnTo>
                      <a:pt x="437" y="427"/>
                    </a:lnTo>
                    <a:lnTo>
                      <a:pt x="432" y="434"/>
                    </a:lnTo>
                    <a:lnTo>
                      <a:pt x="413" y="450"/>
                    </a:lnTo>
                    <a:lnTo>
                      <a:pt x="386" y="478"/>
                    </a:lnTo>
                    <a:lnTo>
                      <a:pt x="382" y="484"/>
                    </a:lnTo>
                    <a:lnTo>
                      <a:pt x="379" y="490"/>
                    </a:lnTo>
                    <a:lnTo>
                      <a:pt x="377" y="496"/>
                    </a:lnTo>
                    <a:lnTo>
                      <a:pt x="377" y="500"/>
                    </a:lnTo>
                    <a:lnTo>
                      <a:pt x="379" y="508"/>
                    </a:lnTo>
                    <a:lnTo>
                      <a:pt x="381" y="515"/>
                    </a:lnTo>
                    <a:lnTo>
                      <a:pt x="383" y="522"/>
                    </a:lnTo>
                    <a:lnTo>
                      <a:pt x="383" y="530"/>
                    </a:lnTo>
                    <a:lnTo>
                      <a:pt x="379" y="569"/>
                    </a:lnTo>
                    <a:lnTo>
                      <a:pt x="378" y="576"/>
                    </a:lnTo>
                    <a:lnTo>
                      <a:pt x="377" y="580"/>
                    </a:lnTo>
                    <a:lnTo>
                      <a:pt x="378" y="585"/>
                    </a:lnTo>
                    <a:lnTo>
                      <a:pt x="381" y="596"/>
                    </a:lnTo>
                    <a:lnTo>
                      <a:pt x="381" y="605"/>
                    </a:lnTo>
                    <a:lnTo>
                      <a:pt x="377" y="623"/>
                    </a:lnTo>
                    <a:lnTo>
                      <a:pt x="377" y="628"/>
                    </a:lnTo>
                    <a:lnTo>
                      <a:pt x="374" y="625"/>
                    </a:lnTo>
                    <a:lnTo>
                      <a:pt x="366" y="621"/>
                    </a:lnTo>
                    <a:lnTo>
                      <a:pt x="354" y="615"/>
                    </a:lnTo>
                    <a:lnTo>
                      <a:pt x="351" y="614"/>
                    </a:lnTo>
                    <a:lnTo>
                      <a:pt x="346" y="614"/>
                    </a:lnTo>
                    <a:lnTo>
                      <a:pt x="344" y="614"/>
                    </a:lnTo>
                    <a:lnTo>
                      <a:pt x="339" y="614"/>
                    </a:lnTo>
                    <a:lnTo>
                      <a:pt x="336" y="616"/>
                    </a:lnTo>
                    <a:lnTo>
                      <a:pt x="328" y="621"/>
                    </a:lnTo>
                    <a:lnTo>
                      <a:pt x="313" y="600"/>
                    </a:lnTo>
                    <a:lnTo>
                      <a:pt x="311" y="596"/>
                    </a:lnTo>
                    <a:lnTo>
                      <a:pt x="307" y="593"/>
                    </a:lnTo>
                    <a:lnTo>
                      <a:pt x="294" y="588"/>
                    </a:lnTo>
                    <a:lnTo>
                      <a:pt x="291" y="586"/>
                    </a:lnTo>
                    <a:lnTo>
                      <a:pt x="289" y="582"/>
                    </a:lnTo>
                    <a:lnTo>
                      <a:pt x="283" y="572"/>
                    </a:lnTo>
                    <a:lnTo>
                      <a:pt x="281" y="568"/>
                    </a:lnTo>
                    <a:lnTo>
                      <a:pt x="277" y="564"/>
                    </a:lnTo>
                    <a:lnTo>
                      <a:pt x="264" y="553"/>
                    </a:lnTo>
                    <a:lnTo>
                      <a:pt x="261" y="549"/>
                    </a:lnTo>
                    <a:lnTo>
                      <a:pt x="261" y="544"/>
                    </a:lnTo>
                    <a:lnTo>
                      <a:pt x="261" y="537"/>
                    </a:lnTo>
                    <a:lnTo>
                      <a:pt x="260" y="534"/>
                    </a:lnTo>
                    <a:lnTo>
                      <a:pt x="258" y="531"/>
                    </a:lnTo>
                    <a:lnTo>
                      <a:pt x="252" y="529"/>
                    </a:lnTo>
                    <a:lnTo>
                      <a:pt x="250" y="530"/>
                    </a:lnTo>
                    <a:lnTo>
                      <a:pt x="242" y="534"/>
                    </a:lnTo>
                    <a:lnTo>
                      <a:pt x="235" y="540"/>
                    </a:lnTo>
                    <a:lnTo>
                      <a:pt x="232" y="542"/>
                    </a:lnTo>
                    <a:lnTo>
                      <a:pt x="230" y="546"/>
                    </a:lnTo>
                    <a:lnTo>
                      <a:pt x="226" y="553"/>
                    </a:lnTo>
                    <a:lnTo>
                      <a:pt x="218" y="582"/>
                    </a:lnTo>
                    <a:lnTo>
                      <a:pt x="217" y="586"/>
                    </a:lnTo>
                    <a:lnTo>
                      <a:pt x="215" y="588"/>
                    </a:lnTo>
                    <a:lnTo>
                      <a:pt x="212" y="589"/>
                    </a:lnTo>
                    <a:lnTo>
                      <a:pt x="208" y="589"/>
                    </a:lnTo>
                    <a:lnTo>
                      <a:pt x="204" y="587"/>
                    </a:lnTo>
                    <a:lnTo>
                      <a:pt x="201" y="585"/>
                    </a:lnTo>
                    <a:lnTo>
                      <a:pt x="185" y="569"/>
                    </a:lnTo>
                    <a:lnTo>
                      <a:pt x="182" y="564"/>
                    </a:lnTo>
                    <a:lnTo>
                      <a:pt x="180" y="561"/>
                    </a:lnTo>
                    <a:lnTo>
                      <a:pt x="178" y="557"/>
                    </a:lnTo>
                    <a:lnTo>
                      <a:pt x="177" y="553"/>
                    </a:lnTo>
                    <a:lnTo>
                      <a:pt x="173" y="549"/>
                    </a:lnTo>
                    <a:lnTo>
                      <a:pt x="169" y="547"/>
                    </a:lnTo>
                    <a:lnTo>
                      <a:pt x="164" y="546"/>
                    </a:lnTo>
                    <a:lnTo>
                      <a:pt x="139" y="546"/>
                    </a:lnTo>
                    <a:lnTo>
                      <a:pt x="134" y="545"/>
                    </a:lnTo>
                    <a:lnTo>
                      <a:pt x="131" y="543"/>
                    </a:lnTo>
                    <a:lnTo>
                      <a:pt x="127" y="539"/>
                    </a:lnTo>
                    <a:lnTo>
                      <a:pt x="125" y="535"/>
                    </a:lnTo>
                    <a:lnTo>
                      <a:pt x="124" y="529"/>
                    </a:lnTo>
                    <a:lnTo>
                      <a:pt x="123" y="526"/>
                    </a:lnTo>
                    <a:lnTo>
                      <a:pt x="120" y="524"/>
                    </a:lnTo>
                    <a:lnTo>
                      <a:pt x="116" y="521"/>
                    </a:lnTo>
                    <a:lnTo>
                      <a:pt x="111" y="520"/>
                    </a:lnTo>
                    <a:lnTo>
                      <a:pt x="108" y="520"/>
                    </a:lnTo>
                    <a:lnTo>
                      <a:pt x="96" y="522"/>
                    </a:lnTo>
                    <a:lnTo>
                      <a:pt x="94" y="520"/>
                    </a:lnTo>
                    <a:lnTo>
                      <a:pt x="91" y="519"/>
                    </a:lnTo>
                    <a:lnTo>
                      <a:pt x="89" y="513"/>
                    </a:lnTo>
                    <a:lnTo>
                      <a:pt x="89" y="510"/>
                    </a:lnTo>
                    <a:lnTo>
                      <a:pt x="89" y="505"/>
                    </a:lnTo>
                    <a:lnTo>
                      <a:pt x="93" y="484"/>
                    </a:lnTo>
                    <a:lnTo>
                      <a:pt x="93" y="481"/>
                    </a:lnTo>
                    <a:lnTo>
                      <a:pt x="92" y="477"/>
                    </a:lnTo>
                    <a:lnTo>
                      <a:pt x="90" y="474"/>
                    </a:lnTo>
                    <a:lnTo>
                      <a:pt x="84" y="473"/>
                    </a:lnTo>
                    <a:lnTo>
                      <a:pt x="65" y="474"/>
                    </a:lnTo>
                    <a:lnTo>
                      <a:pt x="71" y="451"/>
                    </a:lnTo>
                    <a:lnTo>
                      <a:pt x="72" y="447"/>
                    </a:lnTo>
                    <a:lnTo>
                      <a:pt x="72" y="443"/>
                    </a:lnTo>
                    <a:lnTo>
                      <a:pt x="70" y="437"/>
                    </a:lnTo>
                    <a:lnTo>
                      <a:pt x="58" y="402"/>
                    </a:lnTo>
                    <a:lnTo>
                      <a:pt x="57" y="398"/>
                    </a:lnTo>
                    <a:lnTo>
                      <a:pt x="54" y="396"/>
                    </a:lnTo>
                    <a:lnTo>
                      <a:pt x="50" y="394"/>
                    </a:lnTo>
                    <a:lnTo>
                      <a:pt x="47" y="392"/>
                    </a:lnTo>
                    <a:lnTo>
                      <a:pt x="40" y="391"/>
                    </a:lnTo>
                    <a:lnTo>
                      <a:pt x="33" y="390"/>
                    </a:lnTo>
                    <a:lnTo>
                      <a:pt x="14" y="390"/>
                    </a:lnTo>
                    <a:lnTo>
                      <a:pt x="12" y="389"/>
                    </a:lnTo>
                    <a:lnTo>
                      <a:pt x="8" y="388"/>
                    </a:lnTo>
                    <a:lnTo>
                      <a:pt x="5" y="385"/>
                    </a:lnTo>
                    <a:lnTo>
                      <a:pt x="3" y="382"/>
                    </a:lnTo>
                    <a:lnTo>
                      <a:pt x="2" y="378"/>
                    </a:lnTo>
                    <a:lnTo>
                      <a:pt x="1" y="374"/>
                    </a:lnTo>
                    <a:lnTo>
                      <a:pt x="0" y="366"/>
                    </a:lnTo>
                    <a:lnTo>
                      <a:pt x="1" y="326"/>
                    </a:lnTo>
                    <a:lnTo>
                      <a:pt x="2" y="322"/>
                    </a:lnTo>
                    <a:lnTo>
                      <a:pt x="3" y="321"/>
                    </a:lnTo>
                    <a:lnTo>
                      <a:pt x="5" y="322"/>
                    </a:lnTo>
                    <a:lnTo>
                      <a:pt x="8" y="324"/>
                    </a:lnTo>
                    <a:lnTo>
                      <a:pt x="12" y="326"/>
                    </a:lnTo>
                    <a:lnTo>
                      <a:pt x="15" y="326"/>
                    </a:lnTo>
                    <a:lnTo>
                      <a:pt x="19" y="324"/>
                    </a:lnTo>
                    <a:lnTo>
                      <a:pt x="27" y="318"/>
                    </a:lnTo>
                    <a:lnTo>
                      <a:pt x="35" y="313"/>
                    </a:lnTo>
                    <a:lnTo>
                      <a:pt x="38" y="313"/>
                    </a:lnTo>
                    <a:lnTo>
                      <a:pt x="42" y="312"/>
                    </a:lnTo>
                    <a:lnTo>
                      <a:pt x="45" y="312"/>
                    </a:lnTo>
                    <a:lnTo>
                      <a:pt x="64" y="313"/>
                    </a:lnTo>
                    <a:lnTo>
                      <a:pt x="66" y="313"/>
                    </a:lnTo>
                    <a:lnTo>
                      <a:pt x="69" y="313"/>
                    </a:lnTo>
                    <a:lnTo>
                      <a:pt x="72" y="312"/>
                    </a:lnTo>
                    <a:lnTo>
                      <a:pt x="75" y="309"/>
                    </a:lnTo>
                    <a:lnTo>
                      <a:pt x="77" y="306"/>
                    </a:lnTo>
                    <a:lnTo>
                      <a:pt x="79" y="303"/>
                    </a:lnTo>
                    <a:lnTo>
                      <a:pt x="84" y="284"/>
                    </a:lnTo>
                    <a:lnTo>
                      <a:pt x="84" y="280"/>
                    </a:lnTo>
                    <a:lnTo>
                      <a:pt x="83" y="276"/>
                    </a:lnTo>
                    <a:lnTo>
                      <a:pt x="76" y="264"/>
                    </a:lnTo>
                    <a:lnTo>
                      <a:pt x="75" y="260"/>
                    </a:lnTo>
                    <a:lnTo>
                      <a:pt x="75" y="255"/>
                    </a:lnTo>
                    <a:lnTo>
                      <a:pt x="75" y="252"/>
                    </a:lnTo>
                    <a:lnTo>
                      <a:pt x="80" y="229"/>
                    </a:lnTo>
                    <a:lnTo>
                      <a:pt x="80" y="225"/>
                    </a:lnTo>
                    <a:lnTo>
                      <a:pt x="80" y="222"/>
                    </a:lnTo>
                    <a:lnTo>
                      <a:pt x="80" y="217"/>
                    </a:lnTo>
                    <a:lnTo>
                      <a:pt x="77" y="214"/>
                    </a:lnTo>
                    <a:lnTo>
                      <a:pt x="75" y="211"/>
                    </a:lnTo>
                    <a:lnTo>
                      <a:pt x="73" y="209"/>
                    </a:lnTo>
                    <a:lnTo>
                      <a:pt x="70" y="208"/>
                    </a:lnTo>
                    <a:lnTo>
                      <a:pt x="67" y="207"/>
                    </a:lnTo>
                    <a:lnTo>
                      <a:pt x="60" y="208"/>
                    </a:lnTo>
                    <a:lnTo>
                      <a:pt x="52" y="211"/>
                    </a:lnTo>
                    <a:lnTo>
                      <a:pt x="70" y="174"/>
                    </a:lnTo>
                    <a:lnTo>
                      <a:pt x="72" y="165"/>
                    </a:lnTo>
                    <a:lnTo>
                      <a:pt x="73" y="153"/>
                    </a:lnTo>
                    <a:lnTo>
                      <a:pt x="74" y="147"/>
                    </a:lnTo>
                    <a:lnTo>
                      <a:pt x="77" y="143"/>
                    </a:lnTo>
                    <a:lnTo>
                      <a:pt x="80" y="139"/>
                    </a:lnTo>
                    <a:lnTo>
                      <a:pt x="100" y="126"/>
                    </a:lnTo>
                    <a:lnTo>
                      <a:pt x="103" y="123"/>
                    </a:lnTo>
                    <a:lnTo>
                      <a:pt x="108" y="117"/>
                    </a:lnTo>
                    <a:lnTo>
                      <a:pt x="109" y="112"/>
                    </a:lnTo>
                    <a:lnTo>
                      <a:pt x="108" y="108"/>
                    </a:lnTo>
                    <a:lnTo>
                      <a:pt x="106" y="105"/>
                    </a:lnTo>
                    <a:lnTo>
                      <a:pt x="102" y="100"/>
                    </a:lnTo>
                    <a:lnTo>
                      <a:pt x="101" y="95"/>
                    </a:lnTo>
                    <a:lnTo>
                      <a:pt x="100" y="91"/>
                    </a:lnTo>
                    <a:lnTo>
                      <a:pt x="109" y="63"/>
                    </a:lnTo>
                    <a:lnTo>
                      <a:pt x="111" y="68"/>
                    </a:lnTo>
                    <a:lnTo>
                      <a:pt x="128" y="103"/>
                    </a:lnTo>
                    <a:lnTo>
                      <a:pt x="132" y="107"/>
                    </a:lnTo>
                    <a:lnTo>
                      <a:pt x="134" y="110"/>
                    </a:lnTo>
                    <a:lnTo>
                      <a:pt x="138" y="112"/>
                    </a:lnTo>
                    <a:lnTo>
                      <a:pt x="141" y="114"/>
                    </a:lnTo>
                    <a:lnTo>
                      <a:pt x="147" y="113"/>
                    </a:lnTo>
                    <a:lnTo>
                      <a:pt x="152" y="111"/>
                    </a:lnTo>
                    <a:lnTo>
                      <a:pt x="161" y="106"/>
                    </a:lnTo>
                    <a:lnTo>
                      <a:pt x="167" y="102"/>
                    </a:lnTo>
                    <a:lnTo>
                      <a:pt x="209" y="63"/>
                    </a:lnTo>
                    <a:lnTo>
                      <a:pt x="242" y="45"/>
                    </a:lnTo>
                    <a:lnTo>
                      <a:pt x="247" y="41"/>
                    </a:lnTo>
                    <a:lnTo>
                      <a:pt x="253" y="34"/>
                    </a:lnTo>
                    <a:lnTo>
                      <a:pt x="258" y="31"/>
                    </a:lnTo>
                    <a:lnTo>
                      <a:pt x="262" y="30"/>
                    </a:lnTo>
                    <a:lnTo>
                      <a:pt x="268" y="29"/>
                    </a:lnTo>
                    <a:lnTo>
                      <a:pt x="278" y="29"/>
                    </a:lnTo>
                    <a:lnTo>
                      <a:pt x="282" y="28"/>
                    </a:lnTo>
                    <a:lnTo>
                      <a:pt x="284" y="27"/>
                    </a:lnTo>
                    <a:lnTo>
                      <a:pt x="295" y="23"/>
                    </a:lnTo>
                    <a:lnTo>
                      <a:pt x="300" y="21"/>
                    </a:lnTo>
                    <a:lnTo>
                      <a:pt x="307" y="20"/>
                    </a:lnTo>
                    <a:lnTo>
                      <a:pt x="312" y="20"/>
                    </a:lnTo>
                    <a:lnTo>
                      <a:pt x="316" y="21"/>
                    </a:lnTo>
                    <a:lnTo>
                      <a:pt x="328" y="25"/>
                    </a:lnTo>
                    <a:lnTo>
                      <a:pt x="332" y="24"/>
                    </a:lnTo>
                    <a:lnTo>
                      <a:pt x="338" y="23"/>
                    </a:lnTo>
                    <a:lnTo>
                      <a:pt x="365" y="7"/>
                    </a:lnTo>
                    <a:lnTo>
                      <a:pt x="382" y="0"/>
                    </a:lnTo>
                    <a:lnTo>
                      <a:pt x="406" y="22"/>
                    </a:lnTo>
                    <a:lnTo>
                      <a:pt x="416" y="32"/>
                    </a:lnTo>
                    <a:lnTo>
                      <a:pt x="421" y="41"/>
                    </a:lnTo>
                    <a:lnTo>
                      <a:pt x="431" y="55"/>
                    </a:lnTo>
                    <a:lnTo>
                      <a:pt x="445" y="70"/>
                    </a:lnTo>
                    <a:lnTo>
                      <a:pt x="447" y="75"/>
                    </a:lnTo>
                    <a:lnTo>
                      <a:pt x="448" y="78"/>
                    </a:lnTo>
                    <a:lnTo>
                      <a:pt x="449" y="82"/>
                    </a:lnTo>
                    <a:lnTo>
                      <a:pt x="448" y="85"/>
                    </a:lnTo>
                    <a:lnTo>
                      <a:pt x="447" y="90"/>
                    </a:lnTo>
                    <a:lnTo>
                      <a:pt x="446" y="92"/>
                    </a:lnTo>
                    <a:lnTo>
                      <a:pt x="435" y="108"/>
                    </a:lnTo>
                    <a:lnTo>
                      <a:pt x="433" y="115"/>
                    </a:lnTo>
                    <a:lnTo>
                      <a:pt x="426" y="146"/>
                    </a:lnTo>
                    <a:lnTo>
                      <a:pt x="426" y="150"/>
                    </a:lnTo>
                    <a:lnTo>
                      <a:pt x="426" y="156"/>
                    </a:lnTo>
                    <a:lnTo>
                      <a:pt x="430" y="160"/>
                    </a:lnTo>
                    <a:lnTo>
                      <a:pt x="439" y="171"/>
                    </a:lnTo>
                    <a:lnTo>
                      <a:pt x="456" y="199"/>
                    </a:lnTo>
                    <a:lnTo>
                      <a:pt x="521" y="260"/>
                    </a:lnTo>
                    <a:lnTo>
                      <a:pt x="524" y="261"/>
                    </a:lnTo>
                    <a:lnTo>
                      <a:pt x="524" y="261"/>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22" name="Freeform 17">
                <a:extLst>
                  <a:ext uri="{FF2B5EF4-FFF2-40B4-BE49-F238E27FC236}"/>
                </a:extLst>
              </p:cNvPr>
              <p:cNvSpPr>
                <a:spLocks noEditPoints="1"/>
              </p:cNvSpPr>
              <p:nvPr/>
            </p:nvSpPr>
            <p:spPr bwMode="auto">
              <a:xfrm>
                <a:off x="3562350" y="5926138"/>
                <a:ext cx="465138" cy="544513"/>
              </a:xfrm>
              <a:custGeom>
                <a:avLst/>
                <a:gdLst>
                  <a:gd name="T0" fmla="*/ 67 w 293"/>
                  <a:gd name="T1" fmla="*/ 278 h 343"/>
                  <a:gd name="T2" fmla="*/ 74 w 293"/>
                  <a:gd name="T3" fmla="*/ 279 h 343"/>
                  <a:gd name="T4" fmla="*/ 81 w 293"/>
                  <a:gd name="T5" fmla="*/ 266 h 343"/>
                  <a:gd name="T6" fmla="*/ 93 w 293"/>
                  <a:gd name="T7" fmla="*/ 282 h 343"/>
                  <a:gd name="T8" fmla="*/ 99 w 293"/>
                  <a:gd name="T9" fmla="*/ 302 h 343"/>
                  <a:gd name="T10" fmla="*/ 83 w 293"/>
                  <a:gd name="T11" fmla="*/ 297 h 343"/>
                  <a:gd name="T12" fmla="*/ 78 w 293"/>
                  <a:gd name="T13" fmla="*/ 287 h 343"/>
                  <a:gd name="T14" fmla="*/ 51 w 293"/>
                  <a:gd name="T15" fmla="*/ 283 h 343"/>
                  <a:gd name="T16" fmla="*/ 33 w 293"/>
                  <a:gd name="T17" fmla="*/ 266 h 343"/>
                  <a:gd name="T18" fmla="*/ 28 w 293"/>
                  <a:gd name="T19" fmla="*/ 251 h 343"/>
                  <a:gd name="T20" fmla="*/ 45 w 293"/>
                  <a:gd name="T21" fmla="*/ 264 h 343"/>
                  <a:gd name="T22" fmla="*/ 59 w 293"/>
                  <a:gd name="T23" fmla="*/ 243 h 343"/>
                  <a:gd name="T24" fmla="*/ 59 w 293"/>
                  <a:gd name="T25" fmla="*/ 258 h 343"/>
                  <a:gd name="T26" fmla="*/ 68 w 293"/>
                  <a:gd name="T27" fmla="*/ 272 h 343"/>
                  <a:gd name="T28" fmla="*/ 45 w 293"/>
                  <a:gd name="T29" fmla="*/ 259 h 343"/>
                  <a:gd name="T30" fmla="*/ 53 w 293"/>
                  <a:gd name="T31" fmla="*/ 244 h 343"/>
                  <a:gd name="T32" fmla="*/ 45 w 293"/>
                  <a:gd name="T33" fmla="*/ 233 h 343"/>
                  <a:gd name="T34" fmla="*/ 51 w 293"/>
                  <a:gd name="T35" fmla="*/ 232 h 343"/>
                  <a:gd name="T36" fmla="*/ 286 w 293"/>
                  <a:gd name="T37" fmla="*/ 152 h 343"/>
                  <a:gd name="T38" fmla="*/ 278 w 293"/>
                  <a:gd name="T39" fmla="*/ 185 h 343"/>
                  <a:gd name="T40" fmla="*/ 261 w 293"/>
                  <a:gd name="T41" fmla="*/ 199 h 343"/>
                  <a:gd name="T42" fmla="*/ 257 w 293"/>
                  <a:gd name="T43" fmla="*/ 223 h 343"/>
                  <a:gd name="T44" fmla="*/ 254 w 293"/>
                  <a:gd name="T45" fmla="*/ 248 h 343"/>
                  <a:gd name="T46" fmla="*/ 271 w 293"/>
                  <a:gd name="T47" fmla="*/ 268 h 343"/>
                  <a:gd name="T48" fmla="*/ 263 w 293"/>
                  <a:gd name="T49" fmla="*/ 279 h 343"/>
                  <a:gd name="T50" fmla="*/ 256 w 293"/>
                  <a:gd name="T51" fmla="*/ 289 h 343"/>
                  <a:gd name="T52" fmla="*/ 243 w 293"/>
                  <a:gd name="T53" fmla="*/ 311 h 343"/>
                  <a:gd name="T54" fmla="*/ 219 w 293"/>
                  <a:gd name="T55" fmla="*/ 323 h 343"/>
                  <a:gd name="T56" fmla="*/ 208 w 293"/>
                  <a:gd name="T57" fmla="*/ 340 h 343"/>
                  <a:gd name="T58" fmla="*/ 200 w 293"/>
                  <a:gd name="T59" fmla="*/ 325 h 343"/>
                  <a:gd name="T60" fmla="*/ 191 w 293"/>
                  <a:gd name="T61" fmla="*/ 289 h 343"/>
                  <a:gd name="T62" fmla="*/ 187 w 293"/>
                  <a:gd name="T63" fmla="*/ 280 h 343"/>
                  <a:gd name="T64" fmla="*/ 173 w 293"/>
                  <a:gd name="T65" fmla="*/ 264 h 343"/>
                  <a:gd name="T66" fmla="*/ 160 w 293"/>
                  <a:gd name="T67" fmla="*/ 244 h 343"/>
                  <a:gd name="T68" fmla="*/ 151 w 293"/>
                  <a:gd name="T69" fmla="*/ 226 h 343"/>
                  <a:gd name="T70" fmla="*/ 138 w 293"/>
                  <a:gd name="T71" fmla="*/ 213 h 343"/>
                  <a:gd name="T72" fmla="*/ 129 w 293"/>
                  <a:gd name="T73" fmla="*/ 206 h 343"/>
                  <a:gd name="T74" fmla="*/ 128 w 293"/>
                  <a:gd name="T75" fmla="*/ 213 h 343"/>
                  <a:gd name="T76" fmla="*/ 120 w 293"/>
                  <a:gd name="T77" fmla="*/ 159 h 343"/>
                  <a:gd name="T78" fmla="*/ 113 w 293"/>
                  <a:gd name="T79" fmla="*/ 149 h 343"/>
                  <a:gd name="T80" fmla="*/ 89 w 293"/>
                  <a:gd name="T81" fmla="*/ 127 h 343"/>
                  <a:gd name="T82" fmla="*/ 77 w 293"/>
                  <a:gd name="T83" fmla="*/ 118 h 343"/>
                  <a:gd name="T84" fmla="*/ 63 w 293"/>
                  <a:gd name="T85" fmla="*/ 106 h 343"/>
                  <a:gd name="T86" fmla="*/ 32 w 293"/>
                  <a:gd name="T87" fmla="*/ 86 h 343"/>
                  <a:gd name="T88" fmla="*/ 13 w 293"/>
                  <a:gd name="T89" fmla="*/ 61 h 343"/>
                  <a:gd name="T90" fmla="*/ 3 w 293"/>
                  <a:gd name="T91" fmla="*/ 44 h 343"/>
                  <a:gd name="T92" fmla="*/ 8 w 293"/>
                  <a:gd name="T93" fmla="*/ 22 h 343"/>
                  <a:gd name="T94" fmla="*/ 49 w 293"/>
                  <a:gd name="T95" fmla="*/ 0 h 343"/>
                  <a:gd name="T96" fmla="*/ 54 w 293"/>
                  <a:gd name="T97" fmla="*/ 37 h 343"/>
                  <a:gd name="T98" fmla="*/ 76 w 293"/>
                  <a:gd name="T99" fmla="*/ 47 h 343"/>
                  <a:gd name="T100" fmla="*/ 92 w 293"/>
                  <a:gd name="T101" fmla="*/ 66 h 343"/>
                  <a:gd name="T102" fmla="*/ 138 w 293"/>
                  <a:gd name="T103" fmla="*/ 76 h 343"/>
                  <a:gd name="T104" fmla="*/ 166 w 293"/>
                  <a:gd name="T105" fmla="*/ 112 h 343"/>
                  <a:gd name="T106" fmla="*/ 183 w 293"/>
                  <a:gd name="T107" fmla="*/ 109 h 343"/>
                  <a:gd name="T108" fmla="*/ 215 w 293"/>
                  <a:gd name="T109" fmla="*/ 57 h 343"/>
                  <a:gd name="T110" fmla="*/ 226 w 293"/>
                  <a:gd name="T111" fmla="*/ 76 h 343"/>
                  <a:gd name="T112" fmla="*/ 256 w 293"/>
                  <a:gd name="T113" fmla="*/ 113 h 343"/>
                  <a:gd name="T114" fmla="*/ 293 w 293"/>
                  <a:gd name="T115" fmla="*/ 1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3" h="343">
                    <a:moveTo>
                      <a:pt x="51" y="276"/>
                    </a:moveTo>
                    <a:lnTo>
                      <a:pt x="53" y="277"/>
                    </a:lnTo>
                    <a:lnTo>
                      <a:pt x="58" y="276"/>
                    </a:lnTo>
                    <a:lnTo>
                      <a:pt x="60" y="279"/>
                    </a:lnTo>
                    <a:lnTo>
                      <a:pt x="63" y="279"/>
                    </a:lnTo>
                    <a:lnTo>
                      <a:pt x="67" y="278"/>
                    </a:lnTo>
                    <a:lnTo>
                      <a:pt x="70" y="278"/>
                    </a:lnTo>
                    <a:lnTo>
                      <a:pt x="72" y="281"/>
                    </a:lnTo>
                    <a:lnTo>
                      <a:pt x="72" y="282"/>
                    </a:lnTo>
                    <a:lnTo>
                      <a:pt x="74" y="282"/>
                    </a:lnTo>
                    <a:lnTo>
                      <a:pt x="79" y="280"/>
                    </a:lnTo>
                    <a:lnTo>
                      <a:pt x="74" y="279"/>
                    </a:lnTo>
                    <a:lnTo>
                      <a:pt x="72" y="275"/>
                    </a:lnTo>
                    <a:lnTo>
                      <a:pt x="74" y="272"/>
                    </a:lnTo>
                    <a:lnTo>
                      <a:pt x="75" y="267"/>
                    </a:lnTo>
                    <a:lnTo>
                      <a:pt x="76" y="266"/>
                    </a:lnTo>
                    <a:lnTo>
                      <a:pt x="78" y="265"/>
                    </a:lnTo>
                    <a:lnTo>
                      <a:pt x="81" y="266"/>
                    </a:lnTo>
                    <a:lnTo>
                      <a:pt x="85" y="268"/>
                    </a:lnTo>
                    <a:lnTo>
                      <a:pt x="86" y="272"/>
                    </a:lnTo>
                    <a:lnTo>
                      <a:pt x="88" y="275"/>
                    </a:lnTo>
                    <a:lnTo>
                      <a:pt x="88" y="277"/>
                    </a:lnTo>
                    <a:lnTo>
                      <a:pt x="91" y="278"/>
                    </a:lnTo>
                    <a:lnTo>
                      <a:pt x="93" y="282"/>
                    </a:lnTo>
                    <a:lnTo>
                      <a:pt x="99" y="284"/>
                    </a:lnTo>
                    <a:lnTo>
                      <a:pt x="99" y="286"/>
                    </a:lnTo>
                    <a:lnTo>
                      <a:pt x="98" y="289"/>
                    </a:lnTo>
                    <a:lnTo>
                      <a:pt x="98" y="293"/>
                    </a:lnTo>
                    <a:lnTo>
                      <a:pt x="98" y="297"/>
                    </a:lnTo>
                    <a:lnTo>
                      <a:pt x="99" y="302"/>
                    </a:lnTo>
                    <a:lnTo>
                      <a:pt x="98" y="305"/>
                    </a:lnTo>
                    <a:lnTo>
                      <a:pt x="98" y="305"/>
                    </a:lnTo>
                    <a:lnTo>
                      <a:pt x="94" y="305"/>
                    </a:lnTo>
                    <a:lnTo>
                      <a:pt x="90" y="299"/>
                    </a:lnTo>
                    <a:lnTo>
                      <a:pt x="86" y="298"/>
                    </a:lnTo>
                    <a:lnTo>
                      <a:pt x="83" y="297"/>
                    </a:lnTo>
                    <a:lnTo>
                      <a:pt x="81" y="297"/>
                    </a:lnTo>
                    <a:lnTo>
                      <a:pt x="85" y="294"/>
                    </a:lnTo>
                    <a:lnTo>
                      <a:pt x="88" y="292"/>
                    </a:lnTo>
                    <a:lnTo>
                      <a:pt x="86" y="289"/>
                    </a:lnTo>
                    <a:lnTo>
                      <a:pt x="83" y="286"/>
                    </a:lnTo>
                    <a:lnTo>
                      <a:pt x="78" y="287"/>
                    </a:lnTo>
                    <a:lnTo>
                      <a:pt x="73" y="287"/>
                    </a:lnTo>
                    <a:lnTo>
                      <a:pt x="70" y="288"/>
                    </a:lnTo>
                    <a:lnTo>
                      <a:pt x="64" y="291"/>
                    </a:lnTo>
                    <a:lnTo>
                      <a:pt x="60" y="290"/>
                    </a:lnTo>
                    <a:lnTo>
                      <a:pt x="54" y="284"/>
                    </a:lnTo>
                    <a:lnTo>
                      <a:pt x="51" y="283"/>
                    </a:lnTo>
                    <a:lnTo>
                      <a:pt x="45" y="280"/>
                    </a:lnTo>
                    <a:lnTo>
                      <a:pt x="42" y="277"/>
                    </a:lnTo>
                    <a:lnTo>
                      <a:pt x="40" y="274"/>
                    </a:lnTo>
                    <a:lnTo>
                      <a:pt x="38" y="268"/>
                    </a:lnTo>
                    <a:lnTo>
                      <a:pt x="36" y="266"/>
                    </a:lnTo>
                    <a:lnTo>
                      <a:pt x="33" y="266"/>
                    </a:lnTo>
                    <a:lnTo>
                      <a:pt x="31" y="265"/>
                    </a:lnTo>
                    <a:lnTo>
                      <a:pt x="31" y="264"/>
                    </a:lnTo>
                    <a:lnTo>
                      <a:pt x="31" y="260"/>
                    </a:lnTo>
                    <a:lnTo>
                      <a:pt x="29" y="257"/>
                    </a:lnTo>
                    <a:lnTo>
                      <a:pt x="27" y="254"/>
                    </a:lnTo>
                    <a:lnTo>
                      <a:pt x="28" y="251"/>
                    </a:lnTo>
                    <a:lnTo>
                      <a:pt x="30" y="251"/>
                    </a:lnTo>
                    <a:lnTo>
                      <a:pt x="30" y="252"/>
                    </a:lnTo>
                    <a:lnTo>
                      <a:pt x="33" y="254"/>
                    </a:lnTo>
                    <a:lnTo>
                      <a:pt x="39" y="258"/>
                    </a:lnTo>
                    <a:lnTo>
                      <a:pt x="43" y="261"/>
                    </a:lnTo>
                    <a:lnTo>
                      <a:pt x="45" y="264"/>
                    </a:lnTo>
                    <a:lnTo>
                      <a:pt x="45" y="268"/>
                    </a:lnTo>
                    <a:lnTo>
                      <a:pt x="45" y="270"/>
                    </a:lnTo>
                    <a:lnTo>
                      <a:pt x="48" y="274"/>
                    </a:lnTo>
                    <a:lnTo>
                      <a:pt x="51" y="276"/>
                    </a:lnTo>
                    <a:lnTo>
                      <a:pt x="51" y="276"/>
                    </a:lnTo>
                    <a:close/>
                    <a:moveTo>
                      <a:pt x="59" y="243"/>
                    </a:moveTo>
                    <a:lnTo>
                      <a:pt x="59" y="246"/>
                    </a:lnTo>
                    <a:lnTo>
                      <a:pt x="58" y="250"/>
                    </a:lnTo>
                    <a:lnTo>
                      <a:pt x="59" y="252"/>
                    </a:lnTo>
                    <a:lnTo>
                      <a:pt x="64" y="254"/>
                    </a:lnTo>
                    <a:lnTo>
                      <a:pt x="66" y="258"/>
                    </a:lnTo>
                    <a:lnTo>
                      <a:pt x="59" y="258"/>
                    </a:lnTo>
                    <a:lnTo>
                      <a:pt x="57" y="261"/>
                    </a:lnTo>
                    <a:lnTo>
                      <a:pt x="58" y="264"/>
                    </a:lnTo>
                    <a:lnTo>
                      <a:pt x="61" y="265"/>
                    </a:lnTo>
                    <a:lnTo>
                      <a:pt x="64" y="267"/>
                    </a:lnTo>
                    <a:lnTo>
                      <a:pt x="68" y="268"/>
                    </a:lnTo>
                    <a:lnTo>
                      <a:pt x="68" y="272"/>
                    </a:lnTo>
                    <a:lnTo>
                      <a:pt x="68" y="274"/>
                    </a:lnTo>
                    <a:lnTo>
                      <a:pt x="63" y="272"/>
                    </a:lnTo>
                    <a:lnTo>
                      <a:pt x="58" y="269"/>
                    </a:lnTo>
                    <a:lnTo>
                      <a:pt x="54" y="269"/>
                    </a:lnTo>
                    <a:lnTo>
                      <a:pt x="52" y="267"/>
                    </a:lnTo>
                    <a:lnTo>
                      <a:pt x="45" y="259"/>
                    </a:lnTo>
                    <a:lnTo>
                      <a:pt x="40" y="251"/>
                    </a:lnTo>
                    <a:lnTo>
                      <a:pt x="42" y="250"/>
                    </a:lnTo>
                    <a:lnTo>
                      <a:pt x="46" y="250"/>
                    </a:lnTo>
                    <a:lnTo>
                      <a:pt x="49" y="249"/>
                    </a:lnTo>
                    <a:lnTo>
                      <a:pt x="52" y="247"/>
                    </a:lnTo>
                    <a:lnTo>
                      <a:pt x="53" y="244"/>
                    </a:lnTo>
                    <a:lnTo>
                      <a:pt x="55" y="244"/>
                    </a:lnTo>
                    <a:lnTo>
                      <a:pt x="56" y="240"/>
                    </a:lnTo>
                    <a:lnTo>
                      <a:pt x="54" y="236"/>
                    </a:lnTo>
                    <a:lnTo>
                      <a:pt x="51" y="234"/>
                    </a:lnTo>
                    <a:lnTo>
                      <a:pt x="48" y="234"/>
                    </a:lnTo>
                    <a:lnTo>
                      <a:pt x="45" y="233"/>
                    </a:lnTo>
                    <a:lnTo>
                      <a:pt x="42" y="233"/>
                    </a:lnTo>
                    <a:lnTo>
                      <a:pt x="42" y="232"/>
                    </a:lnTo>
                    <a:lnTo>
                      <a:pt x="43" y="231"/>
                    </a:lnTo>
                    <a:lnTo>
                      <a:pt x="45" y="230"/>
                    </a:lnTo>
                    <a:lnTo>
                      <a:pt x="45" y="231"/>
                    </a:lnTo>
                    <a:lnTo>
                      <a:pt x="51" y="232"/>
                    </a:lnTo>
                    <a:lnTo>
                      <a:pt x="54" y="234"/>
                    </a:lnTo>
                    <a:lnTo>
                      <a:pt x="58" y="237"/>
                    </a:lnTo>
                    <a:lnTo>
                      <a:pt x="59" y="243"/>
                    </a:lnTo>
                    <a:lnTo>
                      <a:pt x="59" y="243"/>
                    </a:lnTo>
                    <a:close/>
                    <a:moveTo>
                      <a:pt x="293" y="148"/>
                    </a:moveTo>
                    <a:lnTo>
                      <a:pt x="286" y="152"/>
                    </a:lnTo>
                    <a:lnTo>
                      <a:pt x="271" y="164"/>
                    </a:lnTo>
                    <a:lnTo>
                      <a:pt x="263" y="175"/>
                    </a:lnTo>
                    <a:lnTo>
                      <a:pt x="263" y="175"/>
                    </a:lnTo>
                    <a:lnTo>
                      <a:pt x="272" y="178"/>
                    </a:lnTo>
                    <a:lnTo>
                      <a:pt x="276" y="181"/>
                    </a:lnTo>
                    <a:lnTo>
                      <a:pt x="278" y="185"/>
                    </a:lnTo>
                    <a:lnTo>
                      <a:pt x="277" y="188"/>
                    </a:lnTo>
                    <a:lnTo>
                      <a:pt x="273" y="190"/>
                    </a:lnTo>
                    <a:lnTo>
                      <a:pt x="270" y="190"/>
                    </a:lnTo>
                    <a:lnTo>
                      <a:pt x="264" y="193"/>
                    </a:lnTo>
                    <a:lnTo>
                      <a:pt x="262" y="196"/>
                    </a:lnTo>
                    <a:lnTo>
                      <a:pt x="261" y="199"/>
                    </a:lnTo>
                    <a:lnTo>
                      <a:pt x="261" y="203"/>
                    </a:lnTo>
                    <a:lnTo>
                      <a:pt x="259" y="206"/>
                    </a:lnTo>
                    <a:lnTo>
                      <a:pt x="256" y="213"/>
                    </a:lnTo>
                    <a:lnTo>
                      <a:pt x="256" y="217"/>
                    </a:lnTo>
                    <a:lnTo>
                      <a:pt x="256" y="221"/>
                    </a:lnTo>
                    <a:lnTo>
                      <a:pt x="257" y="223"/>
                    </a:lnTo>
                    <a:lnTo>
                      <a:pt x="258" y="227"/>
                    </a:lnTo>
                    <a:lnTo>
                      <a:pt x="258" y="231"/>
                    </a:lnTo>
                    <a:lnTo>
                      <a:pt x="257" y="234"/>
                    </a:lnTo>
                    <a:lnTo>
                      <a:pt x="255" y="241"/>
                    </a:lnTo>
                    <a:lnTo>
                      <a:pt x="254" y="245"/>
                    </a:lnTo>
                    <a:lnTo>
                      <a:pt x="254" y="248"/>
                    </a:lnTo>
                    <a:lnTo>
                      <a:pt x="257" y="255"/>
                    </a:lnTo>
                    <a:lnTo>
                      <a:pt x="260" y="261"/>
                    </a:lnTo>
                    <a:lnTo>
                      <a:pt x="262" y="263"/>
                    </a:lnTo>
                    <a:lnTo>
                      <a:pt x="268" y="265"/>
                    </a:lnTo>
                    <a:lnTo>
                      <a:pt x="270" y="267"/>
                    </a:lnTo>
                    <a:lnTo>
                      <a:pt x="271" y="268"/>
                    </a:lnTo>
                    <a:lnTo>
                      <a:pt x="271" y="270"/>
                    </a:lnTo>
                    <a:lnTo>
                      <a:pt x="270" y="272"/>
                    </a:lnTo>
                    <a:lnTo>
                      <a:pt x="269" y="273"/>
                    </a:lnTo>
                    <a:lnTo>
                      <a:pt x="268" y="274"/>
                    </a:lnTo>
                    <a:lnTo>
                      <a:pt x="266" y="274"/>
                    </a:lnTo>
                    <a:lnTo>
                      <a:pt x="263" y="279"/>
                    </a:lnTo>
                    <a:lnTo>
                      <a:pt x="263" y="281"/>
                    </a:lnTo>
                    <a:lnTo>
                      <a:pt x="265" y="283"/>
                    </a:lnTo>
                    <a:lnTo>
                      <a:pt x="266" y="288"/>
                    </a:lnTo>
                    <a:lnTo>
                      <a:pt x="265" y="291"/>
                    </a:lnTo>
                    <a:lnTo>
                      <a:pt x="263" y="291"/>
                    </a:lnTo>
                    <a:lnTo>
                      <a:pt x="256" y="289"/>
                    </a:lnTo>
                    <a:lnTo>
                      <a:pt x="252" y="289"/>
                    </a:lnTo>
                    <a:lnTo>
                      <a:pt x="249" y="289"/>
                    </a:lnTo>
                    <a:lnTo>
                      <a:pt x="248" y="292"/>
                    </a:lnTo>
                    <a:lnTo>
                      <a:pt x="248" y="296"/>
                    </a:lnTo>
                    <a:lnTo>
                      <a:pt x="248" y="299"/>
                    </a:lnTo>
                    <a:lnTo>
                      <a:pt x="243" y="311"/>
                    </a:lnTo>
                    <a:lnTo>
                      <a:pt x="241" y="313"/>
                    </a:lnTo>
                    <a:lnTo>
                      <a:pt x="238" y="316"/>
                    </a:lnTo>
                    <a:lnTo>
                      <a:pt x="231" y="320"/>
                    </a:lnTo>
                    <a:lnTo>
                      <a:pt x="228" y="321"/>
                    </a:lnTo>
                    <a:lnTo>
                      <a:pt x="221" y="323"/>
                    </a:lnTo>
                    <a:lnTo>
                      <a:pt x="219" y="323"/>
                    </a:lnTo>
                    <a:lnTo>
                      <a:pt x="219" y="326"/>
                    </a:lnTo>
                    <a:lnTo>
                      <a:pt x="219" y="328"/>
                    </a:lnTo>
                    <a:lnTo>
                      <a:pt x="219" y="331"/>
                    </a:lnTo>
                    <a:lnTo>
                      <a:pt x="218" y="334"/>
                    </a:lnTo>
                    <a:lnTo>
                      <a:pt x="214" y="337"/>
                    </a:lnTo>
                    <a:lnTo>
                      <a:pt x="208" y="340"/>
                    </a:lnTo>
                    <a:lnTo>
                      <a:pt x="200" y="343"/>
                    </a:lnTo>
                    <a:lnTo>
                      <a:pt x="200" y="343"/>
                    </a:lnTo>
                    <a:lnTo>
                      <a:pt x="200" y="335"/>
                    </a:lnTo>
                    <a:lnTo>
                      <a:pt x="199" y="334"/>
                    </a:lnTo>
                    <a:lnTo>
                      <a:pt x="201" y="328"/>
                    </a:lnTo>
                    <a:lnTo>
                      <a:pt x="200" y="325"/>
                    </a:lnTo>
                    <a:lnTo>
                      <a:pt x="192" y="316"/>
                    </a:lnTo>
                    <a:lnTo>
                      <a:pt x="190" y="312"/>
                    </a:lnTo>
                    <a:lnTo>
                      <a:pt x="189" y="308"/>
                    </a:lnTo>
                    <a:lnTo>
                      <a:pt x="189" y="301"/>
                    </a:lnTo>
                    <a:lnTo>
                      <a:pt x="191" y="293"/>
                    </a:lnTo>
                    <a:lnTo>
                      <a:pt x="191" y="289"/>
                    </a:lnTo>
                    <a:lnTo>
                      <a:pt x="188" y="289"/>
                    </a:lnTo>
                    <a:lnTo>
                      <a:pt x="189" y="288"/>
                    </a:lnTo>
                    <a:lnTo>
                      <a:pt x="188" y="286"/>
                    </a:lnTo>
                    <a:lnTo>
                      <a:pt x="186" y="283"/>
                    </a:lnTo>
                    <a:lnTo>
                      <a:pt x="185" y="281"/>
                    </a:lnTo>
                    <a:lnTo>
                      <a:pt x="187" y="280"/>
                    </a:lnTo>
                    <a:lnTo>
                      <a:pt x="186" y="278"/>
                    </a:lnTo>
                    <a:lnTo>
                      <a:pt x="181" y="274"/>
                    </a:lnTo>
                    <a:lnTo>
                      <a:pt x="181" y="273"/>
                    </a:lnTo>
                    <a:lnTo>
                      <a:pt x="178" y="269"/>
                    </a:lnTo>
                    <a:lnTo>
                      <a:pt x="174" y="265"/>
                    </a:lnTo>
                    <a:lnTo>
                      <a:pt x="173" y="264"/>
                    </a:lnTo>
                    <a:lnTo>
                      <a:pt x="168" y="261"/>
                    </a:lnTo>
                    <a:lnTo>
                      <a:pt x="166" y="261"/>
                    </a:lnTo>
                    <a:lnTo>
                      <a:pt x="165" y="262"/>
                    </a:lnTo>
                    <a:lnTo>
                      <a:pt x="158" y="254"/>
                    </a:lnTo>
                    <a:lnTo>
                      <a:pt x="161" y="246"/>
                    </a:lnTo>
                    <a:lnTo>
                      <a:pt x="160" y="244"/>
                    </a:lnTo>
                    <a:lnTo>
                      <a:pt x="160" y="235"/>
                    </a:lnTo>
                    <a:lnTo>
                      <a:pt x="159" y="231"/>
                    </a:lnTo>
                    <a:lnTo>
                      <a:pt x="156" y="229"/>
                    </a:lnTo>
                    <a:lnTo>
                      <a:pt x="155" y="228"/>
                    </a:lnTo>
                    <a:lnTo>
                      <a:pt x="154" y="226"/>
                    </a:lnTo>
                    <a:lnTo>
                      <a:pt x="151" y="226"/>
                    </a:lnTo>
                    <a:lnTo>
                      <a:pt x="147" y="226"/>
                    </a:lnTo>
                    <a:lnTo>
                      <a:pt x="145" y="226"/>
                    </a:lnTo>
                    <a:lnTo>
                      <a:pt x="143" y="224"/>
                    </a:lnTo>
                    <a:lnTo>
                      <a:pt x="141" y="221"/>
                    </a:lnTo>
                    <a:lnTo>
                      <a:pt x="139" y="216"/>
                    </a:lnTo>
                    <a:lnTo>
                      <a:pt x="138" y="213"/>
                    </a:lnTo>
                    <a:lnTo>
                      <a:pt x="137" y="207"/>
                    </a:lnTo>
                    <a:lnTo>
                      <a:pt x="136" y="205"/>
                    </a:lnTo>
                    <a:lnTo>
                      <a:pt x="135" y="204"/>
                    </a:lnTo>
                    <a:lnTo>
                      <a:pt x="128" y="200"/>
                    </a:lnTo>
                    <a:lnTo>
                      <a:pt x="128" y="204"/>
                    </a:lnTo>
                    <a:lnTo>
                      <a:pt x="129" y="206"/>
                    </a:lnTo>
                    <a:lnTo>
                      <a:pt x="132" y="211"/>
                    </a:lnTo>
                    <a:lnTo>
                      <a:pt x="128" y="213"/>
                    </a:lnTo>
                    <a:lnTo>
                      <a:pt x="130" y="225"/>
                    </a:lnTo>
                    <a:lnTo>
                      <a:pt x="128" y="228"/>
                    </a:lnTo>
                    <a:lnTo>
                      <a:pt x="128" y="224"/>
                    </a:lnTo>
                    <a:lnTo>
                      <a:pt x="128" y="213"/>
                    </a:lnTo>
                    <a:lnTo>
                      <a:pt x="127" y="209"/>
                    </a:lnTo>
                    <a:lnTo>
                      <a:pt x="125" y="202"/>
                    </a:lnTo>
                    <a:lnTo>
                      <a:pt x="121" y="178"/>
                    </a:lnTo>
                    <a:lnTo>
                      <a:pt x="120" y="171"/>
                    </a:lnTo>
                    <a:lnTo>
                      <a:pt x="121" y="162"/>
                    </a:lnTo>
                    <a:lnTo>
                      <a:pt x="120" y="159"/>
                    </a:lnTo>
                    <a:lnTo>
                      <a:pt x="120" y="154"/>
                    </a:lnTo>
                    <a:lnTo>
                      <a:pt x="119" y="152"/>
                    </a:lnTo>
                    <a:lnTo>
                      <a:pt x="117" y="152"/>
                    </a:lnTo>
                    <a:lnTo>
                      <a:pt x="113" y="152"/>
                    </a:lnTo>
                    <a:lnTo>
                      <a:pt x="113" y="151"/>
                    </a:lnTo>
                    <a:lnTo>
                      <a:pt x="113" y="149"/>
                    </a:lnTo>
                    <a:lnTo>
                      <a:pt x="112" y="147"/>
                    </a:lnTo>
                    <a:lnTo>
                      <a:pt x="93" y="131"/>
                    </a:lnTo>
                    <a:lnTo>
                      <a:pt x="92" y="131"/>
                    </a:lnTo>
                    <a:lnTo>
                      <a:pt x="91" y="132"/>
                    </a:lnTo>
                    <a:lnTo>
                      <a:pt x="90" y="130"/>
                    </a:lnTo>
                    <a:lnTo>
                      <a:pt x="89" y="127"/>
                    </a:lnTo>
                    <a:lnTo>
                      <a:pt x="85" y="122"/>
                    </a:lnTo>
                    <a:lnTo>
                      <a:pt x="84" y="119"/>
                    </a:lnTo>
                    <a:lnTo>
                      <a:pt x="83" y="118"/>
                    </a:lnTo>
                    <a:lnTo>
                      <a:pt x="83" y="117"/>
                    </a:lnTo>
                    <a:lnTo>
                      <a:pt x="79" y="118"/>
                    </a:lnTo>
                    <a:lnTo>
                      <a:pt x="77" y="118"/>
                    </a:lnTo>
                    <a:lnTo>
                      <a:pt x="76" y="115"/>
                    </a:lnTo>
                    <a:lnTo>
                      <a:pt x="75" y="114"/>
                    </a:lnTo>
                    <a:lnTo>
                      <a:pt x="68" y="107"/>
                    </a:lnTo>
                    <a:lnTo>
                      <a:pt x="67" y="107"/>
                    </a:lnTo>
                    <a:lnTo>
                      <a:pt x="65" y="107"/>
                    </a:lnTo>
                    <a:lnTo>
                      <a:pt x="63" y="106"/>
                    </a:lnTo>
                    <a:lnTo>
                      <a:pt x="58" y="99"/>
                    </a:lnTo>
                    <a:lnTo>
                      <a:pt x="56" y="98"/>
                    </a:lnTo>
                    <a:lnTo>
                      <a:pt x="46" y="88"/>
                    </a:lnTo>
                    <a:lnTo>
                      <a:pt x="43" y="90"/>
                    </a:lnTo>
                    <a:lnTo>
                      <a:pt x="37" y="85"/>
                    </a:lnTo>
                    <a:lnTo>
                      <a:pt x="32" y="86"/>
                    </a:lnTo>
                    <a:lnTo>
                      <a:pt x="31" y="81"/>
                    </a:lnTo>
                    <a:lnTo>
                      <a:pt x="28" y="78"/>
                    </a:lnTo>
                    <a:lnTo>
                      <a:pt x="24" y="76"/>
                    </a:lnTo>
                    <a:lnTo>
                      <a:pt x="21" y="72"/>
                    </a:lnTo>
                    <a:lnTo>
                      <a:pt x="14" y="63"/>
                    </a:lnTo>
                    <a:lnTo>
                      <a:pt x="13" y="61"/>
                    </a:lnTo>
                    <a:lnTo>
                      <a:pt x="14" y="58"/>
                    </a:lnTo>
                    <a:lnTo>
                      <a:pt x="14" y="56"/>
                    </a:lnTo>
                    <a:lnTo>
                      <a:pt x="14" y="55"/>
                    </a:lnTo>
                    <a:lnTo>
                      <a:pt x="10" y="54"/>
                    </a:lnTo>
                    <a:lnTo>
                      <a:pt x="10" y="50"/>
                    </a:lnTo>
                    <a:lnTo>
                      <a:pt x="3" y="44"/>
                    </a:lnTo>
                    <a:lnTo>
                      <a:pt x="0" y="39"/>
                    </a:lnTo>
                    <a:lnTo>
                      <a:pt x="1" y="37"/>
                    </a:lnTo>
                    <a:lnTo>
                      <a:pt x="0" y="35"/>
                    </a:lnTo>
                    <a:lnTo>
                      <a:pt x="4" y="28"/>
                    </a:lnTo>
                    <a:lnTo>
                      <a:pt x="6" y="24"/>
                    </a:lnTo>
                    <a:lnTo>
                      <a:pt x="8" y="22"/>
                    </a:lnTo>
                    <a:lnTo>
                      <a:pt x="11" y="20"/>
                    </a:lnTo>
                    <a:lnTo>
                      <a:pt x="22" y="14"/>
                    </a:lnTo>
                    <a:lnTo>
                      <a:pt x="24" y="11"/>
                    </a:lnTo>
                    <a:lnTo>
                      <a:pt x="27" y="8"/>
                    </a:lnTo>
                    <a:lnTo>
                      <a:pt x="30" y="1"/>
                    </a:lnTo>
                    <a:lnTo>
                      <a:pt x="49" y="0"/>
                    </a:lnTo>
                    <a:lnTo>
                      <a:pt x="55" y="1"/>
                    </a:lnTo>
                    <a:lnTo>
                      <a:pt x="57" y="4"/>
                    </a:lnTo>
                    <a:lnTo>
                      <a:pt x="58" y="8"/>
                    </a:lnTo>
                    <a:lnTo>
                      <a:pt x="58" y="11"/>
                    </a:lnTo>
                    <a:lnTo>
                      <a:pt x="54" y="32"/>
                    </a:lnTo>
                    <a:lnTo>
                      <a:pt x="54" y="37"/>
                    </a:lnTo>
                    <a:lnTo>
                      <a:pt x="54" y="40"/>
                    </a:lnTo>
                    <a:lnTo>
                      <a:pt x="56" y="46"/>
                    </a:lnTo>
                    <a:lnTo>
                      <a:pt x="59" y="47"/>
                    </a:lnTo>
                    <a:lnTo>
                      <a:pt x="61" y="49"/>
                    </a:lnTo>
                    <a:lnTo>
                      <a:pt x="73" y="47"/>
                    </a:lnTo>
                    <a:lnTo>
                      <a:pt x="76" y="47"/>
                    </a:lnTo>
                    <a:lnTo>
                      <a:pt x="81" y="48"/>
                    </a:lnTo>
                    <a:lnTo>
                      <a:pt x="85" y="51"/>
                    </a:lnTo>
                    <a:lnTo>
                      <a:pt x="88" y="53"/>
                    </a:lnTo>
                    <a:lnTo>
                      <a:pt x="89" y="56"/>
                    </a:lnTo>
                    <a:lnTo>
                      <a:pt x="90" y="62"/>
                    </a:lnTo>
                    <a:lnTo>
                      <a:pt x="92" y="66"/>
                    </a:lnTo>
                    <a:lnTo>
                      <a:pt x="96" y="70"/>
                    </a:lnTo>
                    <a:lnTo>
                      <a:pt x="99" y="72"/>
                    </a:lnTo>
                    <a:lnTo>
                      <a:pt x="104" y="73"/>
                    </a:lnTo>
                    <a:lnTo>
                      <a:pt x="129" y="73"/>
                    </a:lnTo>
                    <a:lnTo>
                      <a:pt x="134" y="74"/>
                    </a:lnTo>
                    <a:lnTo>
                      <a:pt x="138" y="76"/>
                    </a:lnTo>
                    <a:lnTo>
                      <a:pt x="142" y="80"/>
                    </a:lnTo>
                    <a:lnTo>
                      <a:pt x="143" y="84"/>
                    </a:lnTo>
                    <a:lnTo>
                      <a:pt x="145" y="88"/>
                    </a:lnTo>
                    <a:lnTo>
                      <a:pt x="147" y="91"/>
                    </a:lnTo>
                    <a:lnTo>
                      <a:pt x="150" y="96"/>
                    </a:lnTo>
                    <a:lnTo>
                      <a:pt x="166" y="112"/>
                    </a:lnTo>
                    <a:lnTo>
                      <a:pt x="169" y="114"/>
                    </a:lnTo>
                    <a:lnTo>
                      <a:pt x="173" y="116"/>
                    </a:lnTo>
                    <a:lnTo>
                      <a:pt x="177" y="116"/>
                    </a:lnTo>
                    <a:lnTo>
                      <a:pt x="180" y="115"/>
                    </a:lnTo>
                    <a:lnTo>
                      <a:pt x="182" y="113"/>
                    </a:lnTo>
                    <a:lnTo>
                      <a:pt x="183" y="109"/>
                    </a:lnTo>
                    <a:lnTo>
                      <a:pt x="191" y="80"/>
                    </a:lnTo>
                    <a:lnTo>
                      <a:pt x="195" y="73"/>
                    </a:lnTo>
                    <a:lnTo>
                      <a:pt x="197" y="69"/>
                    </a:lnTo>
                    <a:lnTo>
                      <a:pt x="200" y="67"/>
                    </a:lnTo>
                    <a:lnTo>
                      <a:pt x="207" y="61"/>
                    </a:lnTo>
                    <a:lnTo>
                      <a:pt x="215" y="57"/>
                    </a:lnTo>
                    <a:lnTo>
                      <a:pt x="217" y="56"/>
                    </a:lnTo>
                    <a:lnTo>
                      <a:pt x="223" y="58"/>
                    </a:lnTo>
                    <a:lnTo>
                      <a:pt x="225" y="61"/>
                    </a:lnTo>
                    <a:lnTo>
                      <a:pt x="226" y="64"/>
                    </a:lnTo>
                    <a:lnTo>
                      <a:pt x="226" y="71"/>
                    </a:lnTo>
                    <a:lnTo>
                      <a:pt x="226" y="76"/>
                    </a:lnTo>
                    <a:lnTo>
                      <a:pt x="229" y="80"/>
                    </a:lnTo>
                    <a:lnTo>
                      <a:pt x="242" y="91"/>
                    </a:lnTo>
                    <a:lnTo>
                      <a:pt x="246" y="95"/>
                    </a:lnTo>
                    <a:lnTo>
                      <a:pt x="248" y="99"/>
                    </a:lnTo>
                    <a:lnTo>
                      <a:pt x="254" y="109"/>
                    </a:lnTo>
                    <a:lnTo>
                      <a:pt x="256" y="113"/>
                    </a:lnTo>
                    <a:lnTo>
                      <a:pt x="259" y="115"/>
                    </a:lnTo>
                    <a:lnTo>
                      <a:pt x="272" y="120"/>
                    </a:lnTo>
                    <a:lnTo>
                      <a:pt x="276" y="123"/>
                    </a:lnTo>
                    <a:lnTo>
                      <a:pt x="278" y="127"/>
                    </a:lnTo>
                    <a:lnTo>
                      <a:pt x="293" y="148"/>
                    </a:lnTo>
                    <a:lnTo>
                      <a:pt x="293" y="14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23" name="Freeform 18">
                <a:extLst>
                  <a:ext uri="{FF2B5EF4-FFF2-40B4-BE49-F238E27FC236}"/>
                </a:extLst>
              </p:cNvPr>
              <p:cNvSpPr>
                <a:spLocks/>
              </p:cNvSpPr>
              <p:nvPr/>
            </p:nvSpPr>
            <p:spPr bwMode="auto">
              <a:xfrm>
                <a:off x="2779713" y="4313238"/>
                <a:ext cx="1333500" cy="1668463"/>
              </a:xfrm>
              <a:custGeom>
                <a:avLst/>
                <a:gdLst>
                  <a:gd name="T0" fmla="*/ 593 w 840"/>
                  <a:gd name="T1" fmla="*/ 99 h 1051"/>
                  <a:gd name="T2" fmla="*/ 719 w 840"/>
                  <a:gd name="T3" fmla="*/ 197 h 1051"/>
                  <a:gd name="T4" fmla="*/ 745 w 840"/>
                  <a:gd name="T5" fmla="*/ 264 h 1051"/>
                  <a:gd name="T6" fmla="*/ 813 w 840"/>
                  <a:gd name="T7" fmla="*/ 363 h 1051"/>
                  <a:gd name="T8" fmla="*/ 793 w 840"/>
                  <a:gd name="T9" fmla="*/ 466 h 1051"/>
                  <a:gd name="T10" fmla="*/ 753 w 840"/>
                  <a:gd name="T11" fmla="*/ 566 h 1051"/>
                  <a:gd name="T12" fmla="*/ 610 w 840"/>
                  <a:gd name="T13" fmla="*/ 654 h 1051"/>
                  <a:gd name="T14" fmla="*/ 531 w 840"/>
                  <a:gd name="T15" fmla="*/ 605 h 1051"/>
                  <a:gd name="T16" fmla="*/ 464 w 840"/>
                  <a:gd name="T17" fmla="*/ 591 h 1051"/>
                  <a:gd name="T18" fmla="*/ 432 w 840"/>
                  <a:gd name="T19" fmla="*/ 604 h 1051"/>
                  <a:gd name="T20" fmla="*/ 384 w 840"/>
                  <a:gd name="T21" fmla="*/ 681 h 1051"/>
                  <a:gd name="T22" fmla="*/ 387 w 840"/>
                  <a:gd name="T23" fmla="*/ 730 h 1051"/>
                  <a:gd name="T24" fmla="*/ 411 w 840"/>
                  <a:gd name="T25" fmla="*/ 811 h 1051"/>
                  <a:gd name="T26" fmla="*/ 470 w 840"/>
                  <a:gd name="T27" fmla="*/ 771 h 1051"/>
                  <a:gd name="T28" fmla="*/ 533 w 840"/>
                  <a:gd name="T29" fmla="*/ 754 h 1051"/>
                  <a:gd name="T30" fmla="*/ 537 w 840"/>
                  <a:gd name="T31" fmla="*/ 846 h 1051"/>
                  <a:gd name="T32" fmla="*/ 473 w 840"/>
                  <a:gd name="T33" fmla="*/ 869 h 1051"/>
                  <a:gd name="T34" fmla="*/ 470 w 840"/>
                  <a:gd name="T35" fmla="*/ 932 h 1051"/>
                  <a:gd name="T36" fmla="*/ 523 w 840"/>
                  <a:gd name="T37" fmla="*/ 1017 h 1051"/>
                  <a:gd name="T38" fmla="*/ 487 w 840"/>
                  <a:gd name="T39" fmla="*/ 1043 h 1051"/>
                  <a:gd name="T40" fmla="*/ 478 w 840"/>
                  <a:gd name="T41" fmla="*/ 1027 h 1051"/>
                  <a:gd name="T42" fmla="*/ 466 w 840"/>
                  <a:gd name="T43" fmla="*/ 989 h 1051"/>
                  <a:gd name="T44" fmla="*/ 446 w 840"/>
                  <a:gd name="T45" fmla="*/ 971 h 1051"/>
                  <a:gd name="T46" fmla="*/ 434 w 840"/>
                  <a:gd name="T47" fmla="*/ 928 h 1051"/>
                  <a:gd name="T48" fmla="*/ 417 w 840"/>
                  <a:gd name="T49" fmla="*/ 905 h 1051"/>
                  <a:gd name="T50" fmla="*/ 403 w 840"/>
                  <a:gd name="T51" fmla="*/ 869 h 1051"/>
                  <a:gd name="T52" fmla="*/ 391 w 840"/>
                  <a:gd name="T53" fmla="*/ 839 h 1051"/>
                  <a:gd name="T54" fmla="*/ 386 w 840"/>
                  <a:gd name="T55" fmla="*/ 810 h 1051"/>
                  <a:gd name="T56" fmla="*/ 351 w 840"/>
                  <a:gd name="T57" fmla="*/ 757 h 1051"/>
                  <a:gd name="T58" fmla="*/ 314 w 840"/>
                  <a:gd name="T59" fmla="*/ 734 h 1051"/>
                  <a:gd name="T60" fmla="*/ 285 w 840"/>
                  <a:gd name="T61" fmla="*/ 704 h 1051"/>
                  <a:gd name="T62" fmla="*/ 247 w 840"/>
                  <a:gd name="T63" fmla="*/ 674 h 1051"/>
                  <a:gd name="T64" fmla="*/ 214 w 840"/>
                  <a:gd name="T65" fmla="*/ 668 h 1051"/>
                  <a:gd name="T66" fmla="*/ 168 w 840"/>
                  <a:gd name="T67" fmla="*/ 635 h 1051"/>
                  <a:gd name="T68" fmla="*/ 147 w 840"/>
                  <a:gd name="T69" fmla="*/ 598 h 1051"/>
                  <a:gd name="T70" fmla="*/ 129 w 840"/>
                  <a:gd name="T71" fmla="*/ 574 h 1051"/>
                  <a:gd name="T72" fmla="*/ 124 w 840"/>
                  <a:gd name="T73" fmla="*/ 567 h 1051"/>
                  <a:gd name="T74" fmla="*/ 109 w 840"/>
                  <a:gd name="T75" fmla="*/ 551 h 1051"/>
                  <a:gd name="T76" fmla="*/ 87 w 840"/>
                  <a:gd name="T77" fmla="*/ 514 h 1051"/>
                  <a:gd name="T78" fmla="*/ 87 w 840"/>
                  <a:gd name="T79" fmla="*/ 455 h 1051"/>
                  <a:gd name="T80" fmla="*/ 74 w 840"/>
                  <a:gd name="T81" fmla="*/ 424 h 1051"/>
                  <a:gd name="T82" fmla="*/ 70 w 840"/>
                  <a:gd name="T83" fmla="*/ 407 h 1051"/>
                  <a:gd name="T84" fmla="*/ 48 w 840"/>
                  <a:gd name="T85" fmla="*/ 354 h 1051"/>
                  <a:gd name="T86" fmla="*/ 64 w 840"/>
                  <a:gd name="T87" fmla="*/ 338 h 1051"/>
                  <a:gd name="T88" fmla="*/ 83 w 840"/>
                  <a:gd name="T89" fmla="*/ 289 h 1051"/>
                  <a:gd name="T90" fmla="*/ 72 w 840"/>
                  <a:gd name="T91" fmla="*/ 259 h 1051"/>
                  <a:gd name="T92" fmla="*/ 49 w 840"/>
                  <a:gd name="T93" fmla="*/ 209 h 1051"/>
                  <a:gd name="T94" fmla="*/ 44 w 840"/>
                  <a:gd name="T95" fmla="*/ 202 h 1051"/>
                  <a:gd name="T96" fmla="*/ 38 w 840"/>
                  <a:gd name="T97" fmla="*/ 182 h 1051"/>
                  <a:gd name="T98" fmla="*/ 23 w 840"/>
                  <a:gd name="T99" fmla="*/ 149 h 1051"/>
                  <a:gd name="T100" fmla="*/ 0 w 840"/>
                  <a:gd name="T101" fmla="*/ 103 h 1051"/>
                  <a:gd name="T102" fmla="*/ 94 w 840"/>
                  <a:gd name="T103" fmla="*/ 147 h 1051"/>
                  <a:gd name="T104" fmla="*/ 205 w 840"/>
                  <a:gd name="T105" fmla="*/ 149 h 1051"/>
                  <a:gd name="T106" fmla="*/ 209 w 840"/>
                  <a:gd name="T107" fmla="*/ 213 h 1051"/>
                  <a:gd name="T108" fmla="*/ 238 w 840"/>
                  <a:gd name="T109" fmla="*/ 262 h 1051"/>
                  <a:gd name="T110" fmla="*/ 330 w 840"/>
                  <a:gd name="T111" fmla="*/ 254 h 1051"/>
                  <a:gd name="T112" fmla="*/ 470 w 840"/>
                  <a:gd name="T113" fmla="*/ 134 h 1051"/>
                  <a:gd name="T114" fmla="*/ 514 w 840"/>
                  <a:gd name="T115" fmla="*/ 60 h 1051"/>
                  <a:gd name="T116" fmla="*/ 537 w 840"/>
                  <a:gd name="T117"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0" h="1051">
                    <a:moveTo>
                      <a:pt x="559" y="3"/>
                    </a:moveTo>
                    <a:lnTo>
                      <a:pt x="557" y="20"/>
                    </a:lnTo>
                    <a:lnTo>
                      <a:pt x="558" y="33"/>
                    </a:lnTo>
                    <a:lnTo>
                      <a:pt x="559" y="36"/>
                    </a:lnTo>
                    <a:lnTo>
                      <a:pt x="561" y="39"/>
                    </a:lnTo>
                    <a:lnTo>
                      <a:pt x="562" y="41"/>
                    </a:lnTo>
                    <a:lnTo>
                      <a:pt x="568" y="44"/>
                    </a:lnTo>
                    <a:lnTo>
                      <a:pt x="572" y="47"/>
                    </a:lnTo>
                    <a:lnTo>
                      <a:pt x="576" y="50"/>
                    </a:lnTo>
                    <a:lnTo>
                      <a:pt x="579" y="56"/>
                    </a:lnTo>
                    <a:lnTo>
                      <a:pt x="588" y="85"/>
                    </a:lnTo>
                    <a:lnTo>
                      <a:pt x="592" y="94"/>
                    </a:lnTo>
                    <a:lnTo>
                      <a:pt x="593" y="99"/>
                    </a:lnTo>
                    <a:lnTo>
                      <a:pt x="598" y="125"/>
                    </a:lnTo>
                    <a:lnTo>
                      <a:pt x="620" y="177"/>
                    </a:lnTo>
                    <a:lnTo>
                      <a:pt x="621" y="179"/>
                    </a:lnTo>
                    <a:lnTo>
                      <a:pt x="624" y="182"/>
                    </a:lnTo>
                    <a:lnTo>
                      <a:pt x="628" y="185"/>
                    </a:lnTo>
                    <a:lnTo>
                      <a:pt x="631" y="187"/>
                    </a:lnTo>
                    <a:lnTo>
                      <a:pt x="635" y="189"/>
                    </a:lnTo>
                    <a:lnTo>
                      <a:pt x="638" y="190"/>
                    </a:lnTo>
                    <a:lnTo>
                      <a:pt x="644" y="191"/>
                    </a:lnTo>
                    <a:lnTo>
                      <a:pt x="670" y="191"/>
                    </a:lnTo>
                    <a:lnTo>
                      <a:pt x="706" y="193"/>
                    </a:lnTo>
                    <a:lnTo>
                      <a:pt x="714" y="195"/>
                    </a:lnTo>
                    <a:lnTo>
                      <a:pt x="719" y="197"/>
                    </a:lnTo>
                    <a:lnTo>
                      <a:pt x="722" y="199"/>
                    </a:lnTo>
                    <a:lnTo>
                      <a:pt x="727" y="202"/>
                    </a:lnTo>
                    <a:lnTo>
                      <a:pt x="729" y="207"/>
                    </a:lnTo>
                    <a:lnTo>
                      <a:pt x="730" y="210"/>
                    </a:lnTo>
                    <a:lnTo>
                      <a:pt x="729" y="213"/>
                    </a:lnTo>
                    <a:lnTo>
                      <a:pt x="727" y="222"/>
                    </a:lnTo>
                    <a:lnTo>
                      <a:pt x="726" y="239"/>
                    </a:lnTo>
                    <a:lnTo>
                      <a:pt x="726" y="245"/>
                    </a:lnTo>
                    <a:lnTo>
                      <a:pt x="727" y="249"/>
                    </a:lnTo>
                    <a:lnTo>
                      <a:pt x="731" y="255"/>
                    </a:lnTo>
                    <a:lnTo>
                      <a:pt x="734" y="259"/>
                    </a:lnTo>
                    <a:lnTo>
                      <a:pt x="738" y="262"/>
                    </a:lnTo>
                    <a:lnTo>
                      <a:pt x="745" y="264"/>
                    </a:lnTo>
                    <a:lnTo>
                      <a:pt x="749" y="264"/>
                    </a:lnTo>
                    <a:lnTo>
                      <a:pt x="753" y="264"/>
                    </a:lnTo>
                    <a:lnTo>
                      <a:pt x="773" y="259"/>
                    </a:lnTo>
                    <a:lnTo>
                      <a:pt x="777" y="258"/>
                    </a:lnTo>
                    <a:lnTo>
                      <a:pt x="780" y="258"/>
                    </a:lnTo>
                    <a:lnTo>
                      <a:pt x="800" y="262"/>
                    </a:lnTo>
                    <a:lnTo>
                      <a:pt x="803" y="263"/>
                    </a:lnTo>
                    <a:lnTo>
                      <a:pt x="807" y="264"/>
                    </a:lnTo>
                    <a:lnTo>
                      <a:pt x="809" y="268"/>
                    </a:lnTo>
                    <a:lnTo>
                      <a:pt x="809" y="269"/>
                    </a:lnTo>
                    <a:lnTo>
                      <a:pt x="805" y="295"/>
                    </a:lnTo>
                    <a:lnTo>
                      <a:pt x="805" y="302"/>
                    </a:lnTo>
                    <a:lnTo>
                      <a:pt x="813" y="363"/>
                    </a:lnTo>
                    <a:lnTo>
                      <a:pt x="813" y="367"/>
                    </a:lnTo>
                    <a:lnTo>
                      <a:pt x="813" y="370"/>
                    </a:lnTo>
                    <a:lnTo>
                      <a:pt x="812" y="374"/>
                    </a:lnTo>
                    <a:lnTo>
                      <a:pt x="810" y="377"/>
                    </a:lnTo>
                    <a:lnTo>
                      <a:pt x="808" y="381"/>
                    </a:lnTo>
                    <a:lnTo>
                      <a:pt x="803" y="388"/>
                    </a:lnTo>
                    <a:lnTo>
                      <a:pt x="801" y="391"/>
                    </a:lnTo>
                    <a:lnTo>
                      <a:pt x="800" y="395"/>
                    </a:lnTo>
                    <a:lnTo>
                      <a:pt x="799" y="399"/>
                    </a:lnTo>
                    <a:lnTo>
                      <a:pt x="802" y="429"/>
                    </a:lnTo>
                    <a:lnTo>
                      <a:pt x="800" y="437"/>
                    </a:lnTo>
                    <a:lnTo>
                      <a:pt x="794" y="462"/>
                    </a:lnTo>
                    <a:lnTo>
                      <a:pt x="793" y="466"/>
                    </a:lnTo>
                    <a:lnTo>
                      <a:pt x="794" y="470"/>
                    </a:lnTo>
                    <a:lnTo>
                      <a:pt x="794" y="474"/>
                    </a:lnTo>
                    <a:lnTo>
                      <a:pt x="796" y="477"/>
                    </a:lnTo>
                    <a:lnTo>
                      <a:pt x="840" y="543"/>
                    </a:lnTo>
                    <a:lnTo>
                      <a:pt x="823" y="550"/>
                    </a:lnTo>
                    <a:lnTo>
                      <a:pt x="796" y="566"/>
                    </a:lnTo>
                    <a:lnTo>
                      <a:pt x="790" y="567"/>
                    </a:lnTo>
                    <a:lnTo>
                      <a:pt x="786" y="568"/>
                    </a:lnTo>
                    <a:lnTo>
                      <a:pt x="774" y="564"/>
                    </a:lnTo>
                    <a:lnTo>
                      <a:pt x="770" y="563"/>
                    </a:lnTo>
                    <a:lnTo>
                      <a:pt x="765" y="563"/>
                    </a:lnTo>
                    <a:lnTo>
                      <a:pt x="758" y="564"/>
                    </a:lnTo>
                    <a:lnTo>
                      <a:pt x="753" y="566"/>
                    </a:lnTo>
                    <a:lnTo>
                      <a:pt x="742" y="570"/>
                    </a:lnTo>
                    <a:lnTo>
                      <a:pt x="740" y="571"/>
                    </a:lnTo>
                    <a:lnTo>
                      <a:pt x="736" y="572"/>
                    </a:lnTo>
                    <a:lnTo>
                      <a:pt x="726" y="572"/>
                    </a:lnTo>
                    <a:lnTo>
                      <a:pt x="720" y="573"/>
                    </a:lnTo>
                    <a:lnTo>
                      <a:pt x="716" y="574"/>
                    </a:lnTo>
                    <a:lnTo>
                      <a:pt x="711" y="577"/>
                    </a:lnTo>
                    <a:lnTo>
                      <a:pt x="705" y="584"/>
                    </a:lnTo>
                    <a:lnTo>
                      <a:pt x="700" y="588"/>
                    </a:lnTo>
                    <a:lnTo>
                      <a:pt x="667" y="606"/>
                    </a:lnTo>
                    <a:lnTo>
                      <a:pt x="625" y="645"/>
                    </a:lnTo>
                    <a:lnTo>
                      <a:pt x="619" y="649"/>
                    </a:lnTo>
                    <a:lnTo>
                      <a:pt x="610" y="654"/>
                    </a:lnTo>
                    <a:lnTo>
                      <a:pt x="605" y="656"/>
                    </a:lnTo>
                    <a:lnTo>
                      <a:pt x="599" y="657"/>
                    </a:lnTo>
                    <a:lnTo>
                      <a:pt x="596" y="655"/>
                    </a:lnTo>
                    <a:lnTo>
                      <a:pt x="592" y="653"/>
                    </a:lnTo>
                    <a:lnTo>
                      <a:pt x="590" y="650"/>
                    </a:lnTo>
                    <a:lnTo>
                      <a:pt x="586" y="646"/>
                    </a:lnTo>
                    <a:lnTo>
                      <a:pt x="569" y="611"/>
                    </a:lnTo>
                    <a:lnTo>
                      <a:pt x="567" y="606"/>
                    </a:lnTo>
                    <a:lnTo>
                      <a:pt x="557" y="598"/>
                    </a:lnTo>
                    <a:lnTo>
                      <a:pt x="553" y="597"/>
                    </a:lnTo>
                    <a:lnTo>
                      <a:pt x="549" y="596"/>
                    </a:lnTo>
                    <a:lnTo>
                      <a:pt x="546" y="597"/>
                    </a:lnTo>
                    <a:lnTo>
                      <a:pt x="531" y="605"/>
                    </a:lnTo>
                    <a:lnTo>
                      <a:pt x="527" y="607"/>
                    </a:lnTo>
                    <a:lnTo>
                      <a:pt x="523" y="609"/>
                    </a:lnTo>
                    <a:lnTo>
                      <a:pt x="505" y="609"/>
                    </a:lnTo>
                    <a:lnTo>
                      <a:pt x="500" y="609"/>
                    </a:lnTo>
                    <a:lnTo>
                      <a:pt x="495" y="611"/>
                    </a:lnTo>
                    <a:lnTo>
                      <a:pt x="487" y="614"/>
                    </a:lnTo>
                    <a:lnTo>
                      <a:pt x="482" y="615"/>
                    </a:lnTo>
                    <a:lnTo>
                      <a:pt x="478" y="615"/>
                    </a:lnTo>
                    <a:lnTo>
                      <a:pt x="477" y="614"/>
                    </a:lnTo>
                    <a:lnTo>
                      <a:pt x="474" y="612"/>
                    </a:lnTo>
                    <a:lnTo>
                      <a:pt x="471" y="609"/>
                    </a:lnTo>
                    <a:lnTo>
                      <a:pt x="470" y="605"/>
                    </a:lnTo>
                    <a:lnTo>
                      <a:pt x="464" y="591"/>
                    </a:lnTo>
                    <a:lnTo>
                      <a:pt x="462" y="588"/>
                    </a:lnTo>
                    <a:lnTo>
                      <a:pt x="458" y="584"/>
                    </a:lnTo>
                    <a:lnTo>
                      <a:pt x="453" y="582"/>
                    </a:lnTo>
                    <a:lnTo>
                      <a:pt x="449" y="582"/>
                    </a:lnTo>
                    <a:lnTo>
                      <a:pt x="445" y="582"/>
                    </a:lnTo>
                    <a:lnTo>
                      <a:pt x="441" y="583"/>
                    </a:lnTo>
                    <a:lnTo>
                      <a:pt x="438" y="586"/>
                    </a:lnTo>
                    <a:lnTo>
                      <a:pt x="435" y="589"/>
                    </a:lnTo>
                    <a:lnTo>
                      <a:pt x="434" y="591"/>
                    </a:lnTo>
                    <a:lnTo>
                      <a:pt x="433" y="593"/>
                    </a:lnTo>
                    <a:lnTo>
                      <a:pt x="433" y="597"/>
                    </a:lnTo>
                    <a:lnTo>
                      <a:pt x="432" y="600"/>
                    </a:lnTo>
                    <a:lnTo>
                      <a:pt x="432" y="604"/>
                    </a:lnTo>
                    <a:lnTo>
                      <a:pt x="433" y="612"/>
                    </a:lnTo>
                    <a:lnTo>
                      <a:pt x="436" y="622"/>
                    </a:lnTo>
                    <a:lnTo>
                      <a:pt x="437" y="628"/>
                    </a:lnTo>
                    <a:lnTo>
                      <a:pt x="437" y="629"/>
                    </a:lnTo>
                    <a:lnTo>
                      <a:pt x="435" y="634"/>
                    </a:lnTo>
                    <a:lnTo>
                      <a:pt x="424" y="655"/>
                    </a:lnTo>
                    <a:lnTo>
                      <a:pt x="419" y="667"/>
                    </a:lnTo>
                    <a:lnTo>
                      <a:pt x="417" y="671"/>
                    </a:lnTo>
                    <a:lnTo>
                      <a:pt x="413" y="674"/>
                    </a:lnTo>
                    <a:lnTo>
                      <a:pt x="409" y="676"/>
                    </a:lnTo>
                    <a:lnTo>
                      <a:pt x="405" y="677"/>
                    </a:lnTo>
                    <a:lnTo>
                      <a:pt x="388" y="680"/>
                    </a:lnTo>
                    <a:lnTo>
                      <a:pt x="384" y="681"/>
                    </a:lnTo>
                    <a:lnTo>
                      <a:pt x="380" y="683"/>
                    </a:lnTo>
                    <a:lnTo>
                      <a:pt x="376" y="686"/>
                    </a:lnTo>
                    <a:lnTo>
                      <a:pt x="363" y="699"/>
                    </a:lnTo>
                    <a:lnTo>
                      <a:pt x="360" y="703"/>
                    </a:lnTo>
                    <a:lnTo>
                      <a:pt x="360" y="706"/>
                    </a:lnTo>
                    <a:lnTo>
                      <a:pt x="361" y="710"/>
                    </a:lnTo>
                    <a:lnTo>
                      <a:pt x="364" y="712"/>
                    </a:lnTo>
                    <a:lnTo>
                      <a:pt x="367" y="714"/>
                    </a:lnTo>
                    <a:lnTo>
                      <a:pt x="380" y="718"/>
                    </a:lnTo>
                    <a:lnTo>
                      <a:pt x="381" y="719"/>
                    </a:lnTo>
                    <a:lnTo>
                      <a:pt x="384" y="722"/>
                    </a:lnTo>
                    <a:lnTo>
                      <a:pt x="386" y="726"/>
                    </a:lnTo>
                    <a:lnTo>
                      <a:pt x="387" y="730"/>
                    </a:lnTo>
                    <a:lnTo>
                      <a:pt x="387" y="734"/>
                    </a:lnTo>
                    <a:lnTo>
                      <a:pt x="385" y="752"/>
                    </a:lnTo>
                    <a:lnTo>
                      <a:pt x="385" y="756"/>
                    </a:lnTo>
                    <a:lnTo>
                      <a:pt x="388" y="767"/>
                    </a:lnTo>
                    <a:lnTo>
                      <a:pt x="388" y="771"/>
                    </a:lnTo>
                    <a:lnTo>
                      <a:pt x="388" y="786"/>
                    </a:lnTo>
                    <a:lnTo>
                      <a:pt x="388" y="789"/>
                    </a:lnTo>
                    <a:lnTo>
                      <a:pt x="388" y="793"/>
                    </a:lnTo>
                    <a:lnTo>
                      <a:pt x="390" y="796"/>
                    </a:lnTo>
                    <a:lnTo>
                      <a:pt x="393" y="799"/>
                    </a:lnTo>
                    <a:lnTo>
                      <a:pt x="395" y="800"/>
                    </a:lnTo>
                    <a:lnTo>
                      <a:pt x="408" y="807"/>
                    </a:lnTo>
                    <a:lnTo>
                      <a:pt x="411" y="811"/>
                    </a:lnTo>
                    <a:lnTo>
                      <a:pt x="422" y="826"/>
                    </a:lnTo>
                    <a:lnTo>
                      <a:pt x="425" y="828"/>
                    </a:lnTo>
                    <a:lnTo>
                      <a:pt x="430" y="830"/>
                    </a:lnTo>
                    <a:lnTo>
                      <a:pt x="434" y="831"/>
                    </a:lnTo>
                    <a:lnTo>
                      <a:pt x="438" y="831"/>
                    </a:lnTo>
                    <a:lnTo>
                      <a:pt x="442" y="830"/>
                    </a:lnTo>
                    <a:lnTo>
                      <a:pt x="446" y="829"/>
                    </a:lnTo>
                    <a:lnTo>
                      <a:pt x="448" y="827"/>
                    </a:lnTo>
                    <a:lnTo>
                      <a:pt x="452" y="825"/>
                    </a:lnTo>
                    <a:lnTo>
                      <a:pt x="454" y="822"/>
                    </a:lnTo>
                    <a:lnTo>
                      <a:pt x="455" y="818"/>
                    </a:lnTo>
                    <a:lnTo>
                      <a:pt x="459" y="799"/>
                    </a:lnTo>
                    <a:lnTo>
                      <a:pt x="470" y="771"/>
                    </a:lnTo>
                    <a:lnTo>
                      <a:pt x="475" y="763"/>
                    </a:lnTo>
                    <a:lnTo>
                      <a:pt x="477" y="760"/>
                    </a:lnTo>
                    <a:lnTo>
                      <a:pt x="478" y="759"/>
                    </a:lnTo>
                    <a:lnTo>
                      <a:pt x="481" y="757"/>
                    </a:lnTo>
                    <a:lnTo>
                      <a:pt x="485" y="757"/>
                    </a:lnTo>
                    <a:lnTo>
                      <a:pt x="501" y="757"/>
                    </a:lnTo>
                    <a:lnTo>
                      <a:pt x="506" y="756"/>
                    </a:lnTo>
                    <a:lnTo>
                      <a:pt x="510" y="754"/>
                    </a:lnTo>
                    <a:lnTo>
                      <a:pt x="518" y="751"/>
                    </a:lnTo>
                    <a:lnTo>
                      <a:pt x="525" y="750"/>
                    </a:lnTo>
                    <a:lnTo>
                      <a:pt x="528" y="751"/>
                    </a:lnTo>
                    <a:lnTo>
                      <a:pt x="531" y="752"/>
                    </a:lnTo>
                    <a:lnTo>
                      <a:pt x="533" y="754"/>
                    </a:lnTo>
                    <a:lnTo>
                      <a:pt x="535" y="757"/>
                    </a:lnTo>
                    <a:lnTo>
                      <a:pt x="538" y="760"/>
                    </a:lnTo>
                    <a:lnTo>
                      <a:pt x="538" y="765"/>
                    </a:lnTo>
                    <a:lnTo>
                      <a:pt x="538" y="768"/>
                    </a:lnTo>
                    <a:lnTo>
                      <a:pt x="538" y="772"/>
                    </a:lnTo>
                    <a:lnTo>
                      <a:pt x="533" y="795"/>
                    </a:lnTo>
                    <a:lnTo>
                      <a:pt x="533" y="798"/>
                    </a:lnTo>
                    <a:lnTo>
                      <a:pt x="533" y="803"/>
                    </a:lnTo>
                    <a:lnTo>
                      <a:pt x="534" y="807"/>
                    </a:lnTo>
                    <a:lnTo>
                      <a:pt x="541" y="819"/>
                    </a:lnTo>
                    <a:lnTo>
                      <a:pt x="542" y="823"/>
                    </a:lnTo>
                    <a:lnTo>
                      <a:pt x="542" y="827"/>
                    </a:lnTo>
                    <a:lnTo>
                      <a:pt x="537" y="846"/>
                    </a:lnTo>
                    <a:lnTo>
                      <a:pt x="535" y="849"/>
                    </a:lnTo>
                    <a:lnTo>
                      <a:pt x="533" y="852"/>
                    </a:lnTo>
                    <a:lnTo>
                      <a:pt x="530" y="855"/>
                    </a:lnTo>
                    <a:lnTo>
                      <a:pt x="527" y="856"/>
                    </a:lnTo>
                    <a:lnTo>
                      <a:pt x="524" y="856"/>
                    </a:lnTo>
                    <a:lnTo>
                      <a:pt x="522" y="856"/>
                    </a:lnTo>
                    <a:lnTo>
                      <a:pt x="503" y="855"/>
                    </a:lnTo>
                    <a:lnTo>
                      <a:pt x="500" y="855"/>
                    </a:lnTo>
                    <a:lnTo>
                      <a:pt x="496" y="856"/>
                    </a:lnTo>
                    <a:lnTo>
                      <a:pt x="493" y="856"/>
                    </a:lnTo>
                    <a:lnTo>
                      <a:pt x="485" y="861"/>
                    </a:lnTo>
                    <a:lnTo>
                      <a:pt x="477" y="867"/>
                    </a:lnTo>
                    <a:lnTo>
                      <a:pt x="473" y="869"/>
                    </a:lnTo>
                    <a:lnTo>
                      <a:pt x="470" y="869"/>
                    </a:lnTo>
                    <a:lnTo>
                      <a:pt x="466" y="867"/>
                    </a:lnTo>
                    <a:lnTo>
                      <a:pt x="463" y="865"/>
                    </a:lnTo>
                    <a:lnTo>
                      <a:pt x="461" y="864"/>
                    </a:lnTo>
                    <a:lnTo>
                      <a:pt x="460" y="865"/>
                    </a:lnTo>
                    <a:lnTo>
                      <a:pt x="459" y="869"/>
                    </a:lnTo>
                    <a:lnTo>
                      <a:pt x="458" y="909"/>
                    </a:lnTo>
                    <a:lnTo>
                      <a:pt x="459" y="917"/>
                    </a:lnTo>
                    <a:lnTo>
                      <a:pt x="460" y="921"/>
                    </a:lnTo>
                    <a:lnTo>
                      <a:pt x="461" y="925"/>
                    </a:lnTo>
                    <a:lnTo>
                      <a:pt x="463" y="928"/>
                    </a:lnTo>
                    <a:lnTo>
                      <a:pt x="466" y="931"/>
                    </a:lnTo>
                    <a:lnTo>
                      <a:pt x="470" y="932"/>
                    </a:lnTo>
                    <a:lnTo>
                      <a:pt x="472" y="933"/>
                    </a:lnTo>
                    <a:lnTo>
                      <a:pt x="491" y="933"/>
                    </a:lnTo>
                    <a:lnTo>
                      <a:pt x="498" y="934"/>
                    </a:lnTo>
                    <a:lnTo>
                      <a:pt x="505" y="935"/>
                    </a:lnTo>
                    <a:lnTo>
                      <a:pt x="508" y="937"/>
                    </a:lnTo>
                    <a:lnTo>
                      <a:pt x="512" y="939"/>
                    </a:lnTo>
                    <a:lnTo>
                      <a:pt x="515" y="941"/>
                    </a:lnTo>
                    <a:lnTo>
                      <a:pt x="516" y="945"/>
                    </a:lnTo>
                    <a:lnTo>
                      <a:pt x="528" y="980"/>
                    </a:lnTo>
                    <a:lnTo>
                      <a:pt x="530" y="986"/>
                    </a:lnTo>
                    <a:lnTo>
                      <a:pt x="530" y="990"/>
                    </a:lnTo>
                    <a:lnTo>
                      <a:pt x="529" y="994"/>
                    </a:lnTo>
                    <a:lnTo>
                      <a:pt x="523" y="1017"/>
                    </a:lnTo>
                    <a:lnTo>
                      <a:pt x="520" y="1024"/>
                    </a:lnTo>
                    <a:lnTo>
                      <a:pt x="517" y="1027"/>
                    </a:lnTo>
                    <a:lnTo>
                      <a:pt x="515" y="1030"/>
                    </a:lnTo>
                    <a:lnTo>
                      <a:pt x="504" y="1036"/>
                    </a:lnTo>
                    <a:lnTo>
                      <a:pt x="501" y="1038"/>
                    </a:lnTo>
                    <a:lnTo>
                      <a:pt x="499" y="1040"/>
                    </a:lnTo>
                    <a:lnTo>
                      <a:pt x="497" y="1044"/>
                    </a:lnTo>
                    <a:lnTo>
                      <a:pt x="493" y="1051"/>
                    </a:lnTo>
                    <a:lnTo>
                      <a:pt x="492" y="1049"/>
                    </a:lnTo>
                    <a:lnTo>
                      <a:pt x="491" y="1046"/>
                    </a:lnTo>
                    <a:lnTo>
                      <a:pt x="490" y="1045"/>
                    </a:lnTo>
                    <a:lnTo>
                      <a:pt x="489" y="1044"/>
                    </a:lnTo>
                    <a:lnTo>
                      <a:pt x="487" y="1043"/>
                    </a:lnTo>
                    <a:lnTo>
                      <a:pt x="487" y="1042"/>
                    </a:lnTo>
                    <a:lnTo>
                      <a:pt x="487" y="1039"/>
                    </a:lnTo>
                    <a:lnTo>
                      <a:pt x="484" y="1039"/>
                    </a:lnTo>
                    <a:lnTo>
                      <a:pt x="481" y="1038"/>
                    </a:lnTo>
                    <a:lnTo>
                      <a:pt x="482" y="1036"/>
                    </a:lnTo>
                    <a:lnTo>
                      <a:pt x="483" y="1035"/>
                    </a:lnTo>
                    <a:lnTo>
                      <a:pt x="482" y="1033"/>
                    </a:lnTo>
                    <a:lnTo>
                      <a:pt x="480" y="1032"/>
                    </a:lnTo>
                    <a:lnTo>
                      <a:pt x="478" y="1032"/>
                    </a:lnTo>
                    <a:lnTo>
                      <a:pt x="477" y="1033"/>
                    </a:lnTo>
                    <a:lnTo>
                      <a:pt x="478" y="1030"/>
                    </a:lnTo>
                    <a:lnTo>
                      <a:pt x="478" y="1028"/>
                    </a:lnTo>
                    <a:lnTo>
                      <a:pt x="478" y="1027"/>
                    </a:lnTo>
                    <a:lnTo>
                      <a:pt x="478" y="1024"/>
                    </a:lnTo>
                    <a:lnTo>
                      <a:pt x="478" y="1024"/>
                    </a:lnTo>
                    <a:lnTo>
                      <a:pt x="475" y="1023"/>
                    </a:lnTo>
                    <a:lnTo>
                      <a:pt x="473" y="1024"/>
                    </a:lnTo>
                    <a:lnTo>
                      <a:pt x="473" y="1021"/>
                    </a:lnTo>
                    <a:lnTo>
                      <a:pt x="473" y="1017"/>
                    </a:lnTo>
                    <a:lnTo>
                      <a:pt x="471" y="1014"/>
                    </a:lnTo>
                    <a:lnTo>
                      <a:pt x="470" y="1012"/>
                    </a:lnTo>
                    <a:lnTo>
                      <a:pt x="470" y="1009"/>
                    </a:lnTo>
                    <a:lnTo>
                      <a:pt x="468" y="1003"/>
                    </a:lnTo>
                    <a:lnTo>
                      <a:pt x="467" y="1000"/>
                    </a:lnTo>
                    <a:lnTo>
                      <a:pt x="467" y="991"/>
                    </a:lnTo>
                    <a:lnTo>
                      <a:pt x="466" y="989"/>
                    </a:lnTo>
                    <a:lnTo>
                      <a:pt x="464" y="988"/>
                    </a:lnTo>
                    <a:lnTo>
                      <a:pt x="463" y="987"/>
                    </a:lnTo>
                    <a:lnTo>
                      <a:pt x="463" y="985"/>
                    </a:lnTo>
                    <a:lnTo>
                      <a:pt x="463" y="984"/>
                    </a:lnTo>
                    <a:lnTo>
                      <a:pt x="456" y="979"/>
                    </a:lnTo>
                    <a:lnTo>
                      <a:pt x="455" y="978"/>
                    </a:lnTo>
                    <a:lnTo>
                      <a:pt x="455" y="976"/>
                    </a:lnTo>
                    <a:lnTo>
                      <a:pt x="455" y="974"/>
                    </a:lnTo>
                    <a:lnTo>
                      <a:pt x="454" y="972"/>
                    </a:lnTo>
                    <a:lnTo>
                      <a:pt x="450" y="971"/>
                    </a:lnTo>
                    <a:lnTo>
                      <a:pt x="448" y="969"/>
                    </a:lnTo>
                    <a:lnTo>
                      <a:pt x="448" y="970"/>
                    </a:lnTo>
                    <a:lnTo>
                      <a:pt x="446" y="971"/>
                    </a:lnTo>
                    <a:lnTo>
                      <a:pt x="445" y="971"/>
                    </a:lnTo>
                    <a:lnTo>
                      <a:pt x="443" y="970"/>
                    </a:lnTo>
                    <a:lnTo>
                      <a:pt x="441" y="970"/>
                    </a:lnTo>
                    <a:lnTo>
                      <a:pt x="440" y="968"/>
                    </a:lnTo>
                    <a:lnTo>
                      <a:pt x="439" y="966"/>
                    </a:lnTo>
                    <a:lnTo>
                      <a:pt x="434" y="956"/>
                    </a:lnTo>
                    <a:lnTo>
                      <a:pt x="433" y="954"/>
                    </a:lnTo>
                    <a:lnTo>
                      <a:pt x="430" y="951"/>
                    </a:lnTo>
                    <a:lnTo>
                      <a:pt x="429" y="949"/>
                    </a:lnTo>
                    <a:lnTo>
                      <a:pt x="429" y="947"/>
                    </a:lnTo>
                    <a:lnTo>
                      <a:pt x="429" y="943"/>
                    </a:lnTo>
                    <a:lnTo>
                      <a:pt x="433" y="932"/>
                    </a:lnTo>
                    <a:lnTo>
                      <a:pt x="434" y="928"/>
                    </a:lnTo>
                    <a:lnTo>
                      <a:pt x="434" y="927"/>
                    </a:lnTo>
                    <a:lnTo>
                      <a:pt x="435" y="926"/>
                    </a:lnTo>
                    <a:lnTo>
                      <a:pt x="435" y="925"/>
                    </a:lnTo>
                    <a:lnTo>
                      <a:pt x="434" y="923"/>
                    </a:lnTo>
                    <a:lnTo>
                      <a:pt x="433" y="923"/>
                    </a:lnTo>
                    <a:lnTo>
                      <a:pt x="429" y="920"/>
                    </a:lnTo>
                    <a:lnTo>
                      <a:pt x="429" y="920"/>
                    </a:lnTo>
                    <a:lnTo>
                      <a:pt x="422" y="918"/>
                    </a:lnTo>
                    <a:lnTo>
                      <a:pt x="420" y="913"/>
                    </a:lnTo>
                    <a:lnTo>
                      <a:pt x="420" y="912"/>
                    </a:lnTo>
                    <a:lnTo>
                      <a:pt x="418" y="908"/>
                    </a:lnTo>
                    <a:lnTo>
                      <a:pt x="417" y="907"/>
                    </a:lnTo>
                    <a:lnTo>
                      <a:pt x="417" y="905"/>
                    </a:lnTo>
                    <a:lnTo>
                      <a:pt x="417" y="903"/>
                    </a:lnTo>
                    <a:lnTo>
                      <a:pt x="418" y="900"/>
                    </a:lnTo>
                    <a:lnTo>
                      <a:pt x="418" y="898"/>
                    </a:lnTo>
                    <a:lnTo>
                      <a:pt x="420" y="895"/>
                    </a:lnTo>
                    <a:lnTo>
                      <a:pt x="420" y="892"/>
                    </a:lnTo>
                    <a:lnTo>
                      <a:pt x="421" y="888"/>
                    </a:lnTo>
                    <a:lnTo>
                      <a:pt x="424" y="884"/>
                    </a:lnTo>
                    <a:lnTo>
                      <a:pt x="422" y="881"/>
                    </a:lnTo>
                    <a:lnTo>
                      <a:pt x="418" y="879"/>
                    </a:lnTo>
                    <a:lnTo>
                      <a:pt x="415" y="878"/>
                    </a:lnTo>
                    <a:lnTo>
                      <a:pt x="408" y="876"/>
                    </a:lnTo>
                    <a:lnTo>
                      <a:pt x="405" y="873"/>
                    </a:lnTo>
                    <a:lnTo>
                      <a:pt x="403" y="869"/>
                    </a:lnTo>
                    <a:lnTo>
                      <a:pt x="401" y="865"/>
                    </a:lnTo>
                    <a:lnTo>
                      <a:pt x="401" y="864"/>
                    </a:lnTo>
                    <a:lnTo>
                      <a:pt x="401" y="861"/>
                    </a:lnTo>
                    <a:lnTo>
                      <a:pt x="402" y="857"/>
                    </a:lnTo>
                    <a:lnTo>
                      <a:pt x="402" y="856"/>
                    </a:lnTo>
                    <a:lnTo>
                      <a:pt x="401" y="852"/>
                    </a:lnTo>
                    <a:lnTo>
                      <a:pt x="401" y="850"/>
                    </a:lnTo>
                    <a:lnTo>
                      <a:pt x="400" y="848"/>
                    </a:lnTo>
                    <a:lnTo>
                      <a:pt x="397" y="847"/>
                    </a:lnTo>
                    <a:lnTo>
                      <a:pt x="395" y="846"/>
                    </a:lnTo>
                    <a:lnTo>
                      <a:pt x="395" y="841"/>
                    </a:lnTo>
                    <a:lnTo>
                      <a:pt x="394" y="840"/>
                    </a:lnTo>
                    <a:lnTo>
                      <a:pt x="391" y="839"/>
                    </a:lnTo>
                    <a:lnTo>
                      <a:pt x="387" y="835"/>
                    </a:lnTo>
                    <a:lnTo>
                      <a:pt x="387" y="832"/>
                    </a:lnTo>
                    <a:lnTo>
                      <a:pt x="387" y="830"/>
                    </a:lnTo>
                    <a:lnTo>
                      <a:pt x="385" y="827"/>
                    </a:lnTo>
                    <a:lnTo>
                      <a:pt x="384" y="824"/>
                    </a:lnTo>
                    <a:lnTo>
                      <a:pt x="383" y="821"/>
                    </a:lnTo>
                    <a:lnTo>
                      <a:pt x="383" y="819"/>
                    </a:lnTo>
                    <a:lnTo>
                      <a:pt x="385" y="818"/>
                    </a:lnTo>
                    <a:lnTo>
                      <a:pt x="386" y="816"/>
                    </a:lnTo>
                    <a:lnTo>
                      <a:pt x="387" y="815"/>
                    </a:lnTo>
                    <a:lnTo>
                      <a:pt x="386" y="813"/>
                    </a:lnTo>
                    <a:lnTo>
                      <a:pt x="387" y="811"/>
                    </a:lnTo>
                    <a:lnTo>
                      <a:pt x="386" y="810"/>
                    </a:lnTo>
                    <a:lnTo>
                      <a:pt x="385" y="808"/>
                    </a:lnTo>
                    <a:lnTo>
                      <a:pt x="385" y="806"/>
                    </a:lnTo>
                    <a:lnTo>
                      <a:pt x="370" y="801"/>
                    </a:lnTo>
                    <a:lnTo>
                      <a:pt x="366" y="798"/>
                    </a:lnTo>
                    <a:lnTo>
                      <a:pt x="357" y="789"/>
                    </a:lnTo>
                    <a:lnTo>
                      <a:pt x="354" y="788"/>
                    </a:lnTo>
                    <a:lnTo>
                      <a:pt x="354" y="787"/>
                    </a:lnTo>
                    <a:lnTo>
                      <a:pt x="356" y="787"/>
                    </a:lnTo>
                    <a:lnTo>
                      <a:pt x="359" y="789"/>
                    </a:lnTo>
                    <a:lnTo>
                      <a:pt x="360" y="781"/>
                    </a:lnTo>
                    <a:lnTo>
                      <a:pt x="360" y="772"/>
                    </a:lnTo>
                    <a:lnTo>
                      <a:pt x="358" y="769"/>
                    </a:lnTo>
                    <a:lnTo>
                      <a:pt x="351" y="757"/>
                    </a:lnTo>
                    <a:lnTo>
                      <a:pt x="348" y="756"/>
                    </a:lnTo>
                    <a:lnTo>
                      <a:pt x="339" y="754"/>
                    </a:lnTo>
                    <a:lnTo>
                      <a:pt x="335" y="755"/>
                    </a:lnTo>
                    <a:lnTo>
                      <a:pt x="335" y="756"/>
                    </a:lnTo>
                    <a:lnTo>
                      <a:pt x="336" y="761"/>
                    </a:lnTo>
                    <a:lnTo>
                      <a:pt x="334" y="758"/>
                    </a:lnTo>
                    <a:lnTo>
                      <a:pt x="332" y="755"/>
                    </a:lnTo>
                    <a:lnTo>
                      <a:pt x="330" y="751"/>
                    </a:lnTo>
                    <a:lnTo>
                      <a:pt x="330" y="749"/>
                    </a:lnTo>
                    <a:lnTo>
                      <a:pt x="327" y="749"/>
                    </a:lnTo>
                    <a:lnTo>
                      <a:pt x="321" y="738"/>
                    </a:lnTo>
                    <a:lnTo>
                      <a:pt x="316" y="734"/>
                    </a:lnTo>
                    <a:lnTo>
                      <a:pt x="314" y="734"/>
                    </a:lnTo>
                    <a:lnTo>
                      <a:pt x="314" y="733"/>
                    </a:lnTo>
                    <a:lnTo>
                      <a:pt x="317" y="727"/>
                    </a:lnTo>
                    <a:lnTo>
                      <a:pt x="316" y="725"/>
                    </a:lnTo>
                    <a:lnTo>
                      <a:pt x="314" y="723"/>
                    </a:lnTo>
                    <a:lnTo>
                      <a:pt x="309" y="720"/>
                    </a:lnTo>
                    <a:lnTo>
                      <a:pt x="303" y="717"/>
                    </a:lnTo>
                    <a:lnTo>
                      <a:pt x="301" y="716"/>
                    </a:lnTo>
                    <a:lnTo>
                      <a:pt x="299" y="713"/>
                    </a:lnTo>
                    <a:lnTo>
                      <a:pt x="297" y="712"/>
                    </a:lnTo>
                    <a:lnTo>
                      <a:pt x="292" y="706"/>
                    </a:lnTo>
                    <a:lnTo>
                      <a:pt x="291" y="705"/>
                    </a:lnTo>
                    <a:lnTo>
                      <a:pt x="287" y="704"/>
                    </a:lnTo>
                    <a:lnTo>
                      <a:pt x="285" y="704"/>
                    </a:lnTo>
                    <a:lnTo>
                      <a:pt x="282" y="704"/>
                    </a:lnTo>
                    <a:lnTo>
                      <a:pt x="279" y="702"/>
                    </a:lnTo>
                    <a:lnTo>
                      <a:pt x="271" y="696"/>
                    </a:lnTo>
                    <a:lnTo>
                      <a:pt x="265" y="689"/>
                    </a:lnTo>
                    <a:lnTo>
                      <a:pt x="267" y="686"/>
                    </a:lnTo>
                    <a:lnTo>
                      <a:pt x="263" y="684"/>
                    </a:lnTo>
                    <a:lnTo>
                      <a:pt x="260" y="683"/>
                    </a:lnTo>
                    <a:lnTo>
                      <a:pt x="254" y="682"/>
                    </a:lnTo>
                    <a:lnTo>
                      <a:pt x="253" y="681"/>
                    </a:lnTo>
                    <a:lnTo>
                      <a:pt x="252" y="679"/>
                    </a:lnTo>
                    <a:lnTo>
                      <a:pt x="249" y="676"/>
                    </a:lnTo>
                    <a:lnTo>
                      <a:pt x="247" y="674"/>
                    </a:lnTo>
                    <a:lnTo>
                      <a:pt x="247" y="674"/>
                    </a:lnTo>
                    <a:lnTo>
                      <a:pt x="245" y="673"/>
                    </a:lnTo>
                    <a:lnTo>
                      <a:pt x="240" y="668"/>
                    </a:lnTo>
                    <a:lnTo>
                      <a:pt x="237" y="666"/>
                    </a:lnTo>
                    <a:lnTo>
                      <a:pt x="234" y="666"/>
                    </a:lnTo>
                    <a:lnTo>
                      <a:pt x="230" y="667"/>
                    </a:lnTo>
                    <a:lnTo>
                      <a:pt x="226" y="669"/>
                    </a:lnTo>
                    <a:lnTo>
                      <a:pt x="225" y="670"/>
                    </a:lnTo>
                    <a:lnTo>
                      <a:pt x="221" y="669"/>
                    </a:lnTo>
                    <a:lnTo>
                      <a:pt x="214" y="665"/>
                    </a:lnTo>
                    <a:lnTo>
                      <a:pt x="210" y="663"/>
                    </a:lnTo>
                    <a:lnTo>
                      <a:pt x="210" y="665"/>
                    </a:lnTo>
                    <a:lnTo>
                      <a:pt x="212" y="666"/>
                    </a:lnTo>
                    <a:lnTo>
                      <a:pt x="214" y="668"/>
                    </a:lnTo>
                    <a:lnTo>
                      <a:pt x="216" y="670"/>
                    </a:lnTo>
                    <a:lnTo>
                      <a:pt x="217" y="671"/>
                    </a:lnTo>
                    <a:lnTo>
                      <a:pt x="216" y="672"/>
                    </a:lnTo>
                    <a:lnTo>
                      <a:pt x="214" y="671"/>
                    </a:lnTo>
                    <a:lnTo>
                      <a:pt x="198" y="660"/>
                    </a:lnTo>
                    <a:lnTo>
                      <a:pt x="195" y="658"/>
                    </a:lnTo>
                    <a:lnTo>
                      <a:pt x="192" y="658"/>
                    </a:lnTo>
                    <a:lnTo>
                      <a:pt x="189" y="657"/>
                    </a:lnTo>
                    <a:lnTo>
                      <a:pt x="186" y="655"/>
                    </a:lnTo>
                    <a:lnTo>
                      <a:pt x="184" y="650"/>
                    </a:lnTo>
                    <a:lnTo>
                      <a:pt x="181" y="647"/>
                    </a:lnTo>
                    <a:lnTo>
                      <a:pt x="172" y="640"/>
                    </a:lnTo>
                    <a:lnTo>
                      <a:pt x="168" y="635"/>
                    </a:lnTo>
                    <a:lnTo>
                      <a:pt x="157" y="620"/>
                    </a:lnTo>
                    <a:lnTo>
                      <a:pt x="154" y="616"/>
                    </a:lnTo>
                    <a:lnTo>
                      <a:pt x="154" y="615"/>
                    </a:lnTo>
                    <a:lnTo>
                      <a:pt x="155" y="615"/>
                    </a:lnTo>
                    <a:lnTo>
                      <a:pt x="157" y="615"/>
                    </a:lnTo>
                    <a:lnTo>
                      <a:pt x="158" y="614"/>
                    </a:lnTo>
                    <a:lnTo>
                      <a:pt x="159" y="612"/>
                    </a:lnTo>
                    <a:lnTo>
                      <a:pt x="156" y="612"/>
                    </a:lnTo>
                    <a:lnTo>
                      <a:pt x="154" y="611"/>
                    </a:lnTo>
                    <a:lnTo>
                      <a:pt x="150" y="607"/>
                    </a:lnTo>
                    <a:lnTo>
                      <a:pt x="149" y="605"/>
                    </a:lnTo>
                    <a:lnTo>
                      <a:pt x="148" y="600"/>
                    </a:lnTo>
                    <a:lnTo>
                      <a:pt x="147" y="598"/>
                    </a:lnTo>
                    <a:lnTo>
                      <a:pt x="141" y="591"/>
                    </a:lnTo>
                    <a:lnTo>
                      <a:pt x="141" y="589"/>
                    </a:lnTo>
                    <a:lnTo>
                      <a:pt x="144" y="584"/>
                    </a:lnTo>
                    <a:lnTo>
                      <a:pt x="138" y="582"/>
                    </a:lnTo>
                    <a:lnTo>
                      <a:pt x="136" y="582"/>
                    </a:lnTo>
                    <a:lnTo>
                      <a:pt x="136" y="583"/>
                    </a:lnTo>
                    <a:lnTo>
                      <a:pt x="136" y="584"/>
                    </a:lnTo>
                    <a:lnTo>
                      <a:pt x="132" y="582"/>
                    </a:lnTo>
                    <a:lnTo>
                      <a:pt x="130" y="580"/>
                    </a:lnTo>
                    <a:lnTo>
                      <a:pt x="131" y="577"/>
                    </a:lnTo>
                    <a:lnTo>
                      <a:pt x="130" y="576"/>
                    </a:lnTo>
                    <a:lnTo>
                      <a:pt x="129" y="575"/>
                    </a:lnTo>
                    <a:lnTo>
                      <a:pt x="129" y="574"/>
                    </a:lnTo>
                    <a:lnTo>
                      <a:pt x="130" y="572"/>
                    </a:lnTo>
                    <a:lnTo>
                      <a:pt x="131" y="574"/>
                    </a:lnTo>
                    <a:lnTo>
                      <a:pt x="132" y="574"/>
                    </a:lnTo>
                    <a:lnTo>
                      <a:pt x="134" y="575"/>
                    </a:lnTo>
                    <a:lnTo>
                      <a:pt x="136" y="575"/>
                    </a:lnTo>
                    <a:lnTo>
                      <a:pt x="135" y="574"/>
                    </a:lnTo>
                    <a:lnTo>
                      <a:pt x="134" y="570"/>
                    </a:lnTo>
                    <a:lnTo>
                      <a:pt x="132" y="570"/>
                    </a:lnTo>
                    <a:lnTo>
                      <a:pt x="131" y="570"/>
                    </a:lnTo>
                    <a:lnTo>
                      <a:pt x="129" y="567"/>
                    </a:lnTo>
                    <a:lnTo>
                      <a:pt x="128" y="567"/>
                    </a:lnTo>
                    <a:lnTo>
                      <a:pt x="128" y="570"/>
                    </a:lnTo>
                    <a:lnTo>
                      <a:pt x="124" y="567"/>
                    </a:lnTo>
                    <a:lnTo>
                      <a:pt x="119" y="563"/>
                    </a:lnTo>
                    <a:lnTo>
                      <a:pt x="116" y="559"/>
                    </a:lnTo>
                    <a:lnTo>
                      <a:pt x="117" y="555"/>
                    </a:lnTo>
                    <a:lnTo>
                      <a:pt x="118" y="557"/>
                    </a:lnTo>
                    <a:lnTo>
                      <a:pt x="119" y="558"/>
                    </a:lnTo>
                    <a:lnTo>
                      <a:pt x="120" y="556"/>
                    </a:lnTo>
                    <a:lnTo>
                      <a:pt x="119" y="554"/>
                    </a:lnTo>
                    <a:lnTo>
                      <a:pt x="118" y="553"/>
                    </a:lnTo>
                    <a:lnTo>
                      <a:pt x="117" y="552"/>
                    </a:lnTo>
                    <a:lnTo>
                      <a:pt x="114" y="551"/>
                    </a:lnTo>
                    <a:lnTo>
                      <a:pt x="112" y="551"/>
                    </a:lnTo>
                    <a:lnTo>
                      <a:pt x="109" y="552"/>
                    </a:lnTo>
                    <a:lnTo>
                      <a:pt x="109" y="551"/>
                    </a:lnTo>
                    <a:lnTo>
                      <a:pt x="104" y="544"/>
                    </a:lnTo>
                    <a:lnTo>
                      <a:pt x="103" y="542"/>
                    </a:lnTo>
                    <a:lnTo>
                      <a:pt x="102" y="538"/>
                    </a:lnTo>
                    <a:lnTo>
                      <a:pt x="102" y="535"/>
                    </a:lnTo>
                    <a:lnTo>
                      <a:pt x="102" y="533"/>
                    </a:lnTo>
                    <a:lnTo>
                      <a:pt x="100" y="531"/>
                    </a:lnTo>
                    <a:lnTo>
                      <a:pt x="99" y="529"/>
                    </a:lnTo>
                    <a:lnTo>
                      <a:pt x="99" y="528"/>
                    </a:lnTo>
                    <a:lnTo>
                      <a:pt x="98" y="527"/>
                    </a:lnTo>
                    <a:lnTo>
                      <a:pt x="97" y="526"/>
                    </a:lnTo>
                    <a:lnTo>
                      <a:pt x="90" y="521"/>
                    </a:lnTo>
                    <a:lnTo>
                      <a:pt x="88" y="519"/>
                    </a:lnTo>
                    <a:lnTo>
                      <a:pt x="87" y="514"/>
                    </a:lnTo>
                    <a:lnTo>
                      <a:pt x="86" y="511"/>
                    </a:lnTo>
                    <a:lnTo>
                      <a:pt x="86" y="508"/>
                    </a:lnTo>
                    <a:lnTo>
                      <a:pt x="86" y="508"/>
                    </a:lnTo>
                    <a:lnTo>
                      <a:pt x="87" y="506"/>
                    </a:lnTo>
                    <a:lnTo>
                      <a:pt x="87" y="505"/>
                    </a:lnTo>
                    <a:lnTo>
                      <a:pt x="87" y="502"/>
                    </a:lnTo>
                    <a:lnTo>
                      <a:pt x="80" y="492"/>
                    </a:lnTo>
                    <a:lnTo>
                      <a:pt x="78" y="490"/>
                    </a:lnTo>
                    <a:lnTo>
                      <a:pt x="72" y="482"/>
                    </a:lnTo>
                    <a:lnTo>
                      <a:pt x="86" y="470"/>
                    </a:lnTo>
                    <a:lnTo>
                      <a:pt x="88" y="466"/>
                    </a:lnTo>
                    <a:lnTo>
                      <a:pt x="88" y="460"/>
                    </a:lnTo>
                    <a:lnTo>
                      <a:pt x="87" y="455"/>
                    </a:lnTo>
                    <a:lnTo>
                      <a:pt x="84" y="452"/>
                    </a:lnTo>
                    <a:lnTo>
                      <a:pt x="84" y="452"/>
                    </a:lnTo>
                    <a:lnTo>
                      <a:pt x="87" y="450"/>
                    </a:lnTo>
                    <a:lnTo>
                      <a:pt x="86" y="447"/>
                    </a:lnTo>
                    <a:lnTo>
                      <a:pt x="83" y="441"/>
                    </a:lnTo>
                    <a:lnTo>
                      <a:pt x="81" y="445"/>
                    </a:lnTo>
                    <a:lnTo>
                      <a:pt x="79" y="445"/>
                    </a:lnTo>
                    <a:lnTo>
                      <a:pt x="78" y="444"/>
                    </a:lnTo>
                    <a:lnTo>
                      <a:pt x="76" y="440"/>
                    </a:lnTo>
                    <a:lnTo>
                      <a:pt x="78" y="439"/>
                    </a:lnTo>
                    <a:lnTo>
                      <a:pt x="74" y="435"/>
                    </a:lnTo>
                    <a:lnTo>
                      <a:pt x="74" y="430"/>
                    </a:lnTo>
                    <a:lnTo>
                      <a:pt x="74" y="424"/>
                    </a:lnTo>
                    <a:lnTo>
                      <a:pt x="74" y="419"/>
                    </a:lnTo>
                    <a:lnTo>
                      <a:pt x="72" y="414"/>
                    </a:lnTo>
                    <a:lnTo>
                      <a:pt x="72" y="412"/>
                    </a:lnTo>
                    <a:lnTo>
                      <a:pt x="76" y="410"/>
                    </a:lnTo>
                    <a:lnTo>
                      <a:pt x="77" y="409"/>
                    </a:lnTo>
                    <a:lnTo>
                      <a:pt x="78" y="407"/>
                    </a:lnTo>
                    <a:lnTo>
                      <a:pt x="78" y="404"/>
                    </a:lnTo>
                    <a:lnTo>
                      <a:pt x="76" y="402"/>
                    </a:lnTo>
                    <a:lnTo>
                      <a:pt x="75" y="406"/>
                    </a:lnTo>
                    <a:lnTo>
                      <a:pt x="74" y="407"/>
                    </a:lnTo>
                    <a:lnTo>
                      <a:pt x="72" y="408"/>
                    </a:lnTo>
                    <a:lnTo>
                      <a:pt x="71" y="408"/>
                    </a:lnTo>
                    <a:lnTo>
                      <a:pt x="70" y="407"/>
                    </a:lnTo>
                    <a:lnTo>
                      <a:pt x="70" y="406"/>
                    </a:lnTo>
                    <a:lnTo>
                      <a:pt x="69" y="404"/>
                    </a:lnTo>
                    <a:lnTo>
                      <a:pt x="67" y="402"/>
                    </a:lnTo>
                    <a:lnTo>
                      <a:pt x="66" y="400"/>
                    </a:lnTo>
                    <a:lnTo>
                      <a:pt x="65" y="399"/>
                    </a:lnTo>
                    <a:lnTo>
                      <a:pt x="65" y="396"/>
                    </a:lnTo>
                    <a:lnTo>
                      <a:pt x="64" y="394"/>
                    </a:lnTo>
                    <a:lnTo>
                      <a:pt x="63" y="393"/>
                    </a:lnTo>
                    <a:lnTo>
                      <a:pt x="61" y="391"/>
                    </a:lnTo>
                    <a:lnTo>
                      <a:pt x="56" y="384"/>
                    </a:lnTo>
                    <a:lnTo>
                      <a:pt x="51" y="373"/>
                    </a:lnTo>
                    <a:lnTo>
                      <a:pt x="48" y="358"/>
                    </a:lnTo>
                    <a:lnTo>
                      <a:pt x="48" y="354"/>
                    </a:lnTo>
                    <a:lnTo>
                      <a:pt x="52" y="353"/>
                    </a:lnTo>
                    <a:lnTo>
                      <a:pt x="56" y="358"/>
                    </a:lnTo>
                    <a:lnTo>
                      <a:pt x="60" y="358"/>
                    </a:lnTo>
                    <a:lnTo>
                      <a:pt x="61" y="354"/>
                    </a:lnTo>
                    <a:lnTo>
                      <a:pt x="61" y="351"/>
                    </a:lnTo>
                    <a:lnTo>
                      <a:pt x="61" y="349"/>
                    </a:lnTo>
                    <a:lnTo>
                      <a:pt x="64" y="346"/>
                    </a:lnTo>
                    <a:lnTo>
                      <a:pt x="64" y="346"/>
                    </a:lnTo>
                    <a:lnTo>
                      <a:pt x="65" y="342"/>
                    </a:lnTo>
                    <a:lnTo>
                      <a:pt x="67" y="335"/>
                    </a:lnTo>
                    <a:lnTo>
                      <a:pt x="67" y="331"/>
                    </a:lnTo>
                    <a:lnTo>
                      <a:pt x="66" y="331"/>
                    </a:lnTo>
                    <a:lnTo>
                      <a:pt x="64" y="338"/>
                    </a:lnTo>
                    <a:lnTo>
                      <a:pt x="63" y="335"/>
                    </a:lnTo>
                    <a:lnTo>
                      <a:pt x="63" y="333"/>
                    </a:lnTo>
                    <a:lnTo>
                      <a:pt x="64" y="331"/>
                    </a:lnTo>
                    <a:lnTo>
                      <a:pt x="64" y="328"/>
                    </a:lnTo>
                    <a:lnTo>
                      <a:pt x="64" y="321"/>
                    </a:lnTo>
                    <a:lnTo>
                      <a:pt x="66" y="315"/>
                    </a:lnTo>
                    <a:lnTo>
                      <a:pt x="71" y="309"/>
                    </a:lnTo>
                    <a:lnTo>
                      <a:pt x="73" y="301"/>
                    </a:lnTo>
                    <a:lnTo>
                      <a:pt x="74" y="300"/>
                    </a:lnTo>
                    <a:lnTo>
                      <a:pt x="76" y="299"/>
                    </a:lnTo>
                    <a:lnTo>
                      <a:pt x="78" y="296"/>
                    </a:lnTo>
                    <a:lnTo>
                      <a:pt x="79" y="292"/>
                    </a:lnTo>
                    <a:lnTo>
                      <a:pt x="83" y="289"/>
                    </a:lnTo>
                    <a:lnTo>
                      <a:pt x="83" y="288"/>
                    </a:lnTo>
                    <a:lnTo>
                      <a:pt x="83" y="285"/>
                    </a:lnTo>
                    <a:lnTo>
                      <a:pt x="82" y="284"/>
                    </a:lnTo>
                    <a:lnTo>
                      <a:pt x="80" y="282"/>
                    </a:lnTo>
                    <a:lnTo>
                      <a:pt x="79" y="283"/>
                    </a:lnTo>
                    <a:lnTo>
                      <a:pt x="78" y="285"/>
                    </a:lnTo>
                    <a:lnTo>
                      <a:pt x="76" y="290"/>
                    </a:lnTo>
                    <a:lnTo>
                      <a:pt x="75" y="292"/>
                    </a:lnTo>
                    <a:lnTo>
                      <a:pt x="71" y="292"/>
                    </a:lnTo>
                    <a:lnTo>
                      <a:pt x="71" y="287"/>
                    </a:lnTo>
                    <a:lnTo>
                      <a:pt x="72" y="279"/>
                    </a:lnTo>
                    <a:lnTo>
                      <a:pt x="71" y="270"/>
                    </a:lnTo>
                    <a:lnTo>
                      <a:pt x="72" y="259"/>
                    </a:lnTo>
                    <a:lnTo>
                      <a:pt x="71" y="254"/>
                    </a:lnTo>
                    <a:lnTo>
                      <a:pt x="71" y="252"/>
                    </a:lnTo>
                    <a:lnTo>
                      <a:pt x="65" y="246"/>
                    </a:lnTo>
                    <a:lnTo>
                      <a:pt x="61" y="236"/>
                    </a:lnTo>
                    <a:lnTo>
                      <a:pt x="58" y="230"/>
                    </a:lnTo>
                    <a:lnTo>
                      <a:pt x="56" y="227"/>
                    </a:lnTo>
                    <a:lnTo>
                      <a:pt x="57" y="225"/>
                    </a:lnTo>
                    <a:lnTo>
                      <a:pt x="62" y="221"/>
                    </a:lnTo>
                    <a:lnTo>
                      <a:pt x="62" y="219"/>
                    </a:lnTo>
                    <a:lnTo>
                      <a:pt x="53" y="210"/>
                    </a:lnTo>
                    <a:lnTo>
                      <a:pt x="50" y="208"/>
                    </a:lnTo>
                    <a:lnTo>
                      <a:pt x="49" y="209"/>
                    </a:lnTo>
                    <a:lnTo>
                      <a:pt x="49" y="209"/>
                    </a:lnTo>
                    <a:lnTo>
                      <a:pt x="52" y="213"/>
                    </a:lnTo>
                    <a:lnTo>
                      <a:pt x="53" y="215"/>
                    </a:lnTo>
                    <a:lnTo>
                      <a:pt x="54" y="216"/>
                    </a:lnTo>
                    <a:lnTo>
                      <a:pt x="55" y="220"/>
                    </a:lnTo>
                    <a:lnTo>
                      <a:pt x="56" y="222"/>
                    </a:lnTo>
                    <a:lnTo>
                      <a:pt x="55" y="224"/>
                    </a:lnTo>
                    <a:lnTo>
                      <a:pt x="52" y="218"/>
                    </a:lnTo>
                    <a:lnTo>
                      <a:pt x="48" y="210"/>
                    </a:lnTo>
                    <a:lnTo>
                      <a:pt x="42" y="206"/>
                    </a:lnTo>
                    <a:lnTo>
                      <a:pt x="34" y="190"/>
                    </a:lnTo>
                    <a:lnTo>
                      <a:pt x="34" y="187"/>
                    </a:lnTo>
                    <a:lnTo>
                      <a:pt x="39" y="190"/>
                    </a:lnTo>
                    <a:lnTo>
                      <a:pt x="44" y="202"/>
                    </a:lnTo>
                    <a:lnTo>
                      <a:pt x="48" y="203"/>
                    </a:lnTo>
                    <a:lnTo>
                      <a:pt x="49" y="204"/>
                    </a:lnTo>
                    <a:lnTo>
                      <a:pt x="51" y="204"/>
                    </a:lnTo>
                    <a:lnTo>
                      <a:pt x="52" y="202"/>
                    </a:lnTo>
                    <a:lnTo>
                      <a:pt x="53" y="201"/>
                    </a:lnTo>
                    <a:lnTo>
                      <a:pt x="51" y="199"/>
                    </a:lnTo>
                    <a:lnTo>
                      <a:pt x="49" y="193"/>
                    </a:lnTo>
                    <a:lnTo>
                      <a:pt x="46" y="192"/>
                    </a:lnTo>
                    <a:lnTo>
                      <a:pt x="44" y="190"/>
                    </a:lnTo>
                    <a:lnTo>
                      <a:pt x="43" y="188"/>
                    </a:lnTo>
                    <a:lnTo>
                      <a:pt x="42" y="186"/>
                    </a:lnTo>
                    <a:lnTo>
                      <a:pt x="41" y="183"/>
                    </a:lnTo>
                    <a:lnTo>
                      <a:pt x="38" y="182"/>
                    </a:lnTo>
                    <a:lnTo>
                      <a:pt x="34" y="181"/>
                    </a:lnTo>
                    <a:lnTo>
                      <a:pt x="32" y="179"/>
                    </a:lnTo>
                    <a:lnTo>
                      <a:pt x="28" y="180"/>
                    </a:lnTo>
                    <a:lnTo>
                      <a:pt x="26" y="178"/>
                    </a:lnTo>
                    <a:lnTo>
                      <a:pt x="22" y="170"/>
                    </a:lnTo>
                    <a:lnTo>
                      <a:pt x="24" y="168"/>
                    </a:lnTo>
                    <a:lnTo>
                      <a:pt x="26" y="165"/>
                    </a:lnTo>
                    <a:lnTo>
                      <a:pt x="26" y="163"/>
                    </a:lnTo>
                    <a:lnTo>
                      <a:pt x="26" y="160"/>
                    </a:lnTo>
                    <a:lnTo>
                      <a:pt x="26" y="155"/>
                    </a:lnTo>
                    <a:lnTo>
                      <a:pt x="26" y="152"/>
                    </a:lnTo>
                    <a:lnTo>
                      <a:pt x="26" y="149"/>
                    </a:lnTo>
                    <a:lnTo>
                      <a:pt x="23" y="149"/>
                    </a:lnTo>
                    <a:lnTo>
                      <a:pt x="22" y="151"/>
                    </a:lnTo>
                    <a:lnTo>
                      <a:pt x="19" y="148"/>
                    </a:lnTo>
                    <a:lnTo>
                      <a:pt x="17" y="144"/>
                    </a:lnTo>
                    <a:lnTo>
                      <a:pt x="14" y="138"/>
                    </a:lnTo>
                    <a:lnTo>
                      <a:pt x="11" y="134"/>
                    </a:lnTo>
                    <a:lnTo>
                      <a:pt x="10" y="130"/>
                    </a:lnTo>
                    <a:lnTo>
                      <a:pt x="7" y="127"/>
                    </a:lnTo>
                    <a:lnTo>
                      <a:pt x="7" y="125"/>
                    </a:lnTo>
                    <a:lnTo>
                      <a:pt x="5" y="121"/>
                    </a:lnTo>
                    <a:lnTo>
                      <a:pt x="5" y="119"/>
                    </a:lnTo>
                    <a:lnTo>
                      <a:pt x="4" y="114"/>
                    </a:lnTo>
                    <a:lnTo>
                      <a:pt x="2" y="109"/>
                    </a:lnTo>
                    <a:lnTo>
                      <a:pt x="0" y="103"/>
                    </a:lnTo>
                    <a:lnTo>
                      <a:pt x="0" y="101"/>
                    </a:lnTo>
                    <a:lnTo>
                      <a:pt x="4" y="100"/>
                    </a:lnTo>
                    <a:lnTo>
                      <a:pt x="26" y="98"/>
                    </a:lnTo>
                    <a:lnTo>
                      <a:pt x="37" y="95"/>
                    </a:lnTo>
                    <a:lnTo>
                      <a:pt x="42" y="94"/>
                    </a:lnTo>
                    <a:lnTo>
                      <a:pt x="47" y="96"/>
                    </a:lnTo>
                    <a:lnTo>
                      <a:pt x="50" y="100"/>
                    </a:lnTo>
                    <a:lnTo>
                      <a:pt x="57" y="110"/>
                    </a:lnTo>
                    <a:lnTo>
                      <a:pt x="59" y="113"/>
                    </a:lnTo>
                    <a:lnTo>
                      <a:pt x="72" y="125"/>
                    </a:lnTo>
                    <a:lnTo>
                      <a:pt x="86" y="140"/>
                    </a:lnTo>
                    <a:lnTo>
                      <a:pt x="90" y="144"/>
                    </a:lnTo>
                    <a:lnTo>
                      <a:pt x="94" y="147"/>
                    </a:lnTo>
                    <a:lnTo>
                      <a:pt x="99" y="148"/>
                    </a:lnTo>
                    <a:lnTo>
                      <a:pt x="106" y="148"/>
                    </a:lnTo>
                    <a:lnTo>
                      <a:pt x="124" y="144"/>
                    </a:lnTo>
                    <a:lnTo>
                      <a:pt x="129" y="144"/>
                    </a:lnTo>
                    <a:lnTo>
                      <a:pt x="132" y="146"/>
                    </a:lnTo>
                    <a:lnTo>
                      <a:pt x="133" y="149"/>
                    </a:lnTo>
                    <a:lnTo>
                      <a:pt x="134" y="153"/>
                    </a:lnTo>
                    <a:lnTo>
                      <a:pt x="135" y="160"/>
                    </a:lnTo>
                    <a:lnTo>
                      <a:pt x="137" y="163"/>
                    </a:lnTo>
                    <a:lnTo>
                      <a:pt x="140" y="164"/>
                    </a:lnTo>
                    <a:lnTo>
                      <a:pt x="154" y="162"/>
                    </a:lnTo>
                    <a:lnTo>
                      <a:pt x="189" y="151"/>
                    </a:lnTo>
                    <a:lnTo>
                      <a:pt x="205" y="149"/>
                    </a:lnTo>
                    <a:lnTo>
                      <a:pt x="208" y="149"/>
                    </a:lnTo>
                    <a:lnTo>
                      <a:pt x="212" y="150"/>
                    </a:lnTo>
                    <a:lnTo>
                      <a:pt x="215" y="153"/>
                    </a:lnTo>
                    <a:lnTo>
                      <a:pt x="217" y="156"/>
                    </a:lnTo>
                    <a:lnTo>
                      <a:pt x="218" y="160"/>
                    </a:lnTo>
                    <a:lnTo>
                      <a:pt x="219" y="163"/>
                    </a:lnTo>
                    <a:lnTo>
                      <a:pt x="219" y="169"/>
                    </a:lnTo>
                    <a:lnTo>
                      <a:pt x="217" y="178"/>
                    </a:lnTo>
                    <a:lnTo>
                      <a:pt x="217" y="180"/>
                    </a:lnTo>
                    <a:lnTo>
                      <a:pt x="207" y="202"/>
                    </a:lnTo>
                    <a:lnTo>
                      <a:pt x="207" y="206"/>
                    </a:lnTo>
                    <a:lnTo>
                      <a:pt x="207" y="209"/>
                    </a:lnTo>
                    <a:lnTo>
                      <a:pt x="209" y="213"/>
                    </a:lnTo>
                    <a:lnTo>
                      <a:pt x="213" y="214"/>
                    </a:lnTo>
                    <a:lnTo>
                      <a:pt x="224" y="217"/>
                    </a:lnTo>
                    <a:lnTo>
                      <a:pt x="229" y="220"/>
                    </a:lnTo>
                    <a:lnTo>
                      <a:pt x="232" y="222"/>
                    </a:lnTo>
                    <a:lnTo>
                      <a:pt x="235" y="225"/>
                    </a:lnTo>
                    <a:lnTo>
                      <a:pt x="237" y="229"/>
                    </a:lnTo>
                    <a:lnTo>
                      <a:pt x="239" y="232"/>
                    </a:lnTo>
                    <a:lnTo>
                      <a:pt x="240" y="236"/>
                    </a:lnTo>
                    <a:lnTo>
                      <a:pt x="240" y="240"/>
                    </a:lnTo>
                    <a:lnTo>
                      <a:pt x="239" y="248"/>
                    </a:lnTo>
                    <a:lnTo>
                      <a:pt x="237" y="255"/>
                    </a:lnTo>
                    <a:lnTo>
                      <a:pt x="237" y="259"/>
                    </a:lnTo>
                    <a:lnTo>
                      <a:pt x="238" y="262"/>
                    </a:lnTo>
                    <a:lnTo>
                      <a:pt x="240" y="266"/>
                    </a:lnTo>
                    <a:lnTo>
                      <a:pt x="244" y="268"/>
                    </a:lnTo>
                    <a:lnTo>
                      <a:pt x="244" y="268"/>
                    </a:lnTo>
                    <a:lnTo>
                      <a:pt x="255" y="270"/>
                    </a:lnTo>
                    <a:lnTo>
                      <a:pt x="259" y="270"/>
                    </a:lnTo>
                    <a:lnTo>
                      <a:pt x="262" y="270"/>
                    </a:lnTo>
                    <a:lnTo>
                      <a:pt x="267" y="268"/>
                    </a:lnTo>
                    <a:lnTo>
                      <a:pt x="271" y="266"/>
                    </a:lnTo>
                    <a:lnTo>
                      <a:pt x="288" y="251"/>
                    </a:lnTo>
                    <a:lnTo>
                      <a:pt x="295" y="247"/>
                    </a:lnTo>
                    <a:lnTo>
                      <a:pt x="300" y="246"/>
                    </a:lnTo>
                    <a:lnTo>
                      <a:pt x="304" y="247"/>
                    </a:lnTo>
                    <a:lnTo>
                      <a:pt x="330" y="254"/>
                    </a:lnTo>
                    <a:lnTo>
                      <a:pt x="334" y="254"/>
                    </a:lnTo>
                    <a:lnTo>
                      <a:pt x="337" y="252"/>
                    </a:lnTo>
                    <a:lnTo>
                      <a:pt x="342" y="247"/>
                    </a:lnTo>
                    <a:lnTo>
                      <a:pt x="354" y="229"/>
                    </a:lnTo>
                    <a:lnTo>
                      <a:pt x="360" y="221"/>
                    </a:lnTo>
                    <a:lnTo>
                      <a:pt x="408" y="183"/>
                    </a:lnTo>
                    <a:lnTo>
                      <a:pt x="432" y="160"/>
                    </a:lnTo>
                    <a:lnTo>
                      <a:pt x="437" y="155"/>
                    </a:lnTo>
                    <a:lnTo>
                      <a:pt x="441" y="153"/>
                    </a:lnTo>
                    <a:lnTo>
                      <a:pt x="461" y="146"/>
                    </a:lnTo>
                    <a:lnTo>
                      <a:pt x="464" y="143"/>
                    </a:lnTo>
                    <a:lnTo>
                      <a:pt x="468" y="140"/>
                    </a:lnTo>
                    <a:lnTo>
                      <a:pt x="470" y="134"/>
                    </a:lnTo>
                    <a:lnTo>
                      <a:pt x="469" y="131"/>
                    </a:lnTo>
                    <a:lnTo>
                      <a:pt x="466" y="128"/>
                    </a:lnTo>
                    <a:lnTo>
                      <a:pt x="448" y="117"/>
                    </a:lnTo>
                    <a:lnTo>
                      <a:pt x="444" y="115"/>
                    </a:lnTo>
                    <a:lnTo>
                      <a:pt x="441" y="112"/>
                    </a:lnTo>
                    <a:lnTo>
                      <a:pt x="440" y="108"/>
                    </a:lnTo>
                    <a:lnTo>
                      <a:pt x="441" y="103"/>
                    </a:lnTo>
                    <a:lnTo>
                      <a:pt x="447" y="98"/>
                    </a:lnTo>
                    <a:lnTo>
                      <a:pt x="454" y="93"/>
                    </a:lnTo>
                    <a:lnTo>
                      <a:pt x="476" y="80"/>
                    </a:lnTo>
                    <a:lnTo>
                      <a:pt x="506" y="67"/>
                    </a:lnTo>
                    <a:lnTo>
                      <a:pt x="509" y="64"/>
                    </a:lnTo>
                    <a:lnTo>
                      <a:pt x="514" y="60"/>
                    </a:lnTo>
                    <a:lnTo>
                      <a:pt x="518" y="53"/>
                    </a:lnTo>
                    <a:lnTo>
                      <a:pt x="521" y="49"/>
                    </a:lnTo>
                    <a:lnTo>
                      <a:pt x="522" y="43"/>
                    </a:lnTo>
                    <a:lnTo>
                      <a:pt x="522" y="35"/>
                    </a:lnTo>
                    <a:lnTo>
                      <a:pt x="522" y="32"/>
                    </a:lnTo>
                    <a:lnTo>
                      <a:pt x="521" y="27"/>
                    </a:lnTo>
                    <a:lnTo>
                      <a:pt x="516" y="16"/>
                    </a:lnTo>
                    <a:lnTo>
                      <a:pt x="516" y="11"/>
                    </a:lnTo>
                    <a:lnTo>
                      <a:pt x="517" y="8"/>
                    </a:lnTo>
                    <a:lnTo>
                      <a:pt x="519" y="4"/>
                    </a:lnTo>
                    <a:lnTo>
                      <a:pt x="523" y="3"/>
                    </a:lnTo>
                    <a:lnTo>
                      <a:pt x="526" y="1"/>
                    </a:lnTo>
                    <a:lnTo>
                      <a:pt x="537" y="0"/>
                    </a:lnTo>
                    <a:lnTo>
                      <a:pt x="559" y="3"/>
                    </a:lnTo>
                    <a:lnTo>
                      <a:pt x="559" y="3"/>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grpSp>
        <p:sp>
          <p:nvSpPr>
            <p:cNvPr id="308" name="Freeform: Shape 307">
              <a:extLst>
                <a:ext uri="{FF2B5EF4-FFF2-40B4-BE49-F238E27FC236}"/>
              </a:extLst>
            </p:cNvPr>
            <p:cNvSpPr/>
            <p:nvPr/>
          </p:nvSpPr>
          <p:spPr>
            <a:xfrm rot="21295695">
              <a:off x="6864570" y="4947935"/>
              <a:ext cx="984194" cy="93695"/>
            </a:xfrm>
            <a:custGeom>
              <a:avLst/>
              <a:gdLst>
                <a:gd name="connsiteX0" fmla="*/ 0 w 812800"/>
                <a:gd name="connsiteY0" fmla="*/ 83167 h 92404"/>
                <a:gd name="connsiteX1" fmla="*/ 415637 w 812800"/>
                <a:gd name="connsiteY1" fmla="*/ 40 h 92404"/>
                <a:gd name="connsiteX2" fmla="*/ 812800 w 812800"/>
                <a:gd name="connsiteY2" fmla="*/ 92404 h 92404"/>
              </a:gdLst>
              <a:ahLst/>
              <a:cxnLst>
                <a:cxn ang="0">
                  <a:pos x="connsiteX0" y="connsiteY0"/>
                </a:cxn>
                <a:cxn ang="0">
                  <a:pos x="connsiteX1" y="connsiteY1"/>
                </a:cxn>
                <a:cxn ang="0">
                  <a:pos x="connsiteX2" y="connsiteY2"/>
                </a:cxn>
              </a:cxnLst>
              <a:rect l="l" t="t" r="r" b="b"/>
              <a:pathLst>
                <a:path w="812800" h="92404">
                  <a:moveTo>
                    <a:pt x="0" y="83167"/>
                  </a:moveTo>
                  <a:cubicBezTo>
                    <a:pt x="140085" y="40833"/>
                    <a:pt x="280170" y="-1500"/>
                    <a:pt x="415637" y="40"/>
                  </a:cubicBezTo>
                  <a:cubicBezTo>
                    <a:pt x="551104" y="1579"/>
                    <a:pt x="681952" y="46991"/>
                    <a:pt x="812800" y="92404"/>
                  </a:cubicBezTo>
                </a:path>
              </a:pathLst>
            </a:custGeom>
            <a:noFill/>
            <a:ln w="19050" cap="flat">
              <a:solidFill>
                <a:schemeClr val="accent5"/>
              </a:solidFill>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latin typeface="Arial"/>
              </a:endParaRPr>
            </a:p>
          </p:txBody>
        </p:sp>
        <p:sp>
          <p:nvSpPr>
            <p:cNvPr id="309" name="Freeform: Shape 308">
              <a:extLst>
                <a:ext uri="{FF2B5EF4-FFF2-40B4-BE49-F238E27FC236}"/>
              </a:extLst>
            </p:cNvPr>
            <p:cNvSpPr/>
            <p:nvPr/>
          </p:nvSpPr>
          <p:spPr>
            <a:xfrm rot="5077622">
              <a:off x="6909626" y="4931279"/>
              <a:ext cx="894080" cy="92070"/>
            </a:xfrm>
            <a:custGeom>
              <a:avLst/>
              <a:gdLst>
                <a:gd name="connsiteX0" fmla="*/ 0 w 812800"/>
                <a:gd name="connsiteY0" fmla="*/ 83167 h 92404"/>
                <a:gd name="connsiteX1" fmla="*/ 415637 w 812800"/>
                <a:gd name="connsiteY1" fmla="*/ 40 h 92404"/>
                <a:gd name="connsiteX2" fmla="*/ 812800 w 812800"/>
                <a:gd name="connsiteY2" fmla="*/ 92404 h 92404"/>
              </a:gdLst>
              <a:ahLst/>
              <a:cxnLst>
                <a:cxn ang="0">
                  <a:pos x="connsiteX0" y="connsiteY0"/>
                </a:cxn>
                <a:cxn ang="0">
                  <a:pos x="connsiteX1" y="connsiteY1"/>
                </a:cxn>
                <a:cxn ang="0">
                  <a:pos x="connsiteX2" y="connsiteY2"/>
                </a:cxn>
              </a:cxnLst>
              <a:rect l="l" t="t" r="r" b="b"/>
              <a:pathLst>
                <a:path w="812800" h="92404">
                  <a:moveTo>
                    <a:pt x="0" y="83167"/>
                  </a:moveTo>
                  <a:cubicBezTo>
                    <a:pt x="140085" y="40833"/>
                    <a:pt x="280170" y="-1500"/>
                    <a:pt x="415637" y="40"/>
                  </a:cubicBezTo>
                  <a:cubicBezTo>
                    <a:pt x="551104" y="1579"/>
                    <a:pt x="681952" y="46991"/>
                    <a:pt x="812800" y="92404"/>
                  </a:cubicBezTo>
                </a:path>
              </a:pathLst>
            </a:custGeom>
            <a:noFill/>
            <a:ln w="19050" cap="flat">
              <a:solidFill>
                <a:schemeClr val="accent5"/>
              </a:solidFill>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latin typeface="Arial"/>
              </a:endParaRPr>
            </a:p>
          </p:txBody>
        </p:sp>
      </p:grpSp>
      <p:sp>
        <p:nvSpPr>
          <p:cNvPr id="325" name="Rectangle 2">
            <a:extLst>
              <a:ext uri="{FF2B5EF4-FFF2-40B4-BE49-F238E27FC236}"/>
            </a:extLst>
          </p:cNvPr>
          <p:cNvSpPr>
            <a:spLocks noChangeArrowheads="1"/>
          </p:cNvSpPr>
          <p:nvPr/>
        </p:nvSpPr>
        <p:spPr bwMode="gray">
          <a:xfrm>
            <a:off x="4679950" y="4813300"/>
            <a:ext cx="1828800" cy="1855788"/>
          </a:xfrm>
          <a:prstGeom prst="rect">
            <a:avLst/>
          </a:prstGeom>
          <a:solidFill>
            <a:schemeClr val="bg1"/>
          </a:solidFill>
          <a:ln w="9525" algn="ctr">
            <a:solidFill>
              <a:schemeClr val="accent3"/>
            </a:solidFill>
            <a:prstDash val="dash"/>
            <a:miter lim="800000"/>
            <a:headEnd/>
            <a:tailEnd/>
          </a:ln>
          <a:effectLst/>
          <a:extLst/>
        </p:spPr>
        <p:txBody>
          <a:bodyPr tIns="91440" bIns="91440" anchor="ctr"/>
          <a:lstStyle/>
          <a:p>
            <a:pPr eaLnBrk="1" fontAlgn="auto" hangingPunct="1">
              <a:spcBef>
                <a:spcPts val="100"/>
              </a:spcBef>
              <a:spcAft>
                <a:spcPts val="0"/>
              </a:spcAft>
              <a:buClr>
                <a:srgbClr val="048962"/>
              </a:buClr>
              <a:buSzPct val="100000"/>
              <a:defRPr/>
            </a:pPr>
            <a:endParaRPr lang="en-US" sz="1200" dirty="0">
              <a:solidFill>
                <a:srgbClr val="000000"/>
              </a:solidFill>
              <a:latin typeface="Arial"/>
              <a:cs typeface="+mn-cs"/>
            </a:endParaRPr>
          </a:p>
        </p:txBody>
      </p:sp>
      <p:grpSp>
        <p:nvGrpSpPr>
          <p:cNvPr id="79885" name="Group 325"/>
          <p:cNvGrpSpPr>
            <a:grpSpLocks/>
          </p:cNvGrpSpPr>
          <p:nvPr/>
        </p:nvGrpSpPr>
        <p:grpSpPr bwMode="auto">
          <a:xfrm>
            <a:off x="5075238" y="5678488"/>
            <a:ext cx="1090612" cy="882650"/>
            <a:chOff x="3599523" y="5193585"/>
            <a:chExt cx="1090550" cy="883615"/>
          </a:xfrm>
        </p:grpSpPr>
        <p:grpSp>
          <p:nvGrpSpPr>
            <p:cNvPr id="329" name="Group 328">
              <a:extLst>
                <a:ext uri="{FF2B5EF4-FFF2-40B4-BE49-F238E27FC236}"/>
              </a:extLst>
            </p:cNvPr>
            <p:cNvGrpSpPr/>
            <p:nvPr/>
          </p:nvGrpSpPr>
          <p:grpSpPr>
            <a:xfrm>
              <a:off x="3599523" y="5193585"/>
              <a:ext cx="1090550" cy="883615"/>
              <a:chOff x="1698625" y="1851025"/>
              <a:chExt cx="5592763" cy="4619626"/>
            </a:xfrm>
            <a:solidFill>
              <a:srgbClr val="5EAD8E"/>
            </a:solidFill>
          </p:grpSpPr>
          <p:sp>
            <p:nvSpPr>
              <p:cNvPr id="335" name="Freeform 5">
                <a:extLst>
                  <a:ext uri="{FF2B5EF4-FFF2-40B4-BE49-F238E27FC236}"/>
                </a:extLst>
              </p:cNvPr>
              <p:cNvSpPr>
                <a:spLocks noEditPoints="1"/>
              </p:cNvSpPr>
              <p:nvPr/>
            </p:nvSpPr>
            <p:spPr bwMode="auto">
              <a:xfrm>
                <a:off x="2009775" y="3376613"/>
                <a:ext cx="1587500" cy="2946400"/>
              </a:xfrm>
              <a:custGeom>
                <a:avLst/>
                <a:gdLst>
                  <a:gd name="T0" fmla="*/ 993 w 1000"/>
                  <a:gd name="T1" fmla="*/ 1856 h 1856"/>
                  <a:gd name="T2" fmla="*/ 992 w 1000"/>
                  <a:gd name="T3" fmla="*/ 1856 h 1856"/>
                  <a:gd name="T4" fmla="*/ 990 w 1000"/>
                  <a:gd name="T5" fmla="*/ 1855 h 1856"/>
                  <a:gd name="T6" fmla="*/ 989 w 1000"/>
                  <a:gd name="T7" fmla="*/ 1853 h 1856"/>
                  <a:gd name="T8" fmla="*/ 987 w 1000"/>
                  <a:gd name="T9" fmla="*/ 1851 h 1856"/>
                  <a:gd name="T10" fmla="*/ 989 w 1000"/>
                  <a:gd name="T11" fmla="*/ 1850 h 1856"/>
                  <a:gd name="T12" fmla="*/ 993 w 1000"/>
                  <a:gd name="T13" fmla="*/ 1844 h 1856"/>
                  <a:gd name="T14" fmla="*/ 995 w 1000"/>
                  <a:gd name="T15" fmla="*/ 1845 h 1856"/>
                  <a:gd name="T16" fmla="*/ 997 w 1000"/>
                  <a:gd name="T17" fmla="*/ 1846 h 1856"/>
                  <a:gd name="T18" fmla="*/ 999 w 1000"/>
                  <a:gd name="T19" fmla="*/ 1850 h 1856"/>
                  <a:gd name="T20" fmla="*/ 999 w 1000"/>
                  <a:gd name="T21" fmla="*/ 1850 h 1856"/>
                  <a:gd name="T22" fmla="*/ 1000 w 1000"/>
                  <a:gd name="T23" fmla="*/ 1852 h 1856"/>
                  <a:gd name="T24" fmla="*/ 999 w 1000"/>
                  <a:gd name="T25" fmla="*/ 1854 h 1856"/>
                  <a:gd name="T26" fmla="*/ 996 w 1000"/>
                  <a:gd name="T27" fmla="*/ 1856 h 1856"/>
                  <a:gd name="T28" fmla="*/ 993 w 1000"/>
                  <a:gd name="T29" fmla="*/ 1856 h 1856"/>
                  <a:gd name="T30" fmla="*/ 993 w 1000"/>
                  <a:gd name="T31" fmla="*/ 1856 h 1856"/>
                  <a:gd name="T32" fmla="*/ 229 w 1000"/>
                  <a:gd name="T33" fmla="*/ 408 h 1856"/>
                  <a:gd name="T34" fmla="*/ 228 w 1000"/>
                  <a:gd name="T35" fmla="*/ 410 h 1856"/>
                  <a:gd name="T36" fmla="*/ 226 w 1000"/>
                  <a:gd name="T37" fmla="*/ 409 h 1856"/>
                  <a:gd name="T38" fmla="*/ 224 w 1000"/>
                  <a:gd name="T39" fmla="*/ 408 h 1856"/>
                  <a:gd name="T40" fmla="*/ 222 w 1000"/>
                  <a:gd name="T41" fmla="*/ 408 h 1856"/>
                  <a:gd name="T42" fmla="*/ 221 w 1000"/>
                  <a:gd name="T43" fmla="*/ 409 h 1856"/>
                  <a:gd name="T44" fmla="*/ 221 w 1000"/>
                  <a:gd name="T45" fmla="*/ 405 h 1856"/>
                  <a:gd name="T46" fmla="*/ 222 w 1000"/>
                  <a:gd name="T47" fmla="*/ 403 h 1856"/>
                  <a:gd name="T48" fmla="*/ 224 w 1000"/>
                  <a:gd name="T49" fmla="*/ 403 h 1856"/>
                  <a:gd name="T50" fmla="*/ 225 w 1000"/>
                  <a:gd name="T51" fmla="*/ 404 h 1856"/>
                  <a:gd name="T52" fmla="*/ 229 w 1000"/>
                  <a:gd name="T53" fmla="*/ 408 h 1856"/>
                  <a:gd name="T54" fmla="*/ 229 w 1000"/>
                  <a:gd name="T55" fmla="*/ 408 h 1856"/>
                  <a:gd name="T56" fmla="*/ 6 w 1000"/>
                  <a:gd name="T57" fmla="*/ 10 h 1856"/>
                  <a:gd name="T58" fmla="*/ 7 w 1000"/>
                  <a:gd name="T59" fmla="*/ 12 h 1856"/>
                  <a:gd name="T60" fmla="*/ 3 w 1000"/>
                  <a:gd name="T61" fmla="*/ 7 h 1856"/>
                  <a:gd name="T62" fmla="*/ 0 w 1000"/>
                  <a:gd name="T63" fmla="*/ 6 h 1856"/>
                  <a:gd name="T64" fmla="*/ 0 w 1000"/>
                  <a:gd name="T65" fmla="*/ 3 h 1856"/>
                  <a:gd name="T66" fmla="*/ 0 w 1000"/>
                  <a:gd name="T67" fmla="*/ 1 h 1856"/>
                  <a:gd name="T68" fmla="*/ 1 w 1000"/>
                  <a:gd name="T69" fmla="*/ 0 h 1856"/>
                  <a:gd name="T70" fmla="*/ 5 w 1000"/>
                  <a:gd name="T71" fmla="*/ 6 h 1856"/>
                  <a:gd name="T72" fmla="*/ 6 w 1000"/>
                  <a:gd name="T73" fmla="*/ 8 h 1856"/>
                  <a:gd name="T74" fmla="*/ 6 w 1000"/>
                  <a:gd name="T75" fmla="*/ 10 h 1856"/>
                  <a:gd name="T76" fmla="*/ 6 w 1000"/>
                  <a:gd name="T77" fmla="*/ 10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0" h="1856">
                    <a:moveTo>
                      <a:pt x="993" y="1856"/>
                    </a:moveTo>
                    <a:lnTo>
                      <a:pt x="992" y="1856"/>
                    </a:lnTo>
                    <a:lnTo>
                      <a:pt x="990" y="1855"/>
                    </a:lnTo>
                    <a:lnTo>
                      <a:pt x="989" y="1853"/>
                    </a:lnTo>
                    <a:lnTo>
                      <a:pt x="987" y="1851"/>
                    </a:lnTo>
                    <a:lnTo>
                      <a:pt x="989" y="1850"/>
                    </a:lnTo>
                    <a:lnTo>
                      <a:pt x="993" y="1844"/>
                    </a:lnTo>
                    <a:lnTo>
                      <a:pt x="995" y="1845"/>
                    </a:lnTo>
                    <a:lnTo>
                      <a:pt x="997" y="1846"/>
                    </a:lnTo>
                    <a:lnTo>
                      <a:pt x="999" y="1850"/>
                    </a:lnTo>
                    <a:lnTo>
                      <a:pt x="999" y="1850"/>
                    </a:lnTo>
                    <a:lnTo>
                      <a:pt x="1000" y="1852"/>
                    </a:lnTo>
                    <a:lnTo>
                      <a:pt x="999" y="1854"/>
                    </a:lnTo>
                    <a:lnTo>
                      <a:pt x="996" y="1856"/>
                    </a:lnTo>
                    <a:lnTo>
                      <a:pt x="993" y="1856"/>
                    </a:lnTo>
                    <a:lnTo>
                      <a:pt x="993" y="1856"/>
                    </a:lnTo>
                    <a:close/>
                    <a:moveTo>
                      <a:pt x="229" y="408"/>
                    </a:moveTo>
                    <a:lnTo>
                      <a:pt x="228" y="410"/>
                    </a:lnTo>
                    <a:lnTo>
                      <a:pt x="226" y="409"/>
                    </a:lnTo>
                    <a:lnTo>
                      <a:pt x="224" y="408"/>
                    </a:lnTo>
                    <a:lnTo>
                      <a:pt x="222" y="408"/>
                    </a:lnTo>
                    <a:lnTo>
                      <a:pt x="221" y="409"/>
                    </a:lnTo>
                    <a:lnTo>
                      <a:pt x="221" y="405"/>
                    </a:lnTo>
                    <a:lnTo>
                      <a:pt x="222" y="403"/>
                    </a:lnTo>
                    <a:lnTo>
                      <a:pt x="224" y="403"/>
                    </a:lnTo>
                    <a:lnTo>
                      <a:pt x="225" y="404"/>
                    </a:lnTo>
                    <a:lnTo>
                      <a:pt x="229" y="408"/>
                    </a:lnTo>
                    <a:lnTo>
                      <a:pt x="229" y="408"/>
                    </a:lnTo>
                    <a:close/>
                    <a:moveTo>
                      <a:pt x="6" y="10"/>
                    </a:moveTo>
                    <a:lnTo>
                      <a:pt x="7" y="12"/>
                    </a:lnTo>
                    <a:lnTo>
                      <a:pt x="3" y="7"/>
                    </a:lnTo>
                    <a:lnTo>
                      <a:pt x="0" y="6"/>
                    </a:lnTo>
                    <a:lnTo>
                      <a:pt x="0" y="3"/>
                    </a:lnTo>
                    <a:lnTo>
                      <a:pt x="0" y="1"/>
                    </a:lnTo>
                    <a:lnTo>
                      <a:pt x="1" y="0"/>
                    </a:lnTo>
                    <a:lnTo>
                      <a:pt x="5" y="6"/>
                    </a:lnTo>
                    <a:lnTo>
                      <a:pt x="6" y="8"/>
                    </a:lnTo>
                    <a:lnTo>
                      <a:pt x="6" y="10"/>
                    </a:lnTo>
                    <a:lnTo>
                      <a:pt x="6" y="10"/>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36" name="Freeform 6">
                <a:extLst>
                  <a:ext uri="{FF2B5EF4-FFF2-40B4-BE49-F238E27FC236}"/>
                </a:extLst>
              </p:cNvPr>
              <p:cNvSpPr>
                <a:spLocks/>
              </p:cNvSpPr>
              <p:nvPr/>
            </p:nvSpPr>
            <p:spPr bwMode="auto">
              <a:xfrm>
                <a:off x="4105275" y="5586413"/>
                <a:ext cx="1090613" cy="725488"/>
              </a:xfrm>
              <a:custGeom>
                <a:avLst/>
                <a:gdLst>
                  <a:gd name="T0" fmla="*/ 634 w 687"/>
                  <a:gd name="T1" fmla="*/ 430 h 457"/>
                  <a:gd name="T2" fmla="*/ 594 w 687"/>
                  <a:gd name="T3" fmla="*/ 454 h 457"/>
                  <a:gd name="T4" fmla="*/ 584 w 687"/>
                  <a:gd name="T5" fmla="*/ 457 h 457"/>
                  <a:gd name="T6" fmla="*/ 558 w 687"/>
                  <a:gd name="T7" fmla="*/ 454 h 457"/>
                  <a:gd name="T8" fmla="*/ 520 w 687"/>
                  <a:gd name="T9" fmla="*/ 402 h 457"/>
                  <a:gd name="T10" fmla="*/ 449 w 687"/>
                  <a:gd name="T11" fmla="*/ 407 h 457"/>
                  <a:gd name="T12" fmla="*/ 335 w 687"/>
                  <a:gd name="T13" fmla="*/ 396 h 457"/>
                  <a:gd name="T14" fmla="*/ 292 w 687"/>
                  <a:gd name="T15" fmla="*/ 389 h 457"/>
                  <a:gd name="T16" fmla="*/ 256 w 687"/>
                  <a:gd name="T17" fmla="*/ 371 h 457"/>
                  <a:gd name="T18" fmla="*/ 169 w 687"/>
                  <a:gd name="T19" fmla="*/ 371 h 457"/>
                  <a:gd name="T20" fmla="*/ 155 w 687"/>
                  <a:gd name="T21" fmla="*/ 375 h 457"/>
                  <a:gd name="T22" fmla="*/ 139 w 687"/>
                  <a:gd name="T23" fmla="*/ 374 h 457"/>
                  <a:gd name="T24" fmla="*/ 112 w 687"/>
                  <a:gd name="T25" fmla="*/ 374 h 457"/>
                  <a:gd name="T26" fmla="*/ 96 w 687"/>
                  <a:gd name="T27" fmla="*/ 378 h 457"/>
                  <a:gd name="T28" fmla="*/ 86 w 687"/>
                  <a:gd name="T29" fmla="*/ 375 h 457"/>
                  <a:gd name="T30" fmla="*/ 80 w 687"/>
                  <a:gd name="T31" fmla="*/ 382 h 457"/>
                  <a:gd name="T32" fmla="*/ 75 w 687"/>
                  <a:gd name="T33" fmla="*/ 386 h 457"/>
                  <a:gd name="T34" fmla="*/ 64 w 687"/>
                  <a:gd name="T35" fmla="*/ 382 h 457"/>
                  <a:gd name="T36" fmla="*/ 57 w 687"/>
                  <a:gd name="T37" fmla="*/ 383 h 457"/>
                  <a:gd name="T38" fmla="*/ 53 w 687"/>
                  <a:gd name="T39" fmla="*/ 390 h 457"/>
                  <a:gd name="T40" fmla="*/ 46 w 687"/>
                  <a:gd name="T41" fmla="*/ 394 h 457"/>
                  <a:gd name="T42" fmla="*/ 43 w 687"/>
                  <a:gd name="T43" fmla="*/ 392 h 457"/>
                  <a:gd name="T44" fmla="*/ 42 w 687"/>
                  <a:gd name="T45" fmla="*/ 387 h 457"/>
                  <a:gd name="T46" fmla="*/ 42 w 687"/>
                  <a:gd name="T47" fmla="*/ 384 h 457"/>
                  <a:gd name="T48" fmla="*/ 34 w 687"/>
                  <a:gd name="T49" fmla="*/ 386 h 457"/>
                  <a:gd name="T50" fmla="*/ 22 w 687"/>
                  <a:gd name="T51" fmla="*/ 386 h 457"/>
                  <a:gd name="T52" fmla="*/ 16 w 687"/>
                  <a:gd name="T53" fmla="*/ 385 h 457"/>
                  <a:gd name="T54" fmla="*/ 0 w 687"/>
                  <a:gd name="T55" fmla="*/ 369 h 457"/>
                  <a:gd name="T56" fmla="*/ 4 w 687"/>
                  <a:gd name="T57" fmla="*/ 346 h 457"/>
                  <a:gd name="T58" fmla="*/ 1 w 687"/>
                  <a:gd name="T59" fmla="*/ 326 h 457"/>
                  <a:gd name="T60" fmla="*/ 1 w 687"/>
                  <a:gd name="T61" fmla="*/ 317 h 457"/>
                  <a:gd name="T62" fmla="*/ 6 w 687"/>
                  <a:gd name="T63" fmla="*/ 271 h 457"/>
                  <a:gd name="T64" fmla="*/ 4 w 687"/>
                  <a:gd name="T65" fmla="*/ 256 h 457"/>
                  <a:gd name="T66" fmla="*/ 0 w 687"/>
                  <a:gd name="T67" fmla="*/ 241 h 457"/>
                  <a:gd name="T68" fmla="*/ 2 w 687"/>
                  <a:gd name="T69" fmla="*/ 231 h 457"/>
                  <a:gd name="T70" fmla="*/ 9 w 687"/>
                  <a:gd name="T71" fmla="*/ 219 h 457"/>
                  <a:gd name="T72" fmla="*/ 55 w 687"/>
                  <a:gd name="T73" fmla="*/ 175 h 457"/>
                  <a:gd name="T74" fmla="*/ 63 w 687"/>
                  <a:gd name="T75" fmla="*/ 166 h 457"/>
                  <a:gd name="T76" fmla="*/ 69 w 687"/>
                  <a:gd name="T77" fmla="*/ 153 h 457"/>
                  <a:gd name="T78" fmla="*/ 74 w 687"/>
                  <a:gd name="T79" fmla="*/ 145 h 457"/>
                  <a:gd name="T80" fmla="*/ 82 w 687"/>
                  <a:gd name="T81" fmla="*/ 140 h 457"/>
                  <a:gd name="T82" fmla="*/ 101 w 687"/>
                  <a:gd name="T83" fmla="*/ 135 h 457"/>
                  <a:gd name="T84" fmla="*/ 117 w 687"/>
                  <a:gd name="T85" fmla="*/ 126 h 457"/>
                  <a:gd name="T86" fmla="*/ 122 w 687"/>
                  <a:gd name="T87" fmla="*/ 120 h 457"/>
                  <a:gd name="T88" fmla="*/ 125 w 687"/>
                  <a:gd name="T89" fmla="*/ 112 h 457"/>
                  <a:gd name="T90" fmla="*/ 127 w 687"/>
                  <a:gd name="T91" fmla="*/ 100 h 457"/>
                  <a:gd name="T92" fmla="*/ 126 w 687"/>
                  <a:gd name="T93" fmla="*/ 86 h 457"/>
                  <a:gd name="T94" fmla="*/ 121 w 687"/>
                  <a:gd name="T95" fmla="*/ 60 h 457"/>
                  <a:gd name="T96" fmla="*/ 125 w 687"/>
                  <a:gd name="T97" fmla="*/ 48 h 457"/>
                  <a:gd name="T98" fmla="*/ 141 w 687"/>
                  <a:gd name="T99" fmla="*/ 39 h 457"/>
                  <a:gd name="T100" fmla="*/ 145 w 687"/>
                  <a:gd name="T101" fmla="*/ 35 h 457"/>
                  <a:gd name="T102" fmla="*/ 147 w 687"/>
                  <a:gd name="T103" fmla="*/ 25 h 457"/>
                  <a:gd name="T104" fmla="*/ 193 w 687"/>
                  <a:gd name="T105" fmla="*/ 31 h 457"/>
                  <a:gd name="T106" fmla="*/ 215 w 687"/>
                  <a:gd name="T107" fmla="*/ 41 h 457"/>
                  <a:gd name="T108" fmla="*/ 274 w 687"/>
                  <a:gd name="T109" fmla="*/ 48 h 457"/>
                  <a:gd name="T110" fmla="*/ 687 w 687"/>
                  <a:gd name="T111" fmla="*/ 0 h 457"/>
                  <a:gd name="T112" fmla="*/ 634 w 687"/>
                  <a:gd name="T113" fmla="*/ 43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87" h="457">
                    <a:moveTo>
                      <a:pt x="634" y="430"/>
                    </a:moveTo>
                    <a:lnTo>
                      <a:pt x="634" y="430"/>
                    </a:lnTo>
                    <a:lnTo>
                      <a:pt x="614" y="442"/>
                    </a:lnTo>
                    <a:lnTo>
                      <a:pt x="594" y="454"/>
                    </a:lnTo>
                    <a:lnTo>
                      <a:pt x="590" y="456"/>
                    </a:lnTo>
                    <a:lnTo>
                      <a:pt x="584" y="457"/>
                    </a:lnTo>
                    <a:lnTo>
                      <a:pt x="560" y="456"/>
                    </a:lnTo>
                    <a:lnTo>
                      <a:pt x="558" y="454"/>
                    </a:lnTo>
                    <a:lnTo>
                      <a:pt x="544" y="435"/>
                    </a:lnTo>
                    <a:lnTo>
                      <a:pt x="520" y="402"/>
                    </a:lnTo>
                    <a:lnTo>
                      <a:pt x="514" y="398"/>
                    </a:lnTo>
                    <a:lnTo>
                      <a:pt x="449" y="407"/>
                    </a:lnTo>
                    <a:lnTo>
                      <a:pt x="377" y="399"/>
                    </a:lnTo>
                    <a:lnTo>
                      <a:pt x="335" y="396"/>
                    </a:lnTo>
                    <a:lnTo>
                      <a:pt x="300" y="392"/>
                    </a:lnTo>
                    <a:lnTo>
                      <a:pt x="292" y="389"/>
                    </a:lnTo>
                    <a:lnTo>
                      <a:pt x="265" y="373"/>
                    </a:lnTo>
                    <a:lnTo>
                      <a:pt x="256" y="371"/>
                    </a:lnTo>
                    <a:lnTo>
                      <a:pt x="203" y="371"/>
                    </a:lnTo>
                    <a:lnTo>
                      <a:pt x="169" y="371"/>
                    </a:lnTo>
                    <a:lnTo>
                      <a:pt x="165" y="371"/>
                    </a:lnTo>
                    <a:lnTo>
                      <a:pt x="155" y="375"/>
                    </a:lnTo>
                    <a:lnTo>
                      <a:pt x="150" y="375"/>
                    </a:lnTo>
                    <a:lnTo>
                      <a:pt x="139" y="374"/>
                    </a:lnTo>
                    <a:lnTo>
                      <a:pt x="128" y="373"/>
                    </a:lnTo>
                    <a:lnTo>
                      <a:pt x="112" y="374"/>
                    </a:lnTo>
                    <a:lnTo>
                      <a:pt x="99" y="378"/>
                    </a:lnTo>
                    <a:lnTo>
                      <a:pt x="96" y="378"/>
                    </a:lnTo>
                    <a:lnTo>
                      <a:pt x="89" y="376"/>
                    </a:lnTo>
                    <a:lnTo>
                      <a:pt x="86" y="375"/>
                    </a:lnTo>
                    <a:lnTo>
                      <a:pt x="83" y="377"/>
                    </a:lnTo>
                    <a:lnTo>
                      <a:pt x="80" y="382"/>
                    </a:lnTo>
                    <a:lnTo>
                      <a:pt x="78" y="385"/>
                    </a:lnTo>
                    <a:lnTo>
                      <a:pt x="75" y="386"/>
                    </a:lnTo>
                    <a:lnTo>
                      <a:pt x="71" y="385"/>
                    </a:lnTo>
                    <a:lnTo>
                      <a:pt x="64" y="382"/>
                    </a:lnTo>
                    <a:lnTo>
                      <a:pt x="61" y="382"/>
                    </a:lnTo>
                    <a:lnTo>
                      <a:pt x="57" y="383"/>
                    </a:lnTo>
                    <a:lnTo>
                      <a:pt x="55" y="387"/>
                    </a:lnTo>
                    <a:lnTo>
                      <a:pt x="53" y="390"/>
                    </a:lnTo>
                    <a:lnTo>
                      <a:pt x="50" y="393"/>
                    </a:lnTo>
                    <a:lnTo>
                      <a:pt x="46" y="394"/>
                    </a:lnTo>
                    <a:lnTo>
                      <a:pt x="44" y="393"/>
                    </a:lnTo>
                    <a:lnTo>
                      <a:pt x="43" y="392"/>
                    </a:lnTo>
                    <a:lnTo>
                      <a:pt x="42" y="390"/>
                    </a:lnTo>
                    <a:lnTo>
                      <a:pt x="42" y="387"/>
                    </a:lnTo>
                    <a:lnTo>
                      <a:pt x="42" y="385"/>
                    </a:lnTo>
                    <a:lnTo>
                      <a:pt x="42" y="384"/>
                    </a:lnTo>
                    <a:lnTo>
                      <a:pt x="38" y="385"/>
                    </a:lnTo>
                    <a:lnTo>
                      <a:pt x="34" y="386"/>
                    </a:lnTo>
                    <a:lnTo>
                      <a:pt x="28" y="385"/>
                    </a:lnTo>
                    <a:lnTo>
                      <a:pt x="22" y="386"/>
                    </a:lnTo>
                    <a:lnTo>
                      <a:pt x="19" y="386"/>
                    </a:lnTo>
                    <a:lnTo>
                      <a:pt x="16" y="385"/>
                    </a:lnTo>
                    <a:lnTo>
                      <a:pt x="9" y="379"/>
                    </a:lnTo>
                    <a:lnTo>
                      <a:pt x="0" y="369"/>
                    </a:lnTo>
                    <a:lnTo>
                      <a:pt x="0" y="364"/>
                    </a:lnTo>
                    <a:lnTo>
                      <a:pt x="4" y="346"/>
                    </a:lnTo>
                    <a:lnTo>
                      <a:pt x="4" y="337"/>
                    </a:lnTo>
                    <a:lnTo>
                      <a:pt x="1" y="326"/>
                    </a:lnTo>
                    <a:lnTo>
                      <a:pt x="0" y="321"/>
                    </a:lnTo>
                    <a:lnTo>
                      <a:pt x="1" y="317"/>
                    </a:lnTo>
                    <a:lnTo>
                      <a:pt x="2" y="310"/>
                    </a:lnTo>
                    <a:lnTo>
                      <a:pt x="6" y="271"/>
                    </a:lnTo>
                    <a:lnTo>
                      <a:pt x="6" y="263"/>
                    </a:lnTo>
                    <a:lnTo>
                      <a:pt x="4" y="256"/>
                    </a:lnTo>
                    <a:lnTo>
                      <a:pt x="2" y="249"/>
                    </a:lnTo>
                    <a:lnTo>
                      <a:pt x="0" y="241"/>
                    </a:lnTo>
                    <a:lnTo>
                      <a:pt x="0" y="237"/>
                    </a:lnTo>
                    <a:lnTo>
                      <a:pt x="2" y="231"/>
                    </a:lnTo>
                    <a:lnTo>
                      <a:pt x="5" y="225"/>
                    </a:lnTo>
                    <a:lnTo>
                      <a:pt x="9" y="219"/>
                    </a:lnTo>
                    <a:lnTo>
                      <a:pt x="36" y="191"/>
                    </a:lnTo>
                    <a:lnTo>
                      <a:pt x="55" y="175"/>
                    </a:lnTo>
                    <a:lnTo>
                      <a:pt x="60" y="168"/>
                    </a:lnTo>
                    <a:lnTo>
                      <a:pt x="63" y="166"/>
                    </a:lnTo>
                    <a:lnTo>
                      <a:pt x="64" y="162"/>
                    </a:lnTo>
                    <a:lnTo>
                      <a:pt x="69" y="153"/>
                    </a:lnTo>
                    <a:lnTo>
                      <a:pt x="71" y="148"/>
                    </a:lnTo>
                    <a:lnTo>
                      <a:pt x="74" y="145"/>
                    </a:lnTo>
                    <a:lnTo>
                      <a:pt x="79" y="142"/>
                    </a:lnTo>
                    <a:lnTo>
                      <a:pt x="82" y="140"/>
                    </a:lnTo>
                    <a:lnTo>
                      <a:pt x="94" y="138"/>
                    </a:lnTo>
                    <a:lnTo>
                      <a:pt x="101" y="135"/>
                    </a:lnTo>
                    <a:lnTo>
                      <a:pt x="109" y="131"/>
                    </a:lnTo>
                    <a:lnTo>
                      <a:pt x="117" y="126"/>
                    </a:lnTo>
                    <a:lnTo>
                      <a:pt x="119" y="123"/>
                    </a:lnTo>
                    <a:lnTo>
                      <a:pt x="122" y="120"/>
                    </a:lnTo>
                    <a:lnTo>
                      <a:pt x="124" y="116"/>
                    </a:lnTo>
                    <a:lnTo>
                      <a:pt x="125" y="112"/>
                    </a:lnTo>
                    <a:lnTo>
                      <a:pt x="127" y="107"/>
                    </a:lnTo>
                    <a:lnTo>
                      <a:pt x="127" y="100"/>
                    </a:lnTo>
                    <a:lnTo>
                      <a:pt x="127" y="94"/>
                    </a:lnTo>
                    <a:lnTo>
                      <a:pt x="126" y="86"/>
                    </a:lnTo>
                    <a:lnTo>
                      <a:pt x="121" y="63"/>
                    </a:lnTo>
                    <a:lnTo>
                      <a:pt x="121" y="60"/>
                    </a:lnTo>
                    <a:lnTo>
                      <a:pt x="122" y="54"/>
                    </a:lnTo>
                    <a:lnTo>
                      <a:pt x="125" y="48"/>
                    </a:lnTo>
                    <a:lnTo>
                      <a:pt x="130" y="45"/>
                    </a:lnTo>
                    <a:lnTo>
                      <a:pt x="141" y="39"/>
                    </a:lnTo>
                    <a:lnTo>
                      <a:pt x="143" y="37"/>
                    </a:lnTo>
                    <a:lnTo>
                      <a:pt x="145" y="35"/>
                    </a:lnTo>
                    <a:lnTo>
                      <a:pt x="147" y="31"/>
                    </a:lnTo>
                    <a:lnTo>
                      <a:pt x="147" y="25"/>
                    </a:lnTo>
                    <a:lnTo>
                      <a:pt x="147" y="2"/>
                    </a:lnTo>
                    <a:lnTo>
                      <a:pt x="193" y="31"/>
                    </a:lnTo>
                    <a:lnTo>
                      <a:pt x="206" y="38"/>
                    </a:lnTo>
                    <a:lnTo>
                      <a:pt x="215" y="41"/>
                    </a:lnTo>
                    <a:lnTo>
                      <a:pt x="230" y="46"/>
                    </a:lnTo>
                    <a:lnTo>
                      <a:pt x="274" y="48"/>
                    </a:lnTo>
                    <a:lnTo>
                      <a:pt x="666" y="6"/>
                    </a:lnTo>
                    <a:lnTo>
                      <a:pt x="687" y="0"/>
                    </a:lnTo>
                    <a:lnTo>
                      <a:pt x="634" y="430"/>
                    </a:lnTo>
                    <a:lnTo>
                      <a:pt x="634" y="430"/>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337" name="Freeform 7">
                <a:extLst>
                  <a:ext uri="{FF2B5EF4-FFF2-40B4-BE49-F238E27FC236}"/>
                </a:extLst>
              </p:cNvPr>
              <p:cNvSpPr>
                <a:spLocks/>
              </p:cNvSpPr>
              <p:nvPr/>
            </p:nvSpPr>
            <p:spPr bwMode="auto">
              <a:xfrm>
                <a:off x="3663950" y="3259138"/>
                <a:ext cx="1679575" cy="2403474"/>
              </a:xfrm>
              <a:custGeom>
                <a:avLst/>
                <a:gdLst>
                  <a:gd name="T0" fmla="*/ 493 w 1058"/>
                  <a:gd name="T1" fmla="*/ 1507 h 1514"/>
                  <a:gd name="T2" fmla="*/ 357 w 1058"/>
                  <a:gd name="T3" fmla="*/ 1406 h 1514"/>
                  <a:gd name="T4" fmla="*/ 327 w 1058"/>
                  <a:gd name="T5" fmla="*/ 1353 h 1514"/>
                  <a:gd name="T6" fmla="*/ 349 w 1058"/>
                  <a:gd name="T7" fmla="*/ 1292 h 1514"/>
                  <a:gd name="T8" fmla="*/ 332 w 1058"/>
                  <a:gd name="T9" fmla="*/ 1262 h 1514"/>
                  <a:gd name="T10" fmla="*/ 239 w 1058"/>
                  <a:gd name="T11" fmla="*/ 1141 h 1514"/>
                  <a:gd name="T12" fmla="*/ 243 w 1058"/>
                  <a:gd name="T13" fmla="*/ 1101 h 1514"/>
                  <a:gd name="T14" fmla="*/ 246 w 1058"/>
                  <a:gd name="T15" fmla="*/ 1052 h 1514"/>
                  <a:gd name="T16" fmla="*/ 256 w 1058"/>
                  <a:gd name="T17" fmla="*/ 1031 h 1514"/>
                  <a:gd name="T18" fmla="*/ 252 w 1058"/>
                  <a:gd name="T19" fmla="*/ 932 h 1514"/>
                  <a:gd name="T20" fmla="*/ 220 w 1058"/>
                  <a:gd name="T21" fmla="*/ 922 h 1514"/>
                  <a:gd name="T22" fmla="*/ 181 w 1058"/>
                  <a:gd name="T23" fmla="*/ 926 h 1514"/>
                  <a:gd name="T24" fmla="*/ 169 w 1058"/>
                  <a:gd name="T25" fmla="*/ 903 h 1514"/>
                  <a:gd name="T26" fmla="*/ 170 w 1058"/>
                  <a:gd name="T27" fmla="*/ 866 h 1514"/>
                  <a:gd name="T28" fmla="*/ 113 w 1058"/>
                  <a:gd name="T29" fmla="*/ 855 h 1514"/>
                  <a:gd name="T30" fmla="*/ 71 w 1058"/>
                  <a:gd name="T31" fmla="*/ 849 h 1514"/>
                  <a:gd name="T32" fmla="*/ 36 w 1058"/>
                  <a:gd name="T33" fmla="*/ 763 h 1514"/>
                  <a:gd name="T34" fmla="*/ 15 w 1058"/>
                  <a:gd name="T35" fmla="*/ 711 h 1514"/>
                  <a:gd name="T36" fmla="*/ 1 w 1058"/>
                  <a:gd name="T37" fmla="*/ 697 h 1514"/>
                  <a:gd name="T38" fmla="*/ 6 w 1058"/>
                  <a:gd name="T39" fmla="*/ 605 h 1514"/>
                  <a:gd name="T40" fmla="*/ 4 w 1058"/>
                  <a:gd name="T41" fmla="*/ 583 h 1514"/>
                  <a:gd name="T42" fmla="*/ 19 w 1058"/>
                  <a:gd name="T43" fmla="*/ 560 h 1514"/>
                  <a:gd name="T44" fmla="*/ 36 w 1058"/>
                  <a:gd name="T45" fmla="*/ 520 h 1514"/>
                  <a:gd name="T46" fmla="*/ 71 w 1058"/>
                  <a:gd name="T47" fmla="*/ 523 h 1514"/>
                  <a:gd name="T48" fmla="*/ 152 w 1058"/>
                  <a:gd name="T49" fmla="*/ 529 h 1514"/>
                  <a:gd name="T50" fmla="*/ 184 w 1058"/>
                  <a:gd name="T51" fmla="*/ 530 h 1514"/>
                  <a:gd name="T52" fmla="*/ 192 w 1058"/>
                  <a:gd name="T53" fmla="*/ 506 h 1514"/>
                  <a:gd name="T54" fmla="*/ 189 w 1058"/>
                  <a:gd name="T55" fmla="*/ 481 h 1514"/>
                  <a:gd name="T56" fmla="*/ 285 w 1058"/>
                  <a:gd name="T57" fmla="*/ 425 h 1514"/>
                  <a:gd name="T58" fmla="*/ 320 w 1058"/>
                  <a:gd name="T59" fmla="*/ 399 h 1514"/>
                  <a:gd name="T60" fmla="*/ 339 w 1058"/>
                  <a:gd name="T61" fmla="*/ 370 h 1514"/>
                  <a:gd name="T62" fmla="*/ 360 w 1058"/>
                  <a:gd name="T63" fmla="*/ 365 h 1514"/>
                  <a:gd name="T64" fmla="*/ 458 w 1058"/>
                  <a:gd name="T65" fmla="*/ 366 h 1514"/>
                  <a:gd name="T66" fmla="*/ 462 w 1058"/>
                  <a:gd name="T67" fmla="*/ 345 h 1514"/>
                  <a:gd name="T68" fmla="*/ 450 w 1058"/>
                  <a:gd name="T69" fmla="*/ 309 h 1514"/>
                  <a:gd name="T70" fmla="*/ 439 w 1058"/>
                  <a:gd name="T71" fmla="*/ 271 h 1514"/>
                  <a:gd name="T72" fmla="*/ 403 w 1058"/>
                  <a:gd name="T73" fmla="*/ 219 h 1514"/>
                  <a:gd name="T74" fmla="*/ 403 w 1058"/>
                  <a:gd name="T75" fmla="*/ 171 h 1514"/>
                  <a:gd name="T76" fmla="*/ 421 w 1058"/>
                  <a:gd name="T77" fmla="*/ 157 h 1514"/>
                  <a:gd name="T78" fmla="*/ 452 w 1058"/>
                  <a:gd name="T79" fmla="*/ 122 h 1514"/>
                  <a:gd name="T80" fmla="*/ 476 w 1058"/>
                  <a:gd name="T81" fmla="*/ 110 h 1514"/>
                  <a:gd name="T82" fmla="*/ 479 w 1058"/>
                  <a:gd name="T83" fmla="*/ 94 h 1514"/>
                  <a:gd name="T84" fmla="*/ 469 w 1058"/>
                  <a:gd name="T85" fmla="*/ 74 h 1514"/>
                  <a:gd name="T86" fmla="*/ 440 w 1058"/>
                  <a:gd name="T87" fmla="*/ 50 h 1514"/>
                  <a:gd name="T88" fmla="*/ 446 w 1058"/>
                  <a:gd name="T89" fmla="*/ 27 h 1514"/>
                  <a:gd name="T90" fmla="*/ 472 w 1058"/>
                  <a:gd name="T91" fmla="*/ 3 h 1514"/>
                  <a:gd name="T92" fmla="*/ 490 w 1058"/>
                  <a:gd name="T93" fmla="*/ 14 h 1514"/>
                  <a:gd name="T94" fmla="*/ 520 w 1058"/>
                  <a:gd name="T95" fmla="*/ 12 h 1514"/>
                  <a:gd name="T96" fmla="*/ 539 w 1058"/>
                  <a:gd name="T97" fmla="*/ 48 h 1514"/>
                  <a:gd name="T98" fmla="*/ 614 w 1058"/>
                  <a:gd name="T99" fmla="*/ 88 h 1514"/>
                  <a:gd name="T100" fmla="*/ 651 w 1058"/>
                  <a:gd name="T101" fmla="*/ 122 h 1514"/>
                  <a:gd name="T102" fmla="*/ 704 w 1058"/>
                  <a:gd name="T103" fmla="*/ 132 h 1514"/>
                  <a:gd name="T104" fmla="*/ 771 w 1058"/>
                  <a:gd name="T105" fmla="*/ 173 h 1514"/>
                  <a:gd name="T106" fmla="*/ 812 w 1058"/>
                  <a:gd name="T107" fmla="*/ 172 h 1514"/>
                  <a:gd name="T108" fmla="*/ 854 w 1058"/>
                  <a:gd name="T109" fmla="*/ 214 h 1514"/>
                  <a:gd name="T110" fmla="*/ 916 w 1058"/>
                  <a:gd name="T111" fmla="*/ 246 h 1514"/>
                  <a:gd name="T112" fmla="*/ 924 w 1058"/>
                  <a:gd name="T113" fmla="*/ 515 h 1514"/>
                  <a:gd name="T114" fmla="*/ 1038 w 1058"/>
                  <a:gd name="T115" fmla="*/ 617 h 1514"/>
                  <a:gd name="T116" fmla="*/ 1058 w 1058"/>
                  <a:gd name="T117" fmla="*/ 721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8" h="1514">
                    <a:moveTo>
                      <a:pt x="965" y="1466"/>
                    </a:moveTo>
                    <a:lnTo>
                      <a:pt x="944" y="1472"/>
                    </a:lnTo>
                    <a:lnTo>
                      <a:pt x="552" y="1514"/>
                    </a:lnTo>
                    <a:lnTo>
                      <a:pt x="508" y="1512"/>
                    </a:lnTo>
                    <a:lnTo>
                      <a:pt x="493" y="1507"/>
                    </a:lnTo>
                    <a:lnTo>
                      <a:pt x="484" y="1504"/>
                    </a:lnTo>
                    <a:lnTo>
                      <a:pt x="471" y="1497"/>
                    </a:lnTo>
                    <a:lnTo>
                      <a:pt x="425" y="1468"/>
                    </a:lnTo>
                    <a:lnTo>
                      <a:pt x="422" y="1467"/>
                    </a:lnTo>
                    <a:lnTo>
                      <a:pt x="357" y="1406"/>
                    </a:lnTo>
                    <a:lnTo>
                      <a:pt x="340" y="1378"/>
                    </a:lnTo>
                    <a:lnTo>
                      <a:pt x="331" y="1367"/>
                    </a:lnTo>
                    <a:lnTo>
                      <a:pt x="327" y="1363"/>
                    </a:lnTo>
                    <a:lnTo>
                      <a:pt x="327" y="1357"/>
                    </a:lnTo>
                    <a:lnTo>
                      <a:pt x="327" y="1353"/>
                    </a:lnTo>
                    <a:lnTo>
                      <a:pt x="334" y="1322"/>
                    </a:lnTo>
                    <a:lnTo>
                      <a:pt x="336" y="1315"/>
                    </a:lnTo>
                    <a:lnTo>
                      <a:pt x="347" y="1299"/>
                    </a:lnTo>
                    <a:lnTo>
                      <a:pt x="348" y="1297"/>
                    </a:lnTo>
                    <a:lnTo>
                      <a:pt x="349" y="1292"/>
                    </a:lnTo>
                    <a:lnTo>
                      <a:pt x="350" y="1289"/>
                    </a:lnTo>
                    <a:lnTo>
                      <a:pt x="349" y="1285"/>
                    </a:lnTo>
                    <a:lnTo>
                      <a:pt x="348" y="1282"/>
                    </a:lnTo>
                    <a:lnTo>
                      <a:pt x="346" y="1277"/>
                    </a:lnTo>
                    <a:lnTo>
                      <a:pt x="332" y="1262"/>
                    </a:lnTo>
                    <a:lnTo>
                      <a:pt x="322" y="1248"/>
                    </a:lnTo>
                    <a:lnTo>
                      <a:pt x="317" y="1239"/>
                    </a:lnTo>
                    <a:lnTo>
                      <a:pt x="307" y="1229"/>
                    </a:lnTo>
                    <a:lnTo>
                      <a:pt x="283" y="1207"/>
                    </a:lnTo>
                    <a:lnTo>
                      <a:pt x="239" y="1141"/>
                    </a:lnTo>
                    <a:lnTo>
                      <a:pt x="237" y="1138"/>
                    </a:lnTo>
                    <a:lnTo>
                      <a:pt x="237" y="1134"/>
                    </a:lnTo>
                    <a:lnTo>
                      <a:pt x="236" y="1130"/>
                    </a:lnTo>
                    <a:lnTo>
                      <a:pt x="237" y="1126"/>
                    </a:lnTo>
                    <a:lnTo>
                      <a:pt x="243" y="1101"/>
                    </a:lnTo>
                    <a:lnTo>
                      <a:pt x="245" y="1093"/>
                    </a:lnTo>
                    <a:lnTo>
                      <a:pt x="242" y="1063"/>
                    </a:lnTo>
                    <a:lnTo>
                      <a:pt x="243" y="1059"/>
                    </a:lnTo>
                    <a:lnTo>
                      <a:pt x="244" y="1055"/>
                    </a:lnTo>
                    <a:lnTo>
                      <a:pt x="246" y="1052"/>
                    </a:lnTo>
                    <a:lnTo>
                      <a:pt x="251" y="1045"/>
                    </a:lnTo>
                    <a:lnTo>
                      <a:pt x="253" y="1041"/>
                    </a:lnTo>
                    <a:lnTo>
                      <a:pt x="255" y="1038"/>
                    </a:lnTo>
                    <a:lnTo>
                      <a:pt x="256" y="1034"/>
                    </a:lnTo>
                    <a:lnTo>
                      <a:pt x="256" y="1031"/>
                    </a:lnTo>
                    <a:lnTo>
                      <a:pt x="256" y="1027"/>
                    </a:lnTo>
                    <a:lnTo>
                      <a:pt x="248" y="966"/>
                    </a:lnTo>
                    <a:lnTo>
                      <a:pt x="248" y="959"/>
                    </a:lnTo>
                    <a:lnTo>
                      <a:pt x="252" y="933"/>
                    </a:lnTo>
                    <a:lnTo>
                      <a:pt x="252" y="932"/>
                    </a:lnTo>
                    <a:lnTo>
                      <a:pt x="250" y="928"/>
                    </a:lnTo>
                    <a:lnTo>
                      <a:pt x="246" y="927"/>
                    </a:lnTo>
                    <a:lnTo>
                      <a:pt x="243" y="926"/>
                    </a:lnTo>
                    <a:lnTo>
                      <a:pt x="223" y="922"/>
                    </a:lnTo>
                    <a:lnTo>
                      <a:pt x="220" y="922"/>
                    </a:lnTo>
                    <a:lnTo>
                      <a:pt x="216" y="923"/>
                    </a:lnTo>
                    <a:lnTo>
                      <a:pt x="196" y="928"/>
                    </a:lnTo>
                    <a:lnTo>
                      <a:pt x="192" y="928"/>
                    </a:lnTo>
                    <a:lnTo>
                      <a:pt x="188" y="928"/>
                    </a:lnTo>
                    <a:lnTo>
                      <a:pt x="181" y="926"/>
                    </a:lnTo>
                    <a:lnTo>
                      <a:pt x="177" y="923"/>
                    </a:lnTo>
                    <a:lnTo>
                      <a:pt x="174" y="919"/>
                    </a:lnTo>
                    <a:lnTo>
                      <a:pt x="170" y="913"/>
                    </a:lnTo>
                    <a:lnTo>
                      <a:pt x="169" y="909"/>
                    </a:lnTo>
                    <a:lnTo>
                      <a:pt x="169" y="903"/>
                    </a:lnTo>
                    <a:lnTo>
                      <a:pt x="170" y="886"/>
                    </a:lnTo>
                    <a:lnTo>
                      <a:pt x="172" y="877"/>
                    </a:lnTo>
                    <a:lnTo>
                      <a:pt x="173" y="874"/>
                    </a:lnTo>
                    <a:lnTo>
                      <a:pt x="172" y="871"/>
                    </a:lnTo>
                    <a:lnTo>
                      <a:pt x="170" y="866"/>
                    </a:lnTo>
                    <a:lnTo>
                      <a:pt x="165" y="863"/>
                    </a:lnTo>
                    <a:lnTo>
                      <a:pt x="162" y="861"/>
                    </a:lnTo>
                    <a:lnTo>
                      <a:pt x="157" y="859"/>
                    </a:lnTo>
                    <a:lnTo>
                      <a:pt x="149" y="857"/>
                    </a:lnTo>
                    <a:lnTo>
                      <a:pt x="113" y="855"/>
                    </a:lnTo>
                    <a:lnTo>
                      <a:pt x="87" y="855"/>
                    </a:lnTo>
                    <a:lnTo>
                      <a:pt x="81" y="854"/>
                    </a:lnTo>
                    <a:lnTo>
                      <a:pt x="78" y="853"/>
                    </a:lnTo>
                    <a:lnTo>
                      <a:pt x="74" y="851"/>
                    </a:lnTo>
                    <a:lnTo>
                      <a:pt x="71" y="849"/>
                    </a:lnTo>
                    <a:lnTo>
                      <a:pt x="67" y="846"/>
                    </a:lnTo>
                    <a:lnTo>
                      <a:pt x="64" y="843"/>
                    </a:lnTo>
                    <a:lnTo>
                      <a:pt x="63" y="841"/>
                    </a:lnTo>
                    <a:lnTo>
                      <a:pt x="41" y="789"/>
                    </a:lnTo>
                    <a:lnTo>
                      <a:pt x="36" y="763"/>
                    </a:lnTo>
                    <a:lnTo>
                      <a:pt x="35" y="758"/>
                    </a:lnTo>
                    <a:lnTo>
                      <a:pt x="31" y="749"/>
                    </a:lnTo>
                    <a:lnTo>
                      <a:pt x="22" y="720"/>
                    </a:lnTo>
                    <a:lnTo>
                      <a:pt x="19" y="714"/>
                    </a:lnTo>
                    <a:lnTo>
                      <a:pt x="15" y="711"/>
                    </a:lnTo>
                    <a:lnTo>
                      <a:pt x="11" y="708"/>
                    </a:lnTo>
                    <a:lnTo>
                      <a:pt x="5" y="705"/>
                    </a:lnTo>
                    <a:lnTo>
                      <a:pt x="4" y="703"/>
                    </a:lnTo>
                    <a:lnTo>
                      <a:pt x="2" y="700"/>
                    </a:lnTo>
                    <a:lnTo>
                      <a:pt x="1" y="697"/>
                    </a:lnTo>
                    <a:lnTo>
                      <a:pt x="0" y="684"/>
                    </a:lnTo>
                    <a:lnTo>
                      <a:pt x="2" y="667"/>
                    </a:lnTo>
                    <a:lnTo>
                      <a:pt x="1" y="651"/>
                    </a:lnTo>
                    <a:lnTo>
                      <a:pt x="4" y="619"/>
                    </a:lnTo>
                    <a:lnTo>
                      <a:pt x="6" y="605"/>
                    </a:lnTo>
                    <a:lnTo>
                      <a:pt x="7" y="598"/>
                    </a:lnTo>
                    <a:lnTo>
                      <a:pt x="6" y="594"/>
                    </a:lnTo>
                    <a:lnTo>
                      <a:pt x="4" y="588"/>
                    </a:lnTo>
                    <a:lnTo>
                      <a:pt x="4" y="586"/>
                    </a:lnTo>
                    <a:lnTo>
                      <a:pt x="4" y="583"/>
                    </a:lnTo>
                    <a:lnTo>
                      <a:pt x="5" y="581"/>
                    </a:lnTo>
                    <a:lnTo>
                      <a:pt x="8" y="576"/>
                    </a:lnTo>
                    <a:lnTo>
                      <a:pt x="15" y="566"/>
                    </a:lnTo>
                    <a:lnTo>
                      <a:pt x="16" y="566"/>
                    </a:lnTo>
                    <a:lnTo>
                      <a:pt x="19" y="560"/>
                    </a:lnTo>
                    <a:lnTo>
                      <a:pt x="20" y="552"/>
                    </a:lnTo>
                    <a:lnTo>
                      <a:pt x="20" y="545"/>
                    </a:lnTo>
                    <a:lnTo>
                      <a:pt x="23" y="538"/>
                    </a:lnTo>
                    <a:lnTo>
                      <a:pt x="34" y="522"/>
                    </a:lnTo>
                    <a:lnTo>
                      <a:pt x="36" y="520"/>
                    </a:lnTo>
                    <a:lnTo>
                      <a:pt x="41" y="516"/>
                    </a:lnTo>
                    <a:lnTo>
                      <a:pt x="45" y="514"/>
                    </a:lnTo>
                    <a:lnTo>
                      <a:pt x="49" y="514"/>
                    </a:lnTo>
                    <a:lnTo>
                      <a:pt x="52" y="515"/>
                    </a:lnTo>
                    <a:lnTo>
                      <a:pt x="71" y="523"/>
                    </a:lnTo>
                    <a:lnTo>
                      <a:pt x="78" y="526"/>
                    </a:lnTo>
                    <a:lnTo>
                      <a:pt x="89" y="529"/>
                    </a:lnTo>
                    <a:lnTo>
                      <a:pt x="120" y="532"/>
                    </a:lnTo>
                    <a:lnTo>
                      <a:pt x="128" y="532"/>
                    </a:lnTo>
                    <a:lnTo>
                      <a:pt x="152" y="529"/>
                    </a:lnTo>
                    <a:lnTo>
                      <a:pt x="160" y="529"/>
                    </a:lnTo>
                    <a:lnTo>
                      <a:pt x="173" y="532"/>
                    </a:lnTo>
                    <a:lnTo>
                      <a:pt x="177" y="532"/>
                    </a:lnTo>
                    <a:lnTo>
                      <a:pt x="179" y="531"/>
                    </a:lnTo>
                    <a:lnTo>
                      <a:pt x="184" y="530"/>
                    </a:lnTo>
                    <a:lnTo>
                      <a:pt x="188" y="526"/>
                    </a:lnTo>
                    <a:lnTo>
                      <a:pt x="192" y="522"/>
                    </a:lnTo>
                    <a:lnTo>
                      <a:pt x="193" y="515"/>
                    </a:lnTo>
                    <a:lnTo>
                      <a:pt x="194" y="510"/>
                    </a:lnTo>
                    <a:lnTo>
                      <a:pt x="192" y="506"/>
                    </a:lnTo>
                    <a:lnTo>
                      <a:pt x="188" y="498"/>
                    </a:lnTo>
                    <a:lnTo>
                      <a:pt x="186" y="494"/>
                    </a:lnTo>
                    <a:lnTo>
                      <a:pt x="186" y="491"/>
                    </a:lnTo>
                    <a:lnTo>
                      <a:pt x="186" y="486"/>
                    </a:lnTo>
                    <a:lnTo>
                      <a:pt x="189" y="481"/>
                    </a:lnTo>
                    <a:lnTo>
                      <a:pt x="206" y="459"/>
                    </a:lnTo>
                    <a:lnTo>
                      <a:pt x="222" y="443"/>
                    </a:lnTo>
                    <a:lnTo>
                      <a:pt x="225" y="440"/>
                    </a:lnTo>
                    <a:lnTo>
                      <a:pt x="229" y="439"/>
                    </a:lnTo>
                    <a:lnTo>
                      <a:pt x="285" y="425"/>
                    </a:lnTo>
                    <a:lnTo>
                      <a:pt x="292" y="422"/>
                    </a:lnTo>
                    <a:lnTo>
                      <a:pt x="296" y="419"/>
                    </a:lnTo>
                    <a:lnTo>
                      <a:pt x="305" y="410"/>
                    </a:lnTo>
                    <a:lnTo>
                      <a:pt x="317" y="402"/>
                    </a:lnTo>
                    <a:lnTo>
                      <a:pt x="320" y="399"/>
                    </a:lnTo>
                    <a:lnTo>
                      <a:pt x="324" y="393"/>
                    </a:lnTo>
                    <a:lnTo>
                      <a:pt x="329" y="381"/>
                    </a:lnTo>
                    <a:lnTo>
                      <a:pt x="335" y="375"/>
                    </a:lnTo>
                    <a:lnTo>
                      <a:pt x="337" y="372"/>
                    </a:lnTo>
                    <a:lnTo>
                      <a:pt x="339" y="370"/>
                    </a:lnTo>
                    <a:lnTo>
                      <a:pt x="342" y="369"/>
                    </a:lnTo>
                    <a:lnTo>
                      <a:pt x="345" y="367"/>
                    </a:lnTo>
                    <a:lnTo>
                      <a:pt x="349" y="366"/>
                    </a:lnTo>
                    <a:lnTo>
                      <a:pt x="352" y="365"/>
                    </a:lnTo>
                    <a:lnTo>
                      <a:pt x="360" y="365"/>
                    </a:lnTo>
                    <a:lnTo>
                      <a:pt x="396" y="370"/>
                    </a:lnTo>
                    <a:lnTo>
                      <a:pt x="436" y="367"/>
                    </a:lnTo>
                    <a:lnTo>
                      <a:pt x="451" y="368"/>
                    </a:lnTo>
                    <a:lnTo>
                      <a:pt x="455" y="368"/>
                    </a:lnTo>
                    <a:lnTo>
                      <a:pt x="458" y="366"/>
                    </a:lnTo>
                    <a:lnTo>
                      <a:pt x="460" y="363"/>
                    </a:lnTo>
                    <a:lnTo>
                      <a:pt x="461" y="360"/>
                    </a:lnTo>
                    <a:lnTo>
                      <a:pt x="462" y="356"/>
                    </a:lnTo>
                    <a:lnTo>
                      <a:pt x="462" y="351"/>
                    </a:lnTo>
                    <a:lnTo>
                      <a:pt x="462" y="345"/>
                    </a:lnTo>
                    <a:lnTo>
                      <a:pt x="460" y="333"/>
                    </a:lnTo>
                    <a:lnTo>
                      <a:pt x="458" y="327"/>
                    </a:lnTo>
                    <a:lnTo>
                      <a:pt x="456" y="321"/>
                    </a:lnTo>
                    <a:lnTo>
                      <a:pt x="451" y="313"/>
                    </a:lnTo>
                    <a:lnTo>
                      <a:pt x="450" y="309"/>
                    </a:lnTo>
                    <a:lnTo>
                      <a:pt x="451" y="303"/>
                    </a:lnTo>
                    <a:lnTo>
                      <a:pt x="453" y="294"/>
                    </a:lnTo>
                    <a:lnTo>
                      <a:pt x="452" y="288"/>
                    </a:lnTo>
                    <a:lnTo>
                      <a:pt x="452" y="288"/>
                    </a:lnTo>
                    <a:lnTo>
                      <a:pt x="439" y="271"/>
                    </a:lnTo>
                    <a:lnTo>
                      <a:pt x="425" y="246"/>
                    </a:lnTo>
                    <a:lnTo>
                      <a:pt x="420" y="241"/>
                    </a:lnTo>
                    <a:lnTo>
                      <a:pt x="407" y="227"/>
                    </a:lnTo>
                    <a:lnTo>
                      <a:pt x="404" y="224"/>
                    </a:lnTo>
                    <a:lnTo>
                      <a:pt x="403" y="219"/>
                    </a:lnTo>
                    <a:lnTo>
                      <a:pt x="402" y="216"/>
                    </a:lnTo>
                    <a:lnTo>
                      <a:pt x="402" y="212"/>
                    </a:lnTo>
                    <a:lnTo>
                      <a:pt x="405" y="187"/>
                    </a:lnTo>
                    <a:lnTo>
                      <a:pt x="405" y="180"/>
                    </a:lnTo>
                    <a:lnTo>
                      <a:pt x="403" y="171"/>
                    </a:lnTo>
                    <a:lnTo>
                      <a:pt x="404" y="166"/>
                    </a:lnTo>
                    <a:lnTo>
                      <a:pt x="407" y="163"/>
                    </a:lnTo>
                    <a:lnTo>
                      <a:pt x="410" y="160"/>
                    </a:lnTo>
                    <a:lnTo>
                      <a:pt x="415" y="159"/>
                    </a:lnTo>
                    <a:lnTo>
                      <a:pt x="421" y="157"/>
                    </a:lnTo>
                    <a:lnTo>
                      <a:pt x="424" y="157"/>
                    </a:lnTo>
                    <a:lnTo>
                      <a:pt x="426" y="154"/>
                    </a:lnTo>
                    <a:lnTo>
                      <a:pt x="439" y="136"/>
                    </a:lnTo>
                    <a:lnTo>
                      <a:pt x="445" y="129"/>
                    </a:lnTo>
                    <a:lnTo>
                      <a:pt x="452" y="122"/>
                    </a:lnTo>
                    <a:lnTo>
                      <a:pt x="456" y="119"/>
                    </a:lnTo>
                    <a:lnTo>
                      <a:pt x="461" y="117"/>
                    </a:lnTo>
                    <a:lnTo>
                      <a:pt x="469" y="113"/>
                    </a:lnTo>
                    <a:lnTo>
                      <a:pt x="472" y="111"/>
                    </a:lnTo>
                    <a:lnTo>
                      <a:pt x="476" y="110"/>
                    </a:lnTo>
                    <a:lnTo>
                      <a:pt x="478" y="106"/>
                    </a:lnTo>
                    <a:lnTo>
                      <a:pt x="479" y="103"/>
                    </a:lnTo>
                    <a:lnTo>
                      <a:pt x="480" y="101"/>
                    </a:lnTo>
                    <a:lnTo>
                      <a:pt x="480" y="97"/>
                    </a:lnTo>
                    <a:lnTo>
                      <a:pt x="479" y="94"/>
                    </a:lnTo>
                    <a:lnTo>
                      <a:pt x="478" y="90"/>
                    </a:lnTo>
                    <a:lnTo>
                      <a:pt x="478" y="86"/>
                    </a:lnTo>
                    <a:lnTo>
                      <a:pt x="475" y="82"/>
                    </a:lnTo>
                    <a:lnTo>
                      <a:pt x="472" y="78"/>
                    </a:lnTo>
                    <a:lnTo>
                      <a:pt x="469" y="74"/>
                    </a:lnTo>
                    <a:lnTo>
                      <a:pt x="462" y="69"/>
                    </a:lnTo>
                    <a:lnTo>
                      <a:pt x="455" y="64"/>
                    </a:lnTo>
                    <a:lnTo>
                      <a:pt x="444" y="58"/>
                    </a:lnTo>
                    <a:lnTo>
                      <a:pt x="442" y="57"/>
                    </a:lnTo>
                    <a:lnTo>
                      <a:pt x="440" y="50"/>
                    </a:lnTo>
                    <a:lnTo>
                      <a:pt x="440" y="46"/>
                    </a:lnTo>
                    <a:lnTo>
                      <a:pt x="440" y="42"/>
                    </a:lnTo>
                    <a:lnTo>
                      <a:pt x="441" y="38"/>
                    </a:lnTo>
                    <a:lnTo>
                      <a:pt x="443" y="32"/>
                    </a:lnTo>
                    <a:lnTo>
                      <a:pt x="446" y="27"/>
                    </a:lnTo>
                    <a:lnTo>
                      <a:pt x="450" y="19"/>
                    </a:lnTo>
                    <a:lnTo>
                      <a:pt x="455" y="13"/>
                    </a:lnTo>
                    <a:lnTo>
                      <a:pt x="460" y="8"/>
                    </a:lnTo>
                    <a:lnTo>
                      <a:pt x="463" y="6"/>
                    </a:lnTo>
                    <a:lnTo>
                      <a:pt x="472" y="3"/>
                    </a:lnTo>
                    <a:lnTo>
                      <a:pt x="476" y="5"/>
                    </a:lnTo>
                    <a:lnTo>
                      <a:pt x="479" y="10"/>
                    </a:lnTo>
                    <a:lnTo>
                      <a:pt x="482" y="12"/>
                    </a:lnTo>
                    <a:lnTo>
                      <a:pt x="485" y="14"/>
                    </a:lnTo>
                    <a:lnTo>
                      <a:pt x="490" y="14"/>
                    </a:lnTo>
                    <a:lnTo>
                      <a:pt x="493" y="12"/>
                    </a:lnTo>
                    <a:lnTo>
                      <a:pt x="497" y="10"/>
                    </a:lnTo>
                    <a:lnTo>
                      <a:pt x="504" y="0"/>
                    </a:lnTo>
                    <a:lnTo>
                      <a:pt x="506" y="1"/>
                    </a:lnTo>
                    <a:lnTo>
                      <a:pt x="520" y="12"/>
                    </a:lnTo>
                    <a:lnTo>
                      <a:pt x="527" y="19"/>
                    </a:lnTo>
                    <a:lnTo>
                      <a:pt x="531" y="22"/>
                    </a:lnTo>
                    <a:lnTo>
                      <a:pt x="532" y="27"/>
                    </a:lnTo>
                    <a:lnTo>
                      <a:pt x="537" y="43"/>
                    </a:lnTo>
                    <a:lnTo>
                      <a:pt x="539" y="48"/>
                    </a:lnTo>
                    <a:lnTo>
                      <a:pt x="543" y="53"/>
                    </a:lnTo>
                    <a:lnTo>
                      <a:pt x="546" y="57"/>
                    </a:lnTo>
                    <a:lnTo>
                      <a:pt x="594" y="85"/>
                    </a:lnTo>
                    <a:lnTo>
                      <a:pt x="602" y="87"/>
                    </a:lnTo>
                    <a:lnTo>
                      <a:pt x="614" y="88"/>
                    </a:lnTo>
                    <a:lnTo>
                      <a:pt x="618" y="88"/>
                    </a:lnTo>
                    <a:lnTo>
                      <a:pt x="621" y="90"/>
                    </a:lnTo>
                    <a:lnTo>
                      <a:pt x="625" y="94"/>
                    </a:lnTo>
                    <a:lnTo>
                      <a:pt x="636" y="106"/>
                    </a:lnTo>
                    <a:lnTo>
                      <a:pt x="651" y="122"/>
                    </a:lnTo>
                    <a:lnTo>
                      <a:pt x="659" y="126"/>
                    </a:lnTo>
                    <a:lnTo>
                      <a:pt x="662" y="128"/>
                    </a:lnTo>
                    <a:lnTo>
                      <a:pt x="669" y="130"/>
                    </a:lnTo>
                    <a:lnTo>
                      <a:pt x="696" y="131"/>
                    </a:lnTo>
                    <a:lnTo>
                      <a:pt x="704" y="132"/>
                    </a:lnTo>
                    <a:lnTo>
                      <a:pt x="711" y="134"/>
                    </a:lnTo>
                    <a:lnTo>
                      <a:pt x="722" y="141"/>
                    </a:lnTo>
                    <a:lnTo>
                      <a:pt x="764" y="171"/>
                    </a:lnTo>
                    <a:lnTo>
                      <a:pt x="767" y="172"/>
                    </a:lnTo>
                    <a:lnTo>
                      <a:pt x="771" y="173"/>
                    </a:lnTo>
                    <a:lnTo>
                      <a:pt x="775" y="174"/>
                    </a:lnTo>
                    <a:lnTo>
                      <a:pt x="779" y="174"/>
                    </a:lnTo>
                    <a:lnTo>
                      <a:pt x="804" y="170"/>
                    </a:lnTo>
                    <a:lnTo>
                      <a:pt x="808" y="170"/>
                    </a:lnTo>
                    <a:lnTo>
                      <a:pt x="812" y="172"/>
                    </a:lnTo>
                    <a:lnTo>
                      <a:pt x="816" y="173"/>
                    </a:lnTo>
                    <a:lnTo>
                      <a:pt x="843" y="201"/>
                    </a:lnTo>
                    <a:lnTo>
                      <a:pt x="847" y="208"/>
                    </a:lnTo>
                    <a:lnTo>
                      <a:pt x="851" y="211"/>
                    </a:lnTo>
                    <a:lnTo>
                      <a:pt x="854" y="214"/>
                    </a:lnTo>
                    <a:lnTo>
                      <a:pt x="908" y="235"/>
                    </a:lnTo>
                    <a:lnTo>
                      <a:pt x="910" y="237"/>
                    </a:lnTo>
                    <a:lnTo>
                      <a:pt x="912" y="239"/>
                    </a:lnTo>
                    <a:lnTo>
                      <a:pt x="914" y="242"/>
                    </a:lnTo>
                    <a:lnTo>
                      <a:pt x="916" y="246"/>
                    </a:lnTo>
                    <a:lnTo>
                      <a:pt x="917" y="249"/>
                    </a:lnTo>
                    <a:lnTo>
                      <a:pt x="918" y="256"/>
                    </a:lnTo>
                    <a:lnTo>
                      <a:pt x="922" y="505"/>
                    </a:lnTo>
                    <a:lnTo>
                      <a:pt x="923" y="513"/>
                    </a:lnTo>
                    <a:lnTo>
                      <a:pt x="924" y="515"/>
                    </a:lnTo>
                    <a:lnTo>
                      <a:pt x="927" y="520"/>
                    </a:lnTo>
                    <a:lnTo>
                      <a:pt x="930" y="522"/>
                    </a:lnTo>
                    <a:lnTo>
                      <a:pt x="990" y="566"/>
                    </a:lnTo>
                    <a:lnTo>
                      <a:pt x="1031" y="608"/>
                    </a:lnTo>
                    <a:lnTo>
                      <a:pt x="1038" y="617"/>
                    </a:lnTo>
                    <a:lnTo>
                      <a:pt x="1045" y="629"/>
                    </a:lnTo>
                    <a:lnTo>
                      <a:pt x="1052" y="645"/>
                    </a:lnTo>
                    <a:lnTo>
                      <a:pt x="1057" y="658"/>
                    </a:lnTo>
                    <a:lnTo>
                      <a:pt x="1058" y="681"/>
                    </a:lnTo>
                    <a:lnTo>
                      <a:pt x="1058" y="721"/>
                    </a:lnTo>
                    <a:lnTo>
                      <a:pt x="1010" y="1113"/>
                    </a:lnTo>
                    <a:lnTo>
                      <a:pt x="965" y="1466"/>
                    </a:lnTo>
                    <a:lnTo>
                      <a:pt x="965" y="1466"/>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338" name="Freeform 8">
                <a:extLst>
                  <a:ext uri="{FF2B5EF4-FFF2-40B4-BE49-F238E27FC236}"/>
                </a:extLst>
              </p:cNvPr>
              <p:cNvSpPr>
                <a:spLocks noEditPoints="1"/>
              </p:cNvSpPr>
              <p:nvPr/>
            </p:nvSpPr>
            <p:spPr bwMode="auto">
              <a:xfrm>
                <a:off x="4449764" y="2786065"/>
                <a:ext cx="2841624" cy="3482975"/>
              </a:xfrm>
              <a:custGeom>
                <a:avLst/>
                <a:gdLst>
                  <a:gd name="T0" fmla="*/ 774 w 1790"/>
                  <a:gd name="T1" fmla="*/ 342 h 2194"/>
                  <a:gd name="T2" fmla="*/ 764 w 1790"/>
                  <a:gd name="T3" fmla="*/ 335 h 2194"/>
                  <a:gd name="T4" fmla="*/ 774 w 1790"/>
                  <a:gd name="T5" fmla="*/ 333 h 2194"/>
                  <a:gd name="T6" fmla="*/ 536 w 1790"/>
                  <a:gd name="T7" fmla="*/ 906 h 2194"/>
                  <a:gd name="T8" fmla="*/ 417 w 1790"/>
                  <a:gd name="T9" fmla="*/ 537 h 2194"/>
                  <a:gd name="T10" fmla="*/ 284 w 1790"/>
                  <a:gd name="T11" fmla="*/ 472 h 2194"/>
                  <a:gd name="T12" fmla="*/ 164 w 1790"/>
                  <a:gd name="T13" fmla="*/ 424 h 2194"/>
                  <a:gd name="T14" fmla="*/ 44 w 1790"/>
                  <a:gd name="T15" fmla="*/ 346 h 2194"/>
                  <a:gd name="T16" fmla="*/ 0 w 1790"/>
                  <a:gd name="T17" fmla="*/ 281 h 2194"/>
                  <a:gd name="T18" fmla="*/ 145 w 1790"/>
                  <a:gd name="T19" fmla="*/ 50 h 2194"/>
                  <a:gd name="T20" fmla="*/ 438 w 1790"/>
                  <a:gd name="T21" fmla="*/ 67 h 2194"/>
                  <a:gd name="T22" fmla="*/ 589 w 1790"/>
                  <a:gd name="T23" fmla="*/ 111 h 2194"/>
                  <a:gd name="T24" fmla="*/ 597 w 1790"/>
                  <a:gd name="T25" fmla="*/ 135 h 2194"/>
                  <a:gd name="T26" fmla="*/ 617 w 1790"/>
                  <a:gd name="T27" fmla="*/ 171 h 2194"/>
                  <a:gd name="T28" fmla="*/ 632 w 1790"/>
                  <a:gd name="T29" fmla="*/ 205 h 2194"/>
                  <a:gd name="T30" fmla="*/ 637 w 1790"/>
                  <a:gd name="T31" fmla="*/ 214 h 2194"/>
                  <a:gd name="T32" fmla="*/ 659 w 1790"/>
                  <a:gd name="T33" fmla="*/ 249 h 2194"/>
                  <a:gd name="T34" fmla="*/ 655 w 1790"/>
                  <a:gd name="T35" fmla="*/ 249 h 2194"/>
                  <a:gd name="T36" fmla="*/ 644 w 1790"/>
                  <a:gd name="T37" fmla="*/ 257 h 2194"/>
                  <a:gd name="T38" fmla="*/ 653 w 1790"/>
                  <a:gd name="T39" fmla="*/ 267 h 2194"/>
                  <a:gd name="T40" fmla="*/ 659 w 1790"/>
                  <a:gd name="T41" fmla="*/ 274 h 2194"/>
                  <a:gd name="T42" fmla="*/ 660 w 1790"/>
                  <a:gd name="T43" fmla="*/ 282 h 2194"/>
                  <a:gd name="T44" fmla="*/ 664 w 1790"/>
                  <a:gd name="T45" fmla="*/ 286 h 2194"/>
                  <a:gd name="T46" fmla="*/ 692 w 1790"/>
                  <a:gd name="T47" fmla="*/ 296 h 2194"/>
                  <a:gd name="T48" fmla="*/ 717 w 1790"/>
                  <a:gd name="T49" fmla="*/ 295 h 2194"/>
                  <a:gd name="T50" fmla="*/ 729 w 1790"/>
                  <a:gd name="T51" fmla="*/ 313 h 2194"/>
                  <a:gd name="T52" fmla="*/ 701 w 1790"/>
                  <a:gd name="T53" fmla="*/ 316 h 2194"/>
                  <a:gd name="T54" fmla="*/ 724 w 1790"/>
                  <a:gd name="T55" fmla="*/ 320 h 2194"/>
                  <a:gd name="T56" fmla="*/ 725 w 1790"/>
                  <a:gd name="T57" fmla="*/ 332 h 2194"/>
                  <a:gd name="T58" fmla="*/ 736 w 1790"/>
                  <a:gd name="T59" fmla="*/ 363 h 2194"/>
                  <a:gd name="T60" fmla="*/ 748 w 1790"/>
                  <a:gd name="T61" fmla="*/ 364 h 2194"/>
                  <a:gd name="T62" fmla="*/ 752 w 1790"/>
                  <a:gd name="T63" fmla="*/ 367 h 2194"/>
                  <a:gd name="T64" fmla="*/ 765 w 1790"/>
                  <a:gd name="T65" fmla="*/ 363 h 2194"/>
                  <a:gd name="T66" fmla="*/ 776 w 1790"/>
                  <a:gd name="T67" fmla="*/ 380 h 2194"/>
                  <a:gd name="T68" fmla="*/ 826 w 1790"/>
                  <a:gd name="T69" fmla="*/ 424 h 2194"/>
                  <a:gd name="T70" fmla="*/ 867 w 1790"/>
                  <a:gd name="T71" fmla="*/ 460 h 2194"/>
                  <a:gd name="T72" fmla="*/ 846 w 1790"/>
                  <a:gd name="T73" fmla="*/ 462 h 2194"/>
                  <a:gd name="T74" fmla="*/ 882 w 1790"/>
                  <a:gd name="T75" fmla="*/ 517 h 2194"/>
                  <a:gd name="T76" fmla="*/ 874 w 1790"/>
                  <a:gd name="T77" fmla="*/ 567 h 2194"/>
                  <a:gd name="T78" fmla="*/ 860 w 1790"/>
                  <a:gd name="T79" fmla="*/ 561 h 2194"/>
                  <a:gd name="T80" fmla="*/ 846 w 1790"/>
                  <a:gd name="T81" fmla="*/ 565 h 2194"/>
                  <a:gd name="T82" fmla="*/ 849 w 1790"/>
                  <a:gd name="T83" fmla="*/ 586 h 2194"/>
                  <a:gd name="T84" fmla="*/ 864 w 1790"/>
                  <a:gd name="T85" fmla="*/ 588 h 2194"/>
                  <a:gd name="T86" fmla="*/ 890 w 1790"/>
                  <a:gd name="T87" fmla="*/ 654 h 2194"/>
                  <a:gd name="T88" fmla="*/ 872 w 1790"/>
                  <a:gd name="T89" fmla="*/ 642 h 2194"/>
                  <a:gd name="T90" fmla="*/ 909 w 1790"/>
                  <a:gd name="T91" fmla="*/ 677 h 2194"/>
                  <a:gd name="T92" fmla="*/ 931 w 1790"/>
                  <a:gd name="T93" fmla="*/ 703 h 2194"/>
                  <a:gd name="T94" fmla="*/ 939 w 1790"/>
                  <a:gd name="T95" fmla="*/ 742 h 2194"/>
                  <a:gd name="T96" fmla="*/ 966 w 1790"/>
                  <a:gd name="T97" fmla="*/ 790 h 2194"/>
                  <a:gd name="T98" fmla="*/ 1003 w 1790"/>
                  <a:gd name="T99" fmla="*/ 848 h 2194"/>
                  <a:gd name="T100" fmla="*/ 1066 w 1790"/>
                  <a:gd name="T101" fmla="*/ 843 h 2194"/>
                  <a:gd name="T102" fmla="*/ 1075 w 1790"/>
                  <a:gd name="T103" fmla="*/ 850 h 2194"/>
                  <a:gd name="T104" fmla="*/ 1096 w 1790"/>
                  <a:gd name="T105" fmla="*/ 847 h 2194"/>
                  <a:gd name="T106" fmla="*/ 1081 w 1790"/>
                  <a:gd name="T107" fmla="*/ 866 h 2194"/>
                  <a:gd name="T108" fmla="*/ 1061 w 1790"/>
                  <a:gd name="T109" fmla="*/ 894 h 2194"/>
                  <a:gd name="T110" fmla="*/ 1097 w 1790"/>
                  <a:gd name="T111" fmla="*/ 901 h 2194"/>
                  <a:gd name="T112" fmla="*/ 1219 w 1790"/>
                  <a:gd name="T113" fmla="*/ 1079 h 2194"/>
                  <a:gd name="T114" fmla="*/ 1655 w 1790"/>
                  <a:gd name="T115" fmla="*/ 1201 h 2194"/>
                  <a:gd name="T116" fmla="*/ 1760 w 1790"/>
                  <a:gd name="T117" fmla="*/ 1421 h 2194"/>
                  <a:gd name="T118" fmla="*/ 1398 w 1790"/>
                  <a:gd name="T119" fmla="*/ 1781 h 2194"/>
                  <a:gd name="T120" fmla="*/ 884 w 1790"/>
                  <a:gd name="T121" fmla="*/ 1901 h 2194"/>
                  <a:gd name="T122" fmla="*/ 486 w 1790"/>
                  <a:gd name="T123" fmla="*/ 2077 h 2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0" h="2194">
                    <a:moveTo>
                      <a:pt x="774" y="333"/>
                    </a:moveTo>
                    <a:lnTo>
                      <a:pt x="778" y="333"/>
                    </a:lnTo>
                    <a:lnTo>
                      <a:pt x="796" y="339"/>
                    </a:lnTo>
                    <a:lnTo>
                      <a:pt x="792" y="340"/>
                    </a:lnTo>
                    <a:lnTo>
                      <a:pt x="789" y="339"/>
                    </a:lnTo>
                    <a:lnTo>
                      <a:pt x="788" y="338"/>
                    </a:lnTo>
                    <a:lnTo>
                      <a:pt x="784" y="337"/>
                    </a:lnTo>
                    <a:lnTo>
                      <a:pt x="781" y="338"/>
                    </a:lnTo>
                    <a:lnTo>
                      <a:pt x="779" y="339"/>
                    </a:lnTo>
                    <a:lnTo>
                      <a:pt x="777" y="341"/>
                    </a:lnTo>
                    <a:lnTo>
                      <a:pt x="774" y="342"/>
                    </a:lnTo>
                    <a:lnTo>
                      <a:pt x="773" y="341"/>
                    </a:lnTo>
                    <a:lnTo>
                      <a:pt x="773" y="341"/>
                    </a:lnTo>
                    <a:lnTo>
                      <a:pt x="770" y="340"/>
                    </a:lnTo>
                    <a:lnTo>
                      <a:pt x="770" y="339"/>
                    </a:lnTo>
                    <a:lnTo>
                      <a:pt x="773" y="338"/>
                    </a:lnTo>
                    <a:lnTo>
                      <a:pt x="773" y="337"/>
                    </a:lnTo>
                    <a:lnTo>
                      <a:pt x="772" y="335"/>
                    </a:lnTo>
                    <a:lnTo>
                      <a:pt x="771" y="334"/>
                    </a:lnTo>
                    <a:lnTo>
                      <a:pt x="769" y="333"/>
                    </a:lnTo>
                    <a:lnTo>
                      <a:pt x="767" y="333"/>
                    </a:lnTo>
                    <a:lnTo>
                      <a:pt x="764" y="335"/>
                    </a:lnTo>
                    <a:lnTo>
                      <a:pt x="761" y="335"/>
                    </a:lnTo>
                    <a:lnTo>
                      <a:pt x="759" y="338"/>
                    </a:lnTo>
                    <a:lnTo>
                      <a:pt x="758" y="341"/>
                    </a:lnTo>
                    <a:lnTo>
                      <a:pt x="756" y="344"/>
                    </a:lnTo>
                    <a:lnTo>
                      <a:pt x="756" y="339"/>
                    </a:lnTo>
                    <a:lnTo>
                      <a:pt x="759" y="334"/>
                    </a:lnTo>
                    <a:lnTo>
                      <a:pt x="764" y="331"/>
                    </a:lnTo>
                    <a:lnTo>
                      <a:pt x="769" y="330"/>
                    </a:lnTo>
                    <a:lnTo>
                      <a:pt x="771" y="330"/>
                    </a:lnTo>
                    <a:lnTo>
                      <a:pt x="772" y="331"/>
                    </a:lnTo>
                    <a:lnTo>
                      <a:pt x="774" y="333"/>
                    </a:lnTo>
                    <a:lnTo>
                      <a:pt x="774" y="333"/>
                    </a:lnTo>
                    <a:close/>
                    <a:moveTo>
                      <a:pt x="417" y="2194"/>
                    </a:moveTo>
                    <a:lnTo>
                      <a:pt x="470" y="1764"/>
                    </a:lnTo>
                    <a:lnTo>
                      <a:pt x="515" y="1411"/>
                    </a:lnTo>
                    <a:lnTo>
                      <a:pt x="563" y="1019"/>
                    </a:lnTo>
                    <a:lnTo>
                      <a:pt x="563" y="979"/>
                    </a:lnTo>
                    <a:lnTo>
                      <a:pt x="562" y="956"/>
                    </a:lnTo>
                    <a:lnTo>
                      <a:pt x="557" y="943"/>
                    </a:lnTo>
                    <a:lnTo>
                      <a:pt x="550" y="927"/>
                    </a:lnTo>
                    <a:lnTo>
                      <a:pt x="543" y="915"/>
                    </a:lnTo>
                    <a:lnTo>
                      <a:pt x="536" y="906"/>
                    </a:lnTo>
                    <a:lnTo>
                      <a:pt x="495" y="864"/>
                    </a:lnTo>
                    <a:lnTo>
                      <a:pt x="435" y="820"/>
                    </a:lnTo>
                    <a:lnTo>
                      <a:pt x="432" y="818"/>
                    </a:lnTo>
                    <a:lnTo>
                      <a:pt x="429" y="813"/>
                    </a:lnTo>
                    <a:lnTo>
                      <a:pt x="428" y="811"/>
                    </a:lnTo>
                    <a:lnTo>
                      <a:pt x="427" y="803"/>
                    </a:lnTo>
                    <a:lnTo>
                      <a:pt x="423" y="554"/>
                    </a:lnTo>
                    <a:lnTo>
                      <a:pt x="422" y="547"/>
                    </a:lnTo>
                    <a:lnTo>
                      <a:pt x="421" y="544"/>
                    </a:lnTo>
                    <a:lnTo>
                      <a:pt x="419" y="540"/>
                    </a:lnTo>
                    <a:lnTo>
                      <a:pt x="417" y="537"/>
                    </a:lnTo>
                    <a:lnTo>
                      <a:pt x="415" y="535"/>
                    </a:lnTo>
                    <a:lnTo>
                      <a:pt x="413" y="533"/>
                    </a:lnTo>
                    <a:lnTo>
                      <a:pt x="359" y="512"/>
                    </a:lnTo>
                    <a:lnTo>
                      <a:pt x="356" y="509"/>
                    </a:lnTo>
                    <a:lnTo>
                      <a:pt x="352" y="506"/>
                    </a:lnTo>
                    <a:lnTo>
                      <a:pt x="348" y="499"/>
                    </a:lnTo>
                    <a:lnTo>
                      <a:pt x="321" y="471"/>
                    </a:lnTo>
                    <a:lnTo>
                      <a:pt x="317" y="470"/>
                    </a:lnTo>
                    <a:lnTo>
                      <a:pt x="313" y="468"/>
                    </a:lnTo>
                    <a:lnTo>
                      <a:pt x="309" y="468"/>
                    </a:lnTo>
                    <a:lnTo>
                      <a:pt x="284" y="472"/>
                    </a:lnTo>
                    <a:lnTo>
                      <a:pt x="280" y="472"/>
                    </a:lnTo>
                    <a:lnTo>
                      <a:pt x="276" y="471"/>
                    </a:lnTo>
                    <a:lnTo>
                      <a:pt x="272" y="470"/>
                    </a:lnTo>
                    <a:lnTo>
                      <a:pt x="269" y="469"/>
                    </a:lnTo>
                    <a:lnTo>
                      <a:pt x="227" y="439"/>
                    </a:lnTo>
                    <a:lnTo>
                      <a:pt x="216" y="432"/>
                    </a:lnTo>
                    <a:lnTo>
                      <a:pt x="209" y="430"/>
                    </a:lnTo>
                    <a:lnTo>
                      <a:pt x="201" y="429"/>
                    </a:lnTo>
                    <a:lnTo>
                      <a:pt x="174" y="428"/>
                    </a:lnTo>
                    <a:lnTo>
                      <a:pt x="167" y="426"/>
                    </a:lnTo>
                    <a:lnTo>
                      <a:pt x="164" y="424"/>
                    </a:lnTo>
                    <a:lnTo>
                      <a:pt x="156" y="420"/>
                    </a:lnTo>
                    <a:lnTo>
                      <a:pt x="141" y="404"/>
                    </a:lnTo>
                    <a:lnTo>
                      <a:pt x="130" y="392"/>
                    </a:lnTo>
                    <a:lnTo>
                      <a:pt x="126" y="388"/>
                    </a:lnTo>
                    <a:lnTo>
                      <a:pt x="123" y="386"/>
                    </a:lnTo>
                    <a:lnTo>
                      <a:pt x="119" y="386"/>
                    </a:lnTo>
                    <a:lnTo>
                      <a:pt x="107" y="385"/>
                    </a:lnTo>
                    <a:lnTo>
                      <a:pt x="99" y="383"/>
                    </a:lnTo>
                    <a:lnTo>
                      <a:pt x="51" y="355"/>
                    </a:lnTo>
                    <a:lnTo>
                      <a:pt x="48" y="351"/>
                    </a:lnTo>
                    <a:lnTo>
                      <a:pt x="44" y="346"/>
                    </a:lnTo>
                    <a:lnTo>
                      <a:pt x="42" y="341"/>
                    </a:lnTo>
                    <a:lnTo>
                      <a:pt x="37" y="325"/>
                    </a:lnTo>
                    <a:lnTo>
                      <a:pt x="36" y="320"/>
                    </a:lnTo>
                    <a:lnTo>
                      <a:pt x="32" y="317"/>
                    </a:lnTo>
                    <a:lnTo>
                      <a:pt x="25" y="310"/>
                    </a:lnTo>
                    <a:lnTo>
                      <a:pt x="11" y="299"/>
                    </a:lnTo>
                    <a:lnTo>
                      <a:pt x="9" y="298"/>
                    </a:lnTo>
                    <a:lnTo>
                      <a:pt x="7" y="295"/>
                    </a:lnTo>
                    <a:lnTo>
                      <a:pt x="3" y="289"/>
                    </a:lnTo>
                    <a:lnTo>
                      <a:pt x="1" y="286"/>
                    </a:lnTo>
                    <a:lnTo>
                      <a:pt x="0" y="281"/>
                    </a:lnTo>
                    <a:lnTo>
                      <a:pt x="0" y="279"/>
                    </a:lnTo>
                    <a:lnTo>
                      <a:pt x="1" y="275"/>
                    </a:lnTo>
                    <a:lnTo>
                      <a:pt x="2" y="270"/>
                    </a:lnTo>
                    <a:lnTo>
                      <a:pt x="6" y="259"/>
                    </a:lnTo>
                    <a:lnTo>
                      <a:pt x="10" y="252"/>
                    </a:lnTo>
                    <a:lnTo>
                      <a:pt x="38" y="219"/>
                    </a:lnTo>
                    <a:lnTo>
                      <a:pt x="46" y="206"/>
                    </a:lnTo>
                    <a:lnTo>
                      <a:pt x="105" y="95"/>
                    </a:lnTo>
                    <a:lnTo>
                      <a:pt x="115" y="80"/>
                    </a:lnTo>
                    <a:lnTo>
                      <a:pt x="128" y="65"/>
                    </a:lnTo>
                    <a:lnTo>
                      <a:pt x="145" y="50"/>
                    </a:lnTo>
                    <a:lnTo>
                      <a:pt x="168" y="36"/>
                    </a:lnTo>
                    <a:lnTo>
                      <a:pt x="247" y="6"/>
                    </a:lnTo>
                    <a:lnTo>
                      <a:pt x="249" y="4"/>
                    </a:lnTo>
                    <a:lnTo>
                      <a:pt x="267" y="0"/>
                    </a:lnTo>
                    <a:lnTo>
                      <a:pt x="305" y="5"/>
                    </a:lnTo>
                    <a:lnTo>
                      <a:pt x="342" y="10"/>
                    </a:lnTo>
                    <a:lnTo>
                      <a:pt x="409" y="19"/>
                    </a:lnTo>
                    <a:lnTo>
                      <a:pt x="418" y="20"/>
                    </a:lnTo>
                    <a:lnTo>
                      <a:pt x="428" y="37"/>
                    </a:lnTo>
                    <a:lnTo>
                      <a:pt x="437" y="63"/>
                    </a:lnTo>
                    <a:lnTo>
                      <a:pt x="438" y="67"/>
                    </a:lnTo>
                    <a:lnTo>
                      <a:pt x="439" y="78"/>
                    </a:lnTo>
                    <a:lnTo>
                      <a:pt x="441" y="83"/>
                    </a:lnTo>
                    <a:lnTo>
                      <a:pt x="442" y="89"/>
                    </a:lnTo>
                    <a:lnTo>
                      <a:pt x="445" y="93"/>
                    </a:lnTo>
                    <a:lnTo>
                      <a:pt x="449" y="97"/>
                    </a:lnTo>
                    <a:lnTo>
                      <a:pt x="452" y="100"/>
                    </a:lnTo>
                    <a:lnTo>
                      <a:pt x="456" y="103"/>
                    </a:lnTo>
                    <a:lnTo>
                      <a:pt x="457" y="108"/>
                    </a:lnTo>
                    <a:lnTo>
                      <a:pt x="525" y="107"/>
                    </a:lnTo>
                    <a:lnTo>
                      <a:pt x="585" y="106"/>
                    </a:lnTo>
                    <a:lnTo>
                      <a:pt x="589" y="111"/>
                    </a:lnTo>
                    <a:lnTo>
                      <a:pt x="592" y="112"/>
                    </a:lnTo>
                    <a:lnTo>
                      <a:pt x="595" y="114"/>
                    </a:lnTo>
                    <a:lnTo>
                      <a:pt x="596" y="116"/>
                    </a:lnTo>
                    <a:lnTo>
                      <a:pt x="598" y="124"/>
                    </a:lnTo>
                    <a:lnTo>
                      <a:pt x="598" y="130"/>
                    </a:lnTo>
                    <a:lnTo>
                      <a:pt x="596" y="135"/>
                    </a:lnTo>
                    <a:lnTo>
                      <a:pt x="593" y="134"/>
                    </a:lnTo>
                    <a:lnTo>
                      <a:pt x="592" y="135"/>
                    </a:lnTo>
                    <a:lnTo>
                      <a:pt x="592" y="135"/>
                    </a:lnTo>
                    <a:lnTo>
                      <a:pt x="594" y="136"/>
                    </a:lnTo>
                    <a:lnTo>
                      <a:pt x="597" y="135"/>
                    </a:lnTo>
                    <a:lnTo>
                      <a:pt x="600" y="134"/>
                    </a:lnTo>
                    <a:lnTo>
                      <a:pt x="600" y="130"/>
                    </a:lnTo>
                    <a:lnTo>
                      <a:pt x="602" y="132"/>
                    </a:lnTo>
                    <a:lnTo>
                      <a:pt x="602" y="134"/>
                    </a:lnTo>
                    <a:lnTo>
                      <a:pt x="600" y="137"/>
                    </a:lnTo>
                    <a:lnTo>
                      <a:pt x="600" y="142"/>
                    </a:lnTo>
                    <a:lnTo>
                      <a:pt x="599" y="144"/>
                    </a:lnTo>
                    <a:lnTo>
                      <a:pt x="600" y="149"/>
                    </a:lnTo>
                    <a:lnTo>
                      <a:pt x="602" y="153"/>
                    </a:lnTo>
                    <a:lnTo>
                      <a:pt x="616" y="168"/>
                    </a:lnTo>
                    <a:lnTo>
                      <a:pt x="617" y="171"/>
                    </a:lnTo>
                    <a:lnTo>
                      <a:pt x="615" y="174"/>
                    </a:lnTo>
                    <a:lnTo>
                      <a:pt x="614" y="178"/>
                    </a:lnTo>
                    <a:lnTo>
                      <a:pt x="613" y="181"/>
                    </a:lnTo>
                    <a:lnTo>
                      <a:pt x="615" y="185"/>
                    </a:lnTo>
                    <a:lnTo>
                      <a:pt x="616" y="188"/>
                    </a:lnTo>
                    <a:lnTo>
                      <a:pt x="622" y="196"/>
                    </a:lnTo>
                    <a:lnTo>
                      <a:pt x="623" y="197"/>
                    </a:lnTo>
                    <a:lnTo>
                      <a:pt x="622" y="201"/>
                    </a:lnTo>
                    <a:lnTo>
                      <a:pt x="624" y="203"/>
                    </a:lnTo>
                    <a:lnTo>
                      <a:pt x="630" y="205"/>
                    </a:lnTo>
                    <a:lnTo>
                      <a:pt x="632" y="205"/>
                    </a:lnTo>
                    <a:lnTo>
                      <a:pt x="638" y="205"/>
                    </a:lnTo>
                    <a:lnTo>
                      <a:pt x="639" y="205"/>
                    </a:lnTo>
                    <a:lnTo>
                      <a:pt x="643" y="207"/>
                    </a:lnTo>
                    <a:lnTo>
                      <a:pt x="645" y="208"/>
                    </a:lnTo>
                    <a:lnTo>
                      <a:pt x="645" y="208"/>
                    </a:lnTo>
                    <a:lnTo>
                      <a:pt x="645" y="210"/>
                    </a:lnTo>
                    <a:lnTo>
                      <a:pt x="644" y="211"/>
                    </a:lnTo>
                    <a:lnTo>
                      <a:pt x="643" y="212"/>
                    </a:lnTo>
                    <a:lnTo>
                      <a:pt x="640" y="211"/>
                    </a:lnTo>
                    <a:lnTo>
                      <a:pt x="638" y="213"/>
                    </a:lnTo>
                    <a:lnTo>
                      <a:pt x="637" y="214"/>
                    </a:lnTo>
                    <a:lnTo>
                      <a:pt x="638" y="217"/>
                    </a:lnTo>
                    <a:lnTo>
                      <a:pt x="638" y="219"/>
                    </a:lnTo>
                    <a:lnTo>
                      <a:pt x="642" y="223"/>
                    </a:lnTo>
                    <a:lnTo>
                      <a:pt x="646" y="226"/>
                    </a:lnTo>
                    <a:lnTo>
                      <a:pt x="649" y="227"/>
                    </a:lnTo>
                    <a:lnTo>
                      <a:pt x="649" y="228"/>
                    </a:lnTo>
                    <a:lnTo>
                      <a:pt x="653" y="234"/>
                    </a:lnTo>
                    <a:lnTo>
                      <a:pt x="660" y="241"/>
                    </a:lnTo>
                    <a:lnTo>
                      <a:pt x="660" y="242"/>
                    </a:lnTo>
                    <a:lnTo>
                      <a:pt x="659" y="246"/>
                    </a:lnTo>
                    <a:lnTo>
                      <a:pt x="659" y="249"/>
                    </a:lnTo>
                    <a:lnTo>
                      <a:pt x="659" y="250"/>
                    </a:lnTo>
                    <a:lnTo>
                      <a:pt x="660" y="252"/>
                    </a:lnTo>
                    <a:lnTo>
                      <a:pt x="659" y="253"/>
                    </a:lnTo>
                    <a:lnTo>
                      <a:pt x="658" y="256"/>
                    </a:lnTo>
                    <a:lnTo>
                      <a:pt x="655" y="259"/>
                    </a:lnTo>
                    <a:lnTo>
                      <a:pt x="653" y="261"/>
                    </a:lnTo>
                    <a:lnTo>
                      <a:pt x="654" y="259"/>
                    </a:lnTo>
                    <a:lnTo>
                      <a:pt x="654" y="257"/>
                    </a:lnTo>
                    <a:lnTo>
                      <a:pt x="654" y="252"/>
                    </a:lnTo>
                    <a:lnTo>
                      <a:pt x="654" y="250"/>
                    </a:lnTo>
                    <a:lnTo>
                      <a:pt x="655" y="249"/>
                    </a:lnTo>
                    <a:lnTo>
                      <a:pt x="656" y="247"/>
                    </a:lnTo>
                    <a:lnTo>
                      <a:pt x="655" y="244"/>
                    </a:lnTo>
                    <a:lnTo>
                      <a:pt x="653" y="247"/>
                    </a:lnTo>
                    <a:lnTo>
                      <a:pt x="650" y="254"/>
                    </a:lnTo>
                    <a:lnTo>
                      <a:pt x="647" y="256"/>
                    </a:lnTo>
                    <a:lnTo>
                      <a:pt x="651" y="248"/>
                    </a:lnTo>
                    <a:lnTo>
                      <a:pt x="651" y="245"/>
                    </a:lnTo>
                    <a:lnTo>
                      <a:pt x="650" y="242"/>
                    </a:lnTo>
                    <a:lnTo>
                      <a:pt x="648" y="242"/>
                    </a:lnTo>
                    <a:lnTo>
                      <a:pt x="647" y="245"/>
                    </a:lnTo>
                    <a:lnTo>
                      <a:pt x="644" y="257"/>
                    </a:lnTo>
                    <a:lnTo>
                      <a:pt x="644" y="261"/>
                    </a:lnTo>
                    <a:lnTo>
                      <a:pt x="643" y="263"/>
                    </a:lnTo>
                    <a:lnTo>
                      <a:pt x="643" y="264"/>
                    </a:lnTo>
                    <a:lnTo>
                      <a:pt x="645" y="264"/>
                    </a:lnTo>
                    <a:lnTo>
                      <a:pt x="646" y="263"/>
                    </a:lnTo>
                    <a:lnTo>
                      <a:pt x="647" y="259"/>
                    </a:lnTo>
                    <a:lnTo>
                      <a:pt x="648" y="258"/>
                    </a:lnTo>
                    <a:lnTo>
                      <a:pt x="648" y="266"/>
                    </a:lnTo>
                    <a:lnTo>
                      <a:pt x="649" y="269"/>
                    </a:lnTo>
                    <a:lnTo>
                      <a:pt x="651" y="268"/>
                    </a:lnTo>
                    <a:lnTo>
                      <a:pt x="653" y="267"/>
                    </a:lnTo>
                    <a:lnTo>
                      <a:pt x="653" y="264"/>
                    </a:lnTo>
                    <a:lnTo>
                      <a:pt x="654" y="267"/>
                    </a:lnTo>
                    <a:lnTo>
                      <a:pt x="654" y="270"/>
                    </a:lnTo>
                    <a:lnTo>
                      <a:pt x="654" y="272"/>
                    </a:lnTo>
                    <a:lnTo>
                      <a:pt x="656" y="273"/>
                    </a:lnTo>
                    <a:lnTo>
                      <a:pt x="658" y="272"/>
                    </a:lnTo>
                    <a:lnTo>
                      <a:pt x="659" y="271"/>
                    </a:lnTo>
                    <a:lnTo>
                      <a:pt x="660" y="269"/>
                    </a:lnTo>
                    <a:lnTo>
                      <a:pt x="660" y="272"/>
                    </a:lnTo>
                    <a:lnTo>
                      <a:pt x="660" y="273"/>
                    </a:lnTo>
                    <a:lnTo>
                      <a:pt x="659" y="274"/>
                    </a:lnTo>
                    <a:lnTo>
                      <a:pt x="660" y="276"/>
                    </a:lnTo>
                    <a:lnTo>
                      <a:pt x="660" y="277"/>
                    </a:lnTo>
                    <a:lnTo>
                      <a:pt x="659" y="278"/>
                    </a:lnTo>
                    <a:lnTo>
                      <a:pt x="657" y="278"/>
                    </a:lnTo>
                    <a:lnTo>
                      <a:pt x="659" y="283"/>
                    </a:lnTo>
                    <a:lnTo>
                      <a:pt x="655" y="280"/>
                    </a:lnTo>
                    <a:lnTo>
                      <a:pt x="653" y="281"/>
                    </a:lnTo>
                    <a:lnTo>
                      <a:pt x="652" y="283"/>
                    </a:lnTo>
                    <a:lnTo>
                      <a:pt x="655" y="284"/>
                    </a:lnTo>
                    <a:lnTo>
                      <a:pt x="659" y="284"/>
                    </a:lnTo>
                    <a:lnTo>
                      <a:pt x="660" y="282"/>
                    </a:lnTo>
                    <a:lnTo>
                      <a:pt x="662" y="279"/>
                    </a:lnTo>
                    <a:lnTo>
                      <a:pt x="663" y="279"/>
                    </a:lnTo>
                    <a:lnTo>
                      <a:pt x="664" y="282"/>
                    </a:lnTo>
                    <a:lnTo>
                      <a:pt x="662" y="284"/>
                    </a:lnTo>
                    <a:lnTo>
                      <a:pt x="662" y="287"/>
                    </a:lnTo>
                    <a:lnTo>
                      <a:pt x="662" y="291"/>
                    </a:lnTo>
                    <a:lnTo>
                      <a:pt x="666" y="291"/>
                    </a:lnTo>
                    <a:lnTo>
                      <a:pt x="667" y="289"/>
                    </a:lnTo>
                    <a:lnTo>
                      <a:pt x="666" y="288"/>
                    </a:lnTo>
                    <a:lnTo>
                      <a:pt x="665" y="287"/>
                    </a:lnTo>
                    <a:lnTo>
                      <a:pt x="664" y="286"/>
                    </a:lnTo>
                    <a:lnTo>
                      <a:pt x="666" y="284"/>
                    </a:lnTo>
                    <a:lnTo>
                      <a:pt x="668" y="283"/>
                    </a:lnTo>
                    <a:lnTo>
                      <a:pt x="671" y="282"/>
                    </a:lnTo>
                    <a:lnTo>
                      <a:pt x="675" y="281"/>
                    </a:lnTo>
                    <a:lnTo>
                      <a:pt x="677" y="282"/>
                    </a:lnTo>
                    <a:lnTo>
                      <a:pt x="683" y="288"/>
                    </a:lnTo>
                    <a:lnTo>
                      <a:pt x="689" y="291"/>
                    </a:lnTo>
                    <a:lnTo>
                      <a:pt x="690" y="294"/>
                    </a:lnTo>
                    <a:lnTo>
                      <a:pt x="687" y="296"/>
                    </a:lnTo>
                    <a:lnTo>
                      <a:pt x="690" y="297"/>
                    </a:lnTo>
                    <a:lnTo>
                      <a:pt x="692" y="296"/>
                    </a:lnTo>
                    <a:lnTo>
                      <a:pt x="693" y="295"/>
                    </a:lnTo>
                    <a:lnTo>
                      <a:pt x="692" y="293"/>
                    </a:lnTo>
                    <a:lnTo>
                      <a:pt x="695" y="295"/>
                    </a:lnTo>
                    <a:lnTo>
                      <a:pt x="698" y="295"/>
                    </a:lnTo>
                    <a:lnTo>
                      <a:pt x="705" y="296"/>
                    </a:lnTo>
                    <a:lnTo>
                      <a:pt x="706" y="295"/>
                    </a:lnTo>
                    <a:lnTo>
                      <a:pt x="708" y="294"/>
                    </a:lnTo>
                    <a:lnTo>
                      <a:pt x="710" y="293"/>
                    </a:lnTo>
                    <a:lnTo>
                      <a:pt x="712" y="294"/>
                    </a:lnTo>
                    <a:lnTo>
                      <a:pt x="715" y="295"/>
                    </a:lnTo>
                    <a:lnTo>
                      <a:pt x="717" y="295"/>
                    </a:lnTo>
                    <a:lnTo>
                      <a:pt x="721" y="295"/>
                    </a:lnTo>
                    <a:lnTo>
                      <a:pt x="722" y="298"/>
                    </a:lnTo>
                    <a:lnTo>
                      <a:pt x="727" y="303"/>
                    </a:lnTo>
                    <a:lnTo>
                      <a:pt x="728" y="305"/>
                    </a:lnTo>
                    <a:lnTo>
                      <a:pt x="730" y="306"/>
                    </a:lnTo>
                    <a:lnTo>
                      <a:pt x="731" y="308"/>
                    </a:lnTo>
                    <a:lnTo>
                      <a:pt x="731" y="309"/>
                    </a:lnTo>
                    <a:lnTo>
                      <a:pt x="732" y="312"/>
                    </a:lnTo>
                    <a:lnTo>
                      <a:pt x="732" y="314"/>
                    </a:lnTo>
                    <a:lnTo>
                      <a:pt x="730" y="314"/>
                    </a:lnTo>
                    <a:lnTo>
                      <a:pt x="729" y="313"/>
                    </a:lnTo>
                    <a:lnTo>
                      <a:pt x="728" y="311"/>
                    </a:lnTo>
                    <a:lnTo>
                      <a:pt x="729" y="309"/>
                    </a:lnTo>
                    <a:lnTo>
                      <a:pt x="728" y="309"/>
                    </a:lnTo>
                    <a:lnTo>
                      <a:pt x="724" y="313"/>
                    </a:lnTo>
                    <a:lnTo>
                      <a:pt x="715" y="312"/>
                    </a:lnTo>
                    <a:lnTo>
                      <a:pt x="712" y="316"/>
                    </a:lnTo>
                    <a:lnTo>
                      <a:pt x="710" y="316"/>
                    </a:lnTo>
                    <a:lnTo>
                      <a:pt x="709" y="312"/>
                    </a:lnTo>
                    <a:lnTo>
                      <a:pt x="706" y="312"/>
                    </a:lnTo>
                    <a:lnTo>
                      <a:pt x="700" y="316"/>
                    </a:lnTo>
                    <a:lnTo>
                      <a:pt x="701" y="316"/>
                    </a:lnTo>
                    <a:lnTo>
                      <a:pt x="705" y="318"/>
                    </a:lnTo>
                    <a:lnTo>
                      <a:pt x="707" y="318"/>
                    </a:lnTo>
                    <a:lnTo>
                      <a:pt x="711" y="321"/>
                    </a:lnTo>
                    <a:lnTo>
                      <a:pt x="713" y="322"/>
                    </a:lnTo>
                    <a:lnTo>
                      <a:pt x="714" y="324"/>
                    </a:lnTo>
                    <a:lnTo>
                      <a:pt x="715" y="324"/>
                    </a:lnTo>
                    <a:lnTo>
                      <a:pt x="719" y="321"/>
                    </a:lnTo>
                    <a:lnTo>
                      <a:pt x="720" y="319"/>
                    </a:lnTo>
                    <a:lnTo>
                      <a:pt x="721" y="318"/>
                    </a:lnTo>
                    <a:lnTo>
                      <a:pt x="722" y="319"/>
                    </a:lnTo>
                    <a:lnTo>
                      <a:pt x="724" y="320"/>
                    </a:lnTo>
                    <a:lnTo>
                      <a:pt x="723" y="323"/>
                    </a:lnTo>
                    <a:lnTo>
                      <a:pt x="721" y="325"/>
                    </a:lnTo>
                    <a:lnTo>
                      <a:pt x="720" y="325"/>
                    </a:lnTo>
                    <a:lnTo>
                      <a:pt x="719" y="327"/>
                    </a:lnTo>
                    <a:lnTo>
                      <a:pt x="718" y="329"/>
                    </a:lnTo>
                    <a:lnTo>
                      <a:pt x="718" y="333"/>
                    </a:lnTo>
                    <a:lnTo>
                      <a:pt x="717" y="336"/>
                    </a:lnTo>
                    <a:lnTo>
                      <a:pt x="719" y="335"/>
                    </a:lnTo>
                    <a:lnTo>
                      <a:pt x="721" y="334"/>
                    </a:lnTo>
                    <a:lnTo>
                      <a:pt x="723" y="333"/>
                    </a:lnTo>
                    <a:lnTo>
                      <a:pt x="725" y="332"/>
                    </a:lnTo>
                    <a:lnTo>
                      <a:pt x="727" y="331"/>
                    </a:lnTo>
                    <a:lnTo>
                      <a:pt x="729" y="332"/>
                    </a:lnTo>
                    <a:lnTo>
                      <a:pt x="732" y="333"/>
                    </a:lnTo>
                    <a:lnTo>
                      <a:pt x="731" y="337"/>
                    </a:lnTo>
                    <a:lnTo>
                      <a:pt x="731" y="341"/>
                    </a:lnTo>
                    <a:lnTo>
                      <a:pt x="733" y="344"/>
                    </a:lnTo>
                    <a:lnTo>
                      <a:pt x="733" y="348"/>
                    </a:lnTo>
                    <a:lnTo>
                      <a:pt x="733" y="356"/>
                    </a:lnTo>
                    <a:lnTo>
                      <a:pt x="734" y="360"/>
                    </a:lnTo>
                    <a:lnTo>
                      <a:pt x="736" y="359"/>
                    </a:lnTo>
                    <a:lnTo>
                      <a:pt x="736" y="363"/>
                    </a:lnTo>
                    <a:lnTo>
                      <a:pt x="738" y="364"/>
                    </a:lnTo>
                    <a:lnTo>
                      <a:pt x="740" y="363"/>
                    </a:lnTo>
                    <a:lnTo>
                      <a:pt x="742" y="362"/>
                    </a:lnTo>
                    <a:lnTo>
                      <a:pt x="741" y="359"/>
                    </a:lnTo>
                    <a:lnTo>
                      <a:pt x="742" y="357"/>
                    </a:lnTo>
                    <a:lnTo>
                      <a:pt x="744" y="357"/>
                    </a:lnTo>
                    <a:lnTo>
                      <a:pt x="747" y="359"/>
                    </a:lnTo>
                    <a:lnTo>
                      <a:pt x="748" y="358"/>
                    </a:lnTo>
                    <a:lnTo>
                      <a:pt x="749" y="360"/>
                    </a:lnTo>
                    <a:lnTo>
                      <a:pt x="749" y="362"/>
                    </a:lnTo>
                    <a:lnTo>
                      <a:pt x="748" y="364"/>
                    </a:lnTo>
                    <a:lnTo>
                      <a:pt x="747" y="367"/>
                    </a:lnTo>
                    <a:lnTo>
                      <a:pt x="747" y="368"/>
                    </a:lnTo>
                    <a:lnTo>
                      <a:pt x="745" y="369"/>
                    </a:lnTo>
                    <a:lnTo>
                      <a:pt x="743" y="369"/>
                    </a:lnTo>
                    <a:lnTo>
                      <a:pt x="742" y="369"/>
                    </a:lnTo>
                    <a:lnTo>
                      <a:pt x="743" y="371"/>
                    </a:lnTo>
                    <a:lnTo>
                      <a:pt x="747" y="371"/>
                    </a:lnTo>
                    <a:lnTo>
                      <a:pt x="748" y="373"/>
                    </a:lnTo>
                    <a:lnTo>
                      <a:pt x="750" y="372"/>
                    </a:lnTo>
                    <a:lnTo>
                      <a:pt x="751" y="371"/>
                    </a:lnTo>
                    <a:lnTo>
                      <a:pt x="752" y="367"/>
                    </a:lnTo>
                    <a:lnTo>
                      <a:pt x="753" y="368"/>
                    </a:lnTo>
                    <a:lnTo>
                      <a:pt x="754" y="369"/>
                    </a:lnTo>
                    <a:lnTo>
                      <a:pt x="752" y="371"/>
                    </a:lnTo>
                    <a:lnTo>
                      <a:pt x="754" y="372"/>
                    </a:lnTo>
                    <a:lnTo>
                      <a:pt x="758" y="371"/>
                    </a:lnTo>
                    <a:lnTo>
                      <a:pt x="760" y="371"/>
                    </a:lnTo>
                    <a:lnTo>
                      <a:pt x="765" y="373"/>
                    </a:lnTo>
                    <a:lnTo>
                      <a:pt x="768" y="373"/>
                    </a:lnTo>
                    <a:lnTo>
                      <a:pt x="763" y="369"/>
                    </a:lnTo>
                    <a:lnTo>
                      <a:pt x="762" y="365"/>
                    </a:lnTo>
                    <a:lnTo>
                      <a:pt x="765" y="363"/>
                    </a:lnTo>
                    <a:lnTo>
                      <a:pt x="766" y="363"/>
                    </a:lnTo>
                    <a:lnTo>
                      <a:pt x="770" y="365"/>
                    </a:lnTo>
                    <a:lnTo>
                      <a:pt x="771" y="366"/>
                    </a:lnTo>
                    <a:lnTo>
                      <a:pt x="773" y="365"/>
                    </a:lnTo>
                    <a:lnTo>
                      <a:pt x="775" y="362"/>
                    </a:lnTo>
                    <a:lnTo>
                      <a:pt x="775" y="365"/>
                    </a:lnTo>
                    <a:lnTo>
                      <a:pt x="773" y="370"/>
                    </a:lnTo>
                    <a:lnTo>
                      <a:pt x="773" y="372"/>
                    </a:lnTo>
                    <a:lnTo>
                      <a:pt x="774" y="377"/>
                    </a:lnTo>
                    <a:lnTo>
                      <a:pt x="775" y="379"/>
                    </a:lnTo>
                    <a:lnTo>
                      <a:pt x="776" y="380"/>
                    </a:lnTo>
                    <a:lnTo>
                      <a:pt x="780" y="381"/>
                    </a:lnTo>
                    <a:lnTo>
                      <a:pt x="782" y="385"/>
                    </a:lnTo>
                    <a:lnTo>
                      <a:pt x="792" y="401"/>
                    </a:lnTo>
                    <a:lnTo>
                      <a:pt x="797" y="406"/>
                    </a:lnTo>
                    <a:lnTo>
                      <a:pt x="798" y="408"/>
                    </a:lnTo>
                    <a:lnTo>
                      <a:pt x="803" y="409"/>
                    </a:lnTo>
                    <a:lnTo>
                      <a:pt x="805" y="411"/>
                    </a:lnTo>
                    <a:lnTo>
                      <a:pt x="807" y="413"/>
                    </a:lnTo>
                    <a:lnTo>
                      <a:pt x="809" y="415"/>
                    </a:lnTo>
                    <a:lnTo>
                      <a:pt x="819" y="420"/>
                    </a:lnTo>
                    <a:lnTo>
                      <a:pt x="826" y="424"/>
                    </a:lnTo>
                    <a:lnTo>
                      <a:pt x="830" y="425"/>
                    </a:lnTo>
                    <a:lnTo>
                      <a:pt x="833" y="424"/>
                    </a:lnTo>
                    <a:lnTo>
                      <a:pt x="838" y="425"/>
                    </a:lnTo>
                    <a:lnTo>
                      <a:pt x="842" y="428"/>
                    </a:lnTo>
                    <a:lnTo>
                      <a:pt x="848" y="433"/>
                    </a:lnTo>
                    <a:lnTo>
                      <a:pt x="856" y="445"/>
                    </a:lnTo>
                    <a:lnTo>
                      <a:pt x="859" y="450"/>
                    </a:lnTo>
                    <a:lnTo>
                      <a:pt x="871" y="459"/>
                    </a:lnTo>
                    <a:lnTo>
                      <a:pt x="874" y="462"/>
                    </a:lnTo>
                    <a:lnTo>
                      <a:pt x="874" y="466"/>
                    </a:lnTo>
                    <a:lnTo>
                      <a:pt x="867" y="460"/>
                    </a:lnTo>
                    <a:lnTo>
                      <a:pt x="863" y="457"/>
                    </a:lnTo>
                    <a:lnTo>
                      <a:pt x="854" y="455"/>
                    </a:lnTo>
                    <a:lnTo>
                      <a:pt x="851" y="455"/>
                    </a:lnTo>
                    <a:lnTo>
                      <a:pt x="849" y="453"/>
                    </a:lnTo>
                    <a:lnTo>
                      <a:pt x="849" y="446"/>
                    </a:lnTo>
                    <a:lnTo>
                      <a:pt x="847" y="447"/>
                    </a:lnTo>
                    <a:lnTo>
                      <a:pt x="846" y="450"/>
                    </a:lnTo>
                    <a:lnTo>
                      <a:pt x="844" y="454"/>
                    </a:lnTo>
                    <a:lnTo>
                      <a:pt x="844" y="458"/>
                    </a:lnTo>
                    <a:lnTo>
                      <a:pt x="845" y="460"/>
                    </a:lnTo>
                    <a:lnTo>
                      <a:pt x="846" y="462"/>
                    </a:lnTo>
                    <a:lnTo>
                      <a:pt x="848" y="463"/>
                    </a:lnTo>
                    <a:lnTo>
                      <a:pt x="849" y="464"/>
                    </a:lnTo>
                    <a:lnTo>
                      <a:pt x="848" y="476"/>
                    </a:lnTo>
                    <a:lnTo>
                      <a:pt x="848" y="479"/>
                    </a:lnTo>
                    <a:lnTo>
                      <a:pt x="853" y="493"/>
                    </a:lnTo>
                    <a:lnTo>
                      <a:pt x="855" y="496"/>
                    </a:lnTo>
                    <a:lnTo>
                      <a:pt x="857" y="500"/>
                    </a:lnTo>
                    <a:lnTo>
                      <a:pt x="860" y="501"/>
                    </a:lnTo>
                    <a:lnTo>
                      <a:pt x="874" y="506"/>
                    </a:lnTo>
                    <a:lnTo>
                      <a:pt x="879" y="510"/>
                    </a:lnTo>
                    <a:lnTo>
                      <a:pt x="882" y="517"/>
                    </a:lnTo>
                    <a:lnTo>
                      <a:pt x="884" y="525"/>
                    </a:lnTo>
                    <a:lnTo>
                      <a:pt x="883" y="546"/>
                    </a:lnTo>
                    <a:lnTo>
                      <a:pt x="883" y="550"/>
                    </a:lnTo>
                    <a:lnTo>
                      <a:pt x="881" y="554"/>
                    </a:lnTo>
                    <a:lnTo>
                      <a:pt x="878" y="556"/>
                    </a:lnTo>
                    <a:lnTo>
                      <a:pt x="878" y="554"/>
                    </a:lnTo>
                    <a:lnTo>
                      <a:pt x="877" y="553"/>
                    </a:lnTo>
                    <a:lnTo>
                      <a:pt x="874" y="553"/>
                    </a:lnTo>
                    <a:lnTo>
                      <a:pt x="873" y="554"/>
                    </a:lnTo>
                    <a:lnTo>
                      <a:pt x="874" y="560"/>
                    </a:lnTo>
                    <a:lnTo>
                      <a:pt x="874" y="567"/>
                    </a:lnTo>
                    <a:lnTo>
                      <a:pt x="872" y="574"/>
                    </a:lnTo>
                    <a:lnTo>
                      <a:pt x="871" y="579"/>
                    </a:lnTo>
                    <a:lnTo>
                      <a:pt x="869" y="577"/>
                    </a:lnTo>
                    <a:lnTo>
                      <a:pt x="868" y="575"/>
                    </a:lnTo>
                    <a:lnTo>
                      <a:pt x="868" y="572"/>
                    </a:lnTo>
                    <a:lnTo>
                      <a:pt x="867" y="569"/>
                    </a:lnTo>
                    <a:lnTo>
                      <a:pt x="866" y="567"/>
                    </a:lnTo>
                    <a:lnTo>
                      <a:pt x="864" y="565"/>
                    </a:lnTo>
                    <a:lnTo>
                      <a:pt x="864" y="564"/>
                    </a:lnTo>
                    <a:lnTo>
                      <a:pt x="861" y="561"/>
                    </a:lnTo>
                    <a:lnTo>
                      <a:pt x="860" y="561"/>
                    </a:lnTo>
                    <a:lnTo>
                      <a:pt x="859" y="556"/>
                    </a:lnTo>
                    <a:lnTo>
                      <a:pt x="858" y="554"/>
                    </a:lnTo>
                    <a:lnTo>
                      <a:pt x="856" y="552"/>
                    </a:lnTo>
                    <a:lnTo>
                      <a:pt x="855" y="549"/>
                    </a:lnTo>
                    <a:lnTo>
                      <a:pt x="853" y="548"/>
                    </a:lnTo>
                    <a:lnTo>
                      <a:pt x="851" y="549"/>
                    </a:lnTo>
                    <a:lnTo>
                      <a:pt x="847" y="558"/>
                    </a:lnTo>
                    <a:lnTo>
                      <a:pt x="845" y="559"/>
                    </a:lnTo>
                    <a:lnTo>
                      <a:pt x="843" y="560"/>
                    </a:lnTo>
                    <a:lnTo>
                      <a:pt x="844" y="562"/>
                    </a:lnTo>
                    <a:lnTo>
                      <a:pt x="846" y="565"/>
                    </a:lnTo>
                    <a:lnTo>
                      <a:pt x="847" y="566"/>
                    </a:lnTo>
                    <a:lnTo>
                      <a:pt x="848" y="567"/>
                    </a:lnTo>
                    <a:lnTo>
                      <a:pt x="849" y="570"/>
                    </a:lnTo>
                    <a:lnTo>
                      <a:pt x="849" y="572"/>
                    </a:lnTo>
                    <a:lnTo>
                      <a:pt x="846" y="573"/>
                    </a:lnTo>
                    <a:lnTo>
                      <a:pt x="846" y="575"/>
                    </a:lnTo>
                    <a:lnTo>
                      <a:pt x="846" y="577"/>
                    </a:lnTo>
                    <a:lnTo>
                      <a:pt x="847" y="580"/>
                    </a:lnTo>
                    <a:lnTo>
                      <a:pt x="847" y="583"/>
                    </a:lnTo>
                    <a:lnTo>
                      <a:pt x="846" y="585"/>
                    </a:lnTo>
                    <a:lnTo>
                      <a:pt x="849" y="586"/>
                    </a:lnTo>
                    <a:lnTo>
                      <a:pt x="851" y="585"/>
                    </a:lnTo>
                    <a:lnTo>
                      <a:pt x="852" y="583"/>
                    </a:lnTo>
                    <a:lnTo>
                      <a:pt x="851" y="579"/>
                    </a:lnTo>
                    <a:lnTo>
                      <a:pt x="853" y="580"/>
                    </a:lnTo>
                    <a:lnTo>
                      <a:pt x="854" y="581"/>
                    </a:lnTo>
                    <a:lnTo>
                      <a:pt x="856" y="583"/>
                    </a:lnTo>
                    <a:lnTo>
                      <a:pt x="856" y="584"/>
                    </a:lnTo>
                    <a:lnTo>
                      <a:pt x="858" y="584"/>
                    </a:lnTo>
                    <a:lnTo>
                      <a:pt x="858" y="586"/>
                    </a:lnTo>
                    <a:lnTo>
                      <a:pt x="860" y="587"/>
                    </a:lnTo>
                    <a:lnTo>
                      <a:pt x="864" y="588"/>
                    </a:lnTo>
                    <a:lnTo>
                      <a:pt x="866" y="591"/>
                    </a:lnTo>
                    <a:lnTo>
                      <a:pt x="867" y="593"/>
                    </a:lnTo>
                    <a:lnTo>
                      <a:pt x="869" y="597"/>
                    </a:lnTo>
                    <a:lnTo>
                      <a:pt x="869" y="599"/>
                    </a:lnTo>
                    <a:lnTo>
                      <a:pt x="865" y="602"/>
                    </a:lnTo>
                    <a:lnTo>
                      <a:pt x="867" y="611"/>
                    </a:lnTo>
                    <a:lnTo>
                      <a:pt x="871" y="620"/>
                    </a:lnTo>
                    <a:lnTo>
                      <a:pt x="874" y="627"/>
                    </a:lnTo>
                    <a:lnTo>
                      <a:pt x="885" y="638"/>
                    </a:lnTo>
                    <a:lnTo>
                      <a:pt x="888" y="645"/>
                    </a:lnTo>
                    <a:lnTo>
                      <a:pt x="890" y="654"/>
                    </a:lnTo>
                    <a:lnTo>
                      <a:pt x="889" y="654"/>
                    </a:lnTo>
                    <a:lnTo>
                      <a:pt x="886" y="645"/>
                    </a:lnTo>
                    <a:lnTo>
                      <a:pt x="885" y="645"/>
                    </a:lnTo>
                    <a:lnTo>
                      <a:pt x="883" y="644"/>
                    </a:lnTo>
                    <a:lnTo>
                      <a:pt x="881" y="643"/>
                    </a:lnTo>
                    <a:lnTo>
                      <a:pt x="879" y="641"/>
                    </a:lnTo>
                    <a:lnTo>
                      <a:pt x="877" y="638"/>
                    </a:lnTo>
                    <a:lnTo>
                      <a:pt x="874" y="636"/>
                    </a:lnTo>
                    <a:lnTo>
                      <a:pt x="871" y="636"/>
                    </a:lnTo>
                    <a:lnTo>
                      <a:pt x="871" y="639"/>
                    </a:lnTo>
                    <a:lnTo>
                      <a:pt x="872" y="642"/>
                    </a:lnTo>
                    <a:lnTo>
                      <a:pt x="877" y="645"/>
                    </a:lnTo>
                    <a:lnTo>
                      <a:pt x="878" y="647"/>
                    </a:lnTo>
                    <a:lnTo>
                      <a:pt x="879" y="645"/>
                    </a:lnTo>
                    <a:lnTo>
                      <a:pt x="880" y="645"/>
                    </a:lnTo>
                    <a:lnTo>
                      <a:pt x="886" y="658"/>
                    </a:lnTo>
                    <a:lnTo>
                      <a:pt x="906" y="683"/>
                    </a:lnTo>
                    <a:lnTo>
                      <a:pt x="909" y="686"/>
                    </a:lnTo>
                    <a:lnTo>
                      <a:pt x="909" y="683"/>
                    </a:lnTo>
                    <a:lnTo>
                      <a:pt x="909" y="681"/>
                    </a:lnTo>
                    <a:lnTo>
                      <a:pt x="908" y="678"/>
                    </a:lnTo>
                    <a:lnTo>
                      <a:pt x="909" y="677"/>
                    </a:lnTo>
                    <a:lnTo>
                      <a:pt x="911" y="676"/>
                    </a:lnTo>
                    <a:lnTo>
                      <a:pt x="912" y="677"/>
                    </a:lnTo>
                    <a:lnTo>
                      <a:pt x="913" y="681"/>
                    </a:lnTo>
                    <a:lnTo>
                      <a:pt x="915" y="683"/>
                    </a:lnTo>
                    <a:lnTo>
                      <a:pt x="916" y="685"/>
                    </a:lnTo>
                    <a:lnTo>
                      <a:pt x="919" y="687"/>
                    </a:lnTo>
                    <a:lnTo>
                      <a:pt x="924" y="689"/>
                    </a:lnTo>
                    <a:lnTo>
                      <a:pt x="926" y="691"/>
                    </a:lnTo>
                    <a:lnTo>
                      <a:pt x="930" y="699"/>
                    </a:lnTo>
                    <a:lnTo>
                      <a:pt x="928" y="700"/>
                    </a:lnTo>
                    <a:lnTo>
                      <a:pt x="931" y="703"/>
                    </a:lnTo>
                    <a:lnTo>
                      <a:pt x="932" y="708"/>
                    </a:lnTo>
                    <a:lnTo>
                      <a:pt x="934" y="714"/>
                    </a:lnTo>
                    <a:lnTo>
                      <a:pt x="935" y="717"/>
                    </a:lnTo>
                    <a:lnTo>
                      <a:pt x="935" y="720"/>
                    </a:lnTo>
                    <a:lnTo>
                      <a:pt x="934" y="724"/>
                    </a:lnTo>
                    <a:lnTo>
                      <a:pt x="934" y="726"/>
                    </a:lnTo>
                    <a:lnTo>
                      <a:pt x="934" y="729"/>
                    </a:lnTo>
                    <a:lnTo>
                      <a:pt x="936" y="731"/>
                    </a:lnTo>
                    <a:lnTo>
                      <a:pt x="937" y="735"/>
                    </a:lnTo>
                    <a:lnTo>
                      <a:pt x="939" y="739"/>
                    </a:lnTo>
                    <a:lnTo>
                      <a:pt x="939" y="742"/>
                    </a:lnTo>
                    <a:lnTo>
                      <a:pt x="939" y="750"/>
                    </a:lnTo>
                    <a:lnTo>
                      <a:pt x="939" y="758"/>
                    </a:lnTo>
                    <a:lnTo>
                      <a:pt x="941" y="761"/>
                    </a:lnTo>
                    <a:lnTo>
                      <a:pt x="943" y="764"/>
                    </a:lnTo>
                    <a:lnTo>
                      <a:pt x="945" y="760"/>
                    </a:lnTo>
                    <a:lnTo>
                      <a:pt x="948" y="764"/>
                    </a:lnTo>
                    <a:lnTo>
                      <a:pt x="954" y="770"/>
                    </a:lnTo>
                    <a:lnTo>
                      <a:pt x="955" y="773"/>
                    </a:lnTo>
                    <a:lnTo>
                      <a:pt x="958" y="775"/>
                    </a:lnTo>
                    <a:lnTo>
                      <a:pt x="961" y="788"/>
                    </a:lnTo>
                    <a:lnTo>
                      <a:pt x="966" y="790"/>
                    </a:lnTo>
                    <a:lnTo>
                      <a:pt x="969" y="794"/>
                    </a:lnTo>
                    <a:lnTo>
                      <a:pt x="970" y="801"/>
                    </a:lnTo>
                    <a:lnTo>
                      <a:pt x="970" y="813"/>
                    </a:lnTo>
                    <a:lnTo>
                      <a:pt x="971" y="814"/>
                    </a:lnTo>
                    <a:lnTo>
                      <a:pt x="973" y="818"/>
                    </a:lnTo>
                    <a:lnTo>
                      <a:pt x="975" y="820"/>
                    </a:lnTo>
                    <a:lnTo>
                      <a:pt x="977" y="822"/>
                    </a:lnTo>
                    <a:lnTo>
                      <a:pt x="979" y="822"/>
                    </a:lnTo>
                    <a:lnTo>
                      <a:pt x="983" y="819"/>
                    </a:lnTo>
                    <a:lnTo>
                      <a:pt x="994" y="839"/>
                    </a:lnTo>
                    <a:lnTo>
                      <a:pt x="1003" y="848"/>
                    </a:lnTo>
                    <a:lnTo>
                      <a:pt x="1011" y="851"/>
                    </a:lnTo>
                    <a:lnTo>
                      <a:pt x="1021" y="853"/>
                    </a:lnTo>
                    <a:lnTo>
                      <a:pt x="1030" y="853"/>
                    </a:lnTo>
                    <a:lnTo>
                      <a:pt x="1039" y="850"/>
                    </a:lnTo>
                    <a:lnTo>
                      <a:pt x="1051" y="841"/>
                    </a:lnTo>
                    <a:lnTo>
                      <a:pt x="1051" y="843"/>
                    </a:lnTo>
                    <a:lnTo>
                      <a:pt x="1059" y="841"/>
                    </a:lnTo>
                    <a:lnTo>
                      <a:pt x="1061" y="843"/>
                    </a:lnTo>
                    <a:lnTo>
                      <a:pt x="1063" y="844"/>
                    </a:lnTo>
                    <a:lnTo>
                      <a:pt x="1064" y="845"/>
                    </a:lnTo>
                    <a:lnTo>
                      <a:pt x="1066" y="843"/>
                    </a:lnTo>
                    <a:lnTo>
                      <a:pt x="1067" y="845"/>
                    </a:lnTo>
                    <a:lnTo>
                      <a:pt x="1066" y="847"/>
                    </a:lnTo>
                    <a:lnTo>
                      <a:pt x="1065" y="848"/>
                    </a:lnTo>
                    <a:lnTo>
                      <a:pt x="1063" y="850"/>
                    </a:lnTo>
                    <a:lnTo>
                      <a:pt x="1063" y="851"/>
                    </a:lnTo>
                    <a:lnTo>
                      <a:pt x="1065" y="854"/>
                    </a:lnTo>
                    <a:lnTo>
                      <a:pt x="1064" y="860"/>
                    </a:lnTo>
                    <a:lnTo>
                      <a:pt x="1065" y="861"/>
                    </a:lnTo>
                    <a:lnTo>
                      <a:pt x="1068" y="860"/>
                    </a:lnTo>
                    <a:lnTo>
                      <a:pt x="1070" y="858"/>
                    </a:lnTo>
                    <a:lnTo>
                      <a:pt x="1075" y="850"/>
                    </a:lnTo>
                    <a:lnTo>
                      <a:pt x="1077" y="848"/>
                    </a:lnTo>
                    <a:lnTo>
                      <a:pt x="1080" y="846"/>
                    </a:lnTo>
                    <a:lnTo>
                      <a:pt x="1081" y="844"/>
                    </a:lnTo>
                    <a:lnTo>
                      <a:pt x="1081" y="840"/>
                    </a:lnTo>
                    <a:lnTo>
                      <a:pt x="1083" y="841"/>
                    </a:lnTo>
                    <a:lnTo>
                      <a:pt x="1086" y="842"/>
                    </a:lnTo>
                    <a:lnTo>
                      <a:pt x="1089" y="842"/>
                    </a:lnTo>
                    <a:lnTo>
                      <a:pt x="1089" y="844"/>
                    </a:lnTo>
                    <a:lnTo>
                      <a:pt x="1091" y="847"/>
                    </a:lnTo>
                    <a:lnTo>
                      <a:pt x="1093" y="847"/>
                    </a:lnTo>
                    <a:lnTo>
                      <a:pt x="1096" y="847"/>
                    </a:lnTo>
                    <a:lnTo>
                      <a:pt x="1098" y="849"/>
                    </a:lnTo>
                    <a:lnTo>
                      <a:pt x="1098" y="850"/>
                    </a:lnTo>
                    <a:lnTo>
                      <a:pt x="1095" y="851"/>
                    </a:lnTo>
                    <a:lnTo>
                      <a:pt x="1091" y="852"/>
                    </a:lnTo>
                    <a:lnTo>
                      <a:pt x="1089" y="854"/>
                    </a:lnTo>
                    <a:lnTo>
                      <a:pt x="1088" y="857"/>
                    </a:lnTo>
                    <a:lnTo>
                      <a:pt x="1087" y="857"/>
                    </a:lnTo>
                    <a:lnTo>
                      <a:pt x="1083" y="861"/>
                    </a:lnTo>
                    <a:lnTo>
                      <a:pt x="1082" y="863"/>
                    </a:lnTo>
                    <a:lnTo>
                      <a:pt x="1082" y="866"/>
                    </a:lnTo>
                    <a:lnTo>
                      <a:pt x="1081" y="866"/>
                    </a:lnTo>
                    <a:lnTo>
                      <a:pt x="1071" y="874"/>
                    </a:lnTo>
                    <a:lnTo>
                      <a:pt x="1068" y="877"/>
                    </a:lnTo>
                    <a:lnTo>
                      <a:pt x="1067" y="880"/>
                    </a:lnTo>
                    <a:lnTo>
                      <a:pt x="1066" y="881"/>
                    </a:lnTo>
                    <a:lnTo>
                      <a:pt x="1066" y="883"/>
                    </a:lnTo>
                    <a:lnTo>
                      <a:pt x="1065" y="888"/>
                    </a:lnTo>
                    <a:lnTo>
                      <a:pt x="1065" y="889"/>
                    </a:lnTo>
                    <a:lnTo>
                      <a:pt x="1065" y="892"/>
                    </a:lnTo>
                    <a:lnTo>
                      <a:pt x="1064" y="893"/>
                    </a:lnTo>
                    <a:lnTo>
                      <a:pt x="1062" y="893"/>
                    </a:lnTo>
                    <a:lnTo>
                      <a:pt x="1061" y="894"/>
                    </a:lnTo>
                    <a:lnTo>
                      <a:pt x="1061" y="897"/>
                    </a:lnTo>
                    <a:lnTo>
                      <a:pt x="1061" y="899"/>
                    </a:lnTo>
                    <a:lnTo>
                      <a:pt x="1062" y="900"/>
                    </a:lnTo>
                    <a:lnTo>
                      <a:pt x="1072" y="901"/>
                    </a:lnTo>
                    <a:lnTo>
                      <a:pt x="1076" y="900"/>
                    </a:lnTo>
                    <a:lnTo>
                      <a:pt x="1078" y="899"/>
                    </a:lnTo>
                    <a:lnTo>
                      <a:pt x="1080" y="897"/>
                    </a:lnTo>
                    <a:lnTo>
                      <a:pt x="1081" y="897"/>
                    </a:lnTo>
                    <a:lnTo>
                      <a:pt x="1083" y="897"/>
                    </a:lnTo>
                    <a:lnTo>
                      <a:pt x="1095" y="899"/>
                    </a:lnTo>
                    <a:lnTo>
                      <a:pt x="1097" y="901"/>
                    </a:lnTo>
                    <a:lnTo>
                      <a:pt x="1103" y="907"/>
                    </a:lnTo>
                    <a:lnTo>
                      <a:pt x="1110" y="909"/>
                    </a:lnTo>
                    <a:lnTo>
                      <a:pt x="1111" y="916"/>
                    </a:lnTo>
                    <a:lnTo>
                      <a:pt x="1111" y="920"/>
                    </a:lnTo>
                    <a:lnTo>
                      <a:pt x="1111" y="933"/>
                    </a:lnTo>
                    <a:lnTo>
                      <a:pt x="1112" y="937"/>
                    </a:lnTo>
                    <a:lnTo>
                      <a:pt x="1114" y="942"/>
                    </a:lnTo>
                    <a:lnTo>
                      <a:pt x="1150" y="988"/>
                    </a:lnTo>
                    <a:lnTo>
                      <a:pt x="1176" y="1022"/>
                    </a:lnTo>
                    <a:lnTo>
                      <a:pt x="1185" y="1034"/>
                    </a:lnTo>
                    <a:lnTo>
                      <a:pt x="1219" y="1079"/>
                    </a:lnTo>
                    <a:lnTo>
                      <a:pt x="1237" y="1102"/>
                    </a:lnTo>
                    <a:lnTo>
                      <a:pt x="1263" y="1136"/>
                    </a:lnTo>
                    <a:lnTo>
                      <a:pt x="1272" y="1148"/>
                    </a:lnTo>
                    <a:lnTo>
                      <a:pt x="1275" y="1150"/>
                    </a:lnTo>
                    <a:lnTo>
                      <a:pt x="1279" y="1152"/>
                    </a:lnTo>
                    <a:lnTo>
                      <a:pt x="1353" y="1161"/>
                    </a:lnTo>
                    <a:lnTo>
                      <a:pt x="1469" y="1177"/>
                    </a:lnTo>
                    <a:lnTo>
                      <a:pt x="1539" y="1186"/>
                    </a:lnTo>
                    <a:lnTo>
                      <a:pt x="1586" y="1193"/>
                    </a:lnTo>
                    <a:lnTo>
                      <a:pt x="1609" y="1195"/>
                    </a:lnTo>
                    <a:lnTo>
                      <a:pt x="1655" y="1201"/>
                    </a:lnTo>
                    <a:lnTo>
                      <a:pt x="1701" y="1208"/>
                    </a:lnTo>
                    <a:lnTo>
                      <a:pt x="1704" y="1208"/>
                    </a:lnTo>
                    <a:lnTo>
                      <a:pt x="1714" y="1193"/>
                    </a:lnTo>
                    <a:lnTo>
                      <a:pt x="1739" y="1233"/>
                    </a:lnTo>
                    <a:lnTo>
                      <a:pt x="1766" y="1278"/>
                    </a:lnTo>
                    <a:lnTo>
                      <a:pt x="1789" y="1316"/>
                    </a:lnTo>
                    <a:lnTo>
                      <a:pt x="1790" y="1320"/>
                    </a:lnTo>
                    <a:lnTo>
                      <a:pt x="1790" y="1324"/>
                    </a:lnTo>
                    <a:lnTo>
                      <a:pt x="1783" y="1347"/>
                    </a:lnTo>
                    <a:lnTo>
                      <a:pt x="1774" y="1376"/>
                    </a:lnTo>
                    <a:lnTo>
                      <a:pt x="1760" y="1421"/>
                    </a:lnTo>
                    <a:lnTo>
                      <a:pt x="1744" y="1476"/>
                    </a:lnTo>
                    <a:lnTo>
                      <a:pt x="1734" y="1506"/>
                    </a:lnTo>
                    <a:lnTo>
                      <a:pt x="1708" y="1590"/>
                    </a:lnTo>
                    <a:lnTo>
                      <a:pt x="1694" y="1635"/>
                    </a:lnTo>
                    <a:lnTo>
                      <a:pt x="1690" y="1650"/>
                    </a:lnTo>
                    <a:lnTo>
                      <a:pt x="1680" y="1681"/>
                    </a:lnTo>
                    <a:lnTo>
                      <a:pt x="1626" y="1700"/>
                    </a:lnTo>
                    <a:lnTo>
                      <a:pt x="1541" y="1730"/>
                    </a:lnTo>
                    <a:lnTo>
                      <a:pt x="1483" y="1750"/>
                    </a:lnTo>
                    <a:lnTo>
                      <a:pt x="1455" y="1761"/>
                    </a:lnTo>
                    <a:lnTo>
                      <a:pt x="1398" y="1781"/>
                    </a:lnTo>
                    <a:lnTo>
                      <a:pt x="1368" y="1791"/>
                    </a:lnTo>
                    <a:lnTo>
                      <a:pt x="1311" y="1811"/>
                    </a:lnTo>
                    <a:lnTo>
                      <a:pt x="1283" y="1822"/>
                    </a:lnTo>
                    <a:lnTo>
                      <a:pt x="1225" y="1841"/>
                    </a:lnTo>
                    <a:lnTo>
                      <a:pt x="1197" y="1852"/>
                    </a:lnTo>
                    <a:lnTo>
                      <a:pt x="1178" y="1858"/>
                    </a:lnTo>
                    <a:lnTo>
                      <a:pt x="1098" y="1870"/>
                    </a:lnTo>
                    <a:lnTo>
                      <a:pt x="991" y="1886"/>
                    </a:lnTo>
                    <a:lnTo>
                      <a:pt x="964" y="1889"/>
                    </a:lnTo>
                    <a:lnTo>
                      <a:pt x="938" y="1893"/>
                    </a:lnTo>
                    <a:lnTo>
                      <a:pt x="884" y="1901"/>
                    </a:lnTo>
                    <a:lnTo>
                      <a:pt x="857" y="1904"/>
                    </a:lnTo>
                    <a:lnTo>
                      <a:pt x="723" y="1924"/>
                    </a:lnTo>
                    <a:lnTo>
                      <a:pt x="701" y="1926"/>
                    </a:lnTo>
                    <a:lnTo>
                      <a:pt x="686" y="1932"/>
                    </a:lnTo>
                    <a:lnTo>
                      <a:pt x="654" y="1948"/>
                    </a:lnTo>
                    <a:lnTo>
                      <a:pt x="593" y="1979"/>
                    </a:lnTo>
                    <a:lnTo>
                      <a:pt x="544" y="2006"/>
                    </a:lnTo>
                    <a:lnTo>
                      <a:pt x="540" y="2008"/>
                    </a:lnTo>
                    <a:lnTo>
                      <a:pt x="526" y="2024"/>
                    </a:lnTo>
                    <a:lnTo>
                      <a:pt x="511" y="2044"/>
                    </a:lnTo>
                    <a:lnTo>
                      <a:pt x="486" y="2077"/>
                    </a:lnTo>
                    <a:lnTo>
                      <a:pt x="444" y="2129"/>
                    </a:lnTo>
                    <a:lnTo>
                      <a:pt x="442" y="2135"/>
                    </a:lnTo>
                    <a:lnTo>
                      <a:pt x="422" y="2188"/>
                    </a:lnTo>
                    <a:lnTo>
                      <a:pt x="417" y="2194"/>
                    </a:lnTo>
                    <a:lnTo>
                      <a:pt x="417" y="2194"/>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sp>
            <p:nvSpPr>
              <p:cNvPr id="339" name="Freeform 9">
                <a:extLst>
                  <a:ext uri="{FF2B5EF4-FFF2-40B4-BE49-F238E27FC236}"/>
                </a:extLst>
              </p:cNvPr>
              <p:cNvSpPr>
                <a:spLocks/>
              </p:cNvSpPr>
              <p:nvPr/>
            </p:nvSpPr>
            <p:spPr bwMode="auto">
              <a:xfrm>
                <a:off x="2284413" y="3302000"/>
                <a:ext cx="1411288" cy="1439863"/>
              </a:xfrm>
              <a:custGeom>
                <a:avLst/>
                <a:gdLst>
                  <a:gd name="T0" fmla="*/ 504 w 889"/>
                  <a:gd name="T1" fmla="*/ 179 h 907"/>
                  <a:gd name="T2" fmla="*/ 526 w 889"/>
                  <a:gd name="T3" fmla="*/ 196 h 907"/>
                  <a:gd name="T4" fmla="*/ 531 w 889"/>
                  <a:gd name="T5" fmla="*/ 320 h 907"/>
                  <a:gd name="T6" fmla="*/ 546 w 889"/>
                  <a:gd name="T7" fmla="*/ 389 h 907"/>
                  <a:gd name="T8" fmla="*/ 638 w 889"/>
                  <a:gd name="T9" fmla="*/ 371 h 907"/>
                  <a:gd name="T10" fmla="*/ 674 w 889"/>
                  <a:gd name="T11" fmla="*/ 340 h 907"/>
                  <a:gd name="T12" fmla="*/ 808 w 889"/>
                  <a:gd name="T13" fmla="*/ 357 h 907"/>
                  <a:gd name="T14" fmla="*/ 818 w 889"/>
                  <a:gd name="T15" fmla="*/ 433 h 907"/>
                  <a:gd name="T16" fmla="*/ 866 w 889"/>
                  <a:gd name="T17" fmla="*/ 494 h 907"/>
                  <a:gd name="T18" fmla="*/ 884 w 889"/>
                  <a:gd name="T19" fmla="*/ 539 h 907"/>
                  <a:gd name="T20" fmla="*/ 875 w 889"/>
                  <a:gd name="T21" fmla="*/ 578 h 907"/>
                  <a:gd name="T22" fmla="*/ 829 w 889"/>
                  <a:gd name="T23" fmla="*/ 645 h 907"/>
                  <a:gd name="T24" fmla="*/ 830 w 889"/>
                  <a:gd name="T25" fmla="*/ 690 h 907"/>
                  <a:gd name="T26" fmla="*/ 752 w 889"/>
                  <a:gd name="T27" fmla="*/ 745 h 907"/>
                  <a:gd name="T28" fmla="*/ 776 w 889"/>
                  <a:gd name="T29" fmla="*/ 780 h 907"/>
                  <a:gd name="T30" fmla="*/ 654 w 889"/>
                  <a:gd name="T31" fmla="*/ 884 h 907"/>
                  <a:gd name="T32" fmla="*/ 583 w 889"/>
                  <a:gd name="T33" fmla="*/ 903 h 907"/>
                  <a:gd name="T34" fmla="*/ 550 w 889"/>
                  <a:gd name="T35" fmla="*/ 899 h 907"/>
                  <a:gd name="T36" fmla="*/ 547 w 889"/>
                  <a:gd name="T37" fmla="*/ 862 h 907"/>
                  <a:gd name="T38" fmla="*/ 519 w 889"/>
                  <a:gd name="T39" fmla="*/ 839 h 907"/>
                  <a:gd name="T40" fmla="*/ 524 w 889"/>
                  <a:gd name="T41" fmla="*/ 787 h 907"/>
                  <a:gd name="T42" fmla="*/ 446 w 889"/>
                  <a:gd name="T43" fmla="*/ 790 h 907"/>
                  <a:gd name="T44" fmla="*/ 402 w 889"/>
                  <a:gd name="T45" fmla="*/ 781 h 907"/>
                  <a:gd name="T46" fmla="*/ 349 w 889"/>
                  <a:gd name="T47" fmla="*/ 732 h 907"/>
                  <a:gd name="T48" fmla="*/ 305 w 889"/>
                  <a:gd name="T49" fmla="*/ 716 h 907"/>
                  <a:gd name="T50" fmla="*/ 303 w 889"/>
                  <a:gd name="T51" fmla="*/ 717 h 907"/>
                  <a:gd name="T52" fmla="*/ 281 w 889"/>
                  <a:gd name="T53" fmla="*/ 675 h 907"/>
                  <a:gd name="T54" fmla="*/ 267 w 889"/>
                  <a:gd name="T55" fmla="*/ 657 h 907"/>
                  <a:gd name="T56" fmla="*/ 244 w 889"/>
                  <a:gd name="T57" fmla="*/ 640 h 907"/>
                  <a:gd name="T58" fmla="*/ 217 w 889"/>
                  <a:gd name="T59" fmla="*/ 618 h 907"/>
                  <a:gd name="T60" fmla="*/ 197 w 889"/>
                  <a:gd name="T61" fmla="*/ 602 h 907"/>
                  <a:gd name="T62" fmla="*/ 194 w 889"/>
                  <a:gd name="T63" fmla="*/ 592 h 907"/>
                  <a:gd name="T64" fmla="*/ 187 w 889"/>
                  <a:gd name="T65" fmla="*/ 602 h 907"/>
                  <a:gd name="T66" fmla="*/ 156 w 889"/>
                  <a:gd name="T67" fmla="*/ 582 h 907"/>
                  <a:gd name="T68" fmla="*/ 135 w 889"/>
                  <a:gd name="T69" fmla="*/ 586 h 907"/>
                  <a:gd name="T70" fmla="*/ 106 w 889"/>
                  <a:gd name="T71" fmla="*/ 557 h 907"/>
                  <a:gd name="T72" fmla="*/ 103 w 889"/>
                  <a:gd name="T73" fmla="*/ 519 h 907"/>
                  <a:gd name="T74" fmla="*/ 139 w 889"/>
                  <a:gd name="T75" fmla="*/ 505 h 907"/>
                  <a:gd name="T76" fmla="*/ 171 w 889"/>
                  <a:gd name="T77" fmla="*/ 486 h 907"/>
                  <a:gd name="T78" fmla="*/ 204 w 889"/>
                  <a:gd name="T79" fmla="*/ 470 h 907"/>
                  <a:gd name="T80" fmla="*/ 188 w 889"/>
                  <a:gd name="T81" fmla="*/ 356 h 907"/>
                  <a:gd name="T82" fmla="*/ 163 w 889"/>
                  <a:gd name="T83" fmla="*/ 301 h 907"/>
                  <a:gd name="T84" fmla="*/ 98 w 889"/>
                  <a:gd name="T85" fmla="*/ 240 h 907"/>
                  <a:gd name="T86" fmla="*/ 75 w 889"/>
                  <a:gd name="T87" fmla="*/ 226 h 907"/>
                  <a:gd name="T88" fmla="*/ 80 w 889"/>
                  <a:gd name="T89" fmla="*/ 163 h 907"/>
                  <a:gd name="T90" fmla="*/ 45 w 889"/>
                  <a:gd name="T91" fmla="*/ 135 h 907"/>
                  <a:gd name="T92" fmla="*/ 37 w 889"/>
                  <a:gd name="T93" fmla="*/ 77 h 907"/>
                  <a:gd name="T94" fmla="*/ 22 w 889"/>
                  <a:gd name="T95" fmla="*/ 39 h 907"/>
                  <a:gd name="T96" fmla="*/ 4 w 889"/>
                  <a:gd name="T97" fmla="*/ 30 h 907"/>
                  <a:gd name="T98" fmla="*/ 105 w 889"/>
                  <a:gd name="T99" fmla="*/ 15 h 907"/>
                  <a:gd name="T100" fmla="*/ 165 w 889"/>
                  <a:gd name="T101" fmla="*/ 0 h 907"/>
                  <a:gd name="T102" fmla="*/ 197 w 889"/>
                  <a:gd name="T103" fmla="*/ 59 h 907"/>
                  <a:gd name="T104" fmla="*/ 239 w 889"/>
                  <a:gd name="T105" fmla="*/ 72 h 907"/>
                  <a:gd name="T106" fmla="*/ 257 w 889"/>
                  <a:gd name="T107" fmla="*/ 102 h 907"/>
                  <a:gd name="T108" fmla="*/ 288 w 889"/>
                  <a:gd name="T109" fmla="*/ 96 h 907"/>
                  <a:gd name="T110" fmla="*/ 327 w 889"/>
                  <a:gd name="T111" fmla="*/ 100 h 907"/>
                  <a:gd name="T112" fmla="*/ 339 w 889"/>
                  <a:gd name="T113" fmla="*/ 102 h 907"/>
                  <a:gd name="T114" fmla="*/ 491 w 889"/>
                  <a:gd name="T115" fmla="*/ 124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9" h="907">
                    <a:moveTo>
                      <a:pt x="508" y="138"/>
                    </a:moveTo>
                    <a:lnTo>
                      <a:pt x="511" y="146"/>
                    </a:lnTo>
                    <a:lnTo>
                      <a:pt x="511" y="150"/>
                    </a:lnTo>
                    <a:lnTo>
                      <a:pt x="511" y="154"/>
                    </a:lnTo>
                    <a:lnTo>
                      <a:pt x="511" y="159"/>
                    </a:lnTo>
                    <a:lnTo>
                      <a:pt x="510" y="166"/>
                    </a:lnTo>
                    <a:lnTo>
                      <a:pt x="510" y="168"/>
                    </a:lnTo>
                    <a:lnTo>
                      <a:pt x="504" y="179"/>
                    </a:lnTo>
                    <a:lnTo>
                      <a:pt x="501" y="184"/>
                    </a:lnTo>
                    <a:lnTo>
                      <a:pt x="502" y="189"/>
                    </a:lnTo>
                    <a:lnTo>
                      <a:pt x="504" y="193"/>
                    </a:lnTo>
                    <a:lnTo>
                      <a:pt x="506" y="196"/>
                    </a:lnTo>
                    <a:lnTo>
                      <a:pt x="510" y="198"/>
                    </a:lnTo>
                    <a:lnTo>
                      <a:pt x="514" y="198"/>
                    </a:lnTo>
                    <a:lnTo>
                      <a:pt x="522" y="196"/>
                    </a:lnTo>
                    <a:lnTo>
                      <a:pt x="526" y="196"/>
                    </a:lnTo>
                    <a:lnTo>
                      <a:pt x="529" y="199"/>
                    </a:lnTo>
                    <a:lnTo>
                      <a:pt x="531" y="203"/>
                    </a:lnTo>
                    <a:lnTo>
                      <a:pt x="532" y="207"/>
                    </a:lnTo>
                    <a:lnTo>
                      <a:pt x="522" y="270"/>
                    </a:lnTo>
                    <a:lnTo>
                      <a:pt x="522" y="275"/>
                    </a:lnTo>
                    <a:lnTo>
                      <a:pt x="523" y="280"/>
                    </a:lnTo>
                    <a:lnTo>
                      <a:pt x="528" y="300"/>
                    </a:lnTo>
                    <a:lnTo>
                      <a:pt x="531" y="320"/>
                    </a:lnTo>
                    <a:lnTo>
                      <a:pt x="529" y="368"/>
                    </a:lnTo>
                    <a:lnTo>
                      <a:pt x="531" y="373"/>
                    </a:lnTo>
                    <a:lnTo>
                      <a:pt x="533" y="378"/>
                    </a:lnTo>
                    <a:lnTo>
                      <a:pt x="534" y="381"/>
                    </a:lnTo>
                    <a:lnTo>
                      <a:pt x="537" y="384"/>
                    </a:lnTo>
                    <a:lnTo>
                      <a:pt x="540" y="386"/>
                    </a:lnTo>
                    <a:lnTo>
                      <a:pt x="542" y="387"/>
                    </a:lnTo>
                    <a:lnTo>
                      <a:pt x="546" y="389"/>
                    </a:lnTo>
                    <a:lnTo>
                      <a:pt x="549" y="389"/>
                    </a:lnTo>
                    <a:lnTo>
                      <a:pt x="554" y="389"/>
                    </a:lnTo>
                    <a:lnTo>
                      <a:pt x="557" y="389"/>
                    </a:lnTo>
                    <a:lnTo>
                      <a:pt x="599" y="373"/>
                    </a:lnTo>
                    <a:lnTo>
                      <a:pt x="608" y="372"/>
                    </a:lnTo>
                    <a:lnTo>
                      <a:pt x="627" y="373"/>
                    </a:lnTo>
                    <a:lnTo>
                      <a:pt x="634" y="372"/>
                    </a:lnTo>
                    <a:lnTo>
                      <a:pt x="638" y="371"/>
                    </a:lnTo>
                    <a:lnTo>
                      <a:pt x="641" y="370"/>
                    </a:lnTo>
                    <a:lnTo>
                      <a:pt x="644" y="369"/>
                    </a:lnTo>
                    <a:lnTo>
                      <a:pt x="647" y="367"/>
                    </a:lnTo>
                    <a:lnTo>
                      <a:pt x="650" y="366"/>
                    </a:lnTo>
                    <a:lnTo>
                      <a:pt x="653" y="362"/>
                    </a:lnTo>
                    <a:lnTo>
                      <a:pt x="665" y="346"/>
                    </a:lnTo>
                    <a:lnTo>
                      <a:pt x="669" y="343"/>
                    </a:lnTo>
                    <a:lnTo>
                      <a:pt x="674" y="340"/>
                    </a:lnTo>
                    <a:lnTo>
                      <a:pt x="679" y="338"/>
                    </a:lnTo>
                    <a:lnTo>
                      <a:pt x="685" y="337"/>
                    </a:lnTo>
                    <a:lnTo>
                      <a:pt x="713" y="335"/>
                    </a:lnTo>
                    <a:lnTo>
                      <a:pt x="760" y="343"/>
                    </a:lnTo>
                    <a:lnTo>
                      <a:pt x="775" y="347"/>
                    </a:lnTo>
                    <a:lnTo>
                      <a:pt x="778" y="349"/>
                    </a:lnTo>
                    <a:lnTo>
                      <a:pt x="800" y="354"/>
                    </a:lnTo>
                    <a:lnTo>
                      <a:pt x="808" y="357"/>
                    </a:lnTo>
                    <a:lnTo>
                      <a:pt x="811" y="358"/>
                    </a:lnTo>
                    <a:lnTo>
                      <a:pt x="813" y="363"/>
                    </a:lnTo>
                    <a:lnTo>
                      <a:pt x="815" y="367"/>
                    </a:lnTo>
                    <a:lnTo>
                      <a:pt x="815" y="372"/>
                    </a:lnTo>
                    <a:lnTo>
                      <a:pt x="813" y="419"/>
                    </a:lnTo>
                    <a:lnTo>
                      <a:pt x="813" y="424"/>
                    </a:lnTo>
                    <a:lnTo>
                      <a:pt x="814" y="427"/>
                    </a:lnTo>
                    <a:lnTo>
                      <a:pt x="818" y="433"/>
                    </a:lnTo>
                    <a:lnTo>
                      <a:pt x="821" y="436"/>
                    </a:lnTo>
                    <a:lnTo>
                      <a:pt x="826" y="438"/>
                    </a:lnTo>
                    <a:lnTo>
                      <a:pt x="847" y="444"/>
                    </a:lnTo>
                    <a:lnTo>
                      <a:pt x="850" y="445"/>
                    </a:lnTo>
                    <a:lnTo>
                      <a:pt x="852" y="447"/>
                    </a:lnTo>
                    <a:lnTo>
                      <a:pt x="855" y="452"/>
                    </a:lnTo>
                    <a:lnTo>
                      <a:pt x="858" y="459"/>
                    </a:lnTo>
                    <a:lnTo>
                      <a:pt x="866" y="494"/>
                    </a:lnTo>
                    <a:lnTo>
                      <a:pt x="870" y="502"/>
                    </a:lnTo>
                    <a:lnTo>
                      <a:pt x="872" y="505"/>
                    </a:lnTo>
                    <a:lnTo>
                      <a:pt x="874" y="508"/>
                    </a:lnTo>
                    <a:lnTo>
                      <a:pt x="889" y="518"/>
                    </a:lnTo>
                    <a:lnTo>
                      <a:pt x="889" y="525"/>
                    </a:lnTo>
                    <a:lnTo>
                      <a:pt x="888" y="533"/>
                    </a:lnTo>
                    <a:lnTo>
                      <a:pt x="885" y="539"/>
                    </a:lnTo>
                    <a:lnTo>
                      <a:pt x="884" y="539"/>
                    </a:lnTo>
                    <a:lnTo>
                      <a:pt x="877" y="549"/>
                    </a:lnTo>
                    <a:lnTo>
                      <a:pt x="874" y="554"/>
                    </a:lnTo>
                    <a:lnTo>
                      <a:pt x="873" y="556"/>
                    </a:lnTo>
                    <a:lnTo>
                      <a:pt x="873" y="559"/>
                    </a:lnTo>
                    <a:lnTo>
                      <a:pt x="873" y="561"/>
                    </a:lnTo>
                    <a:lnTo>
                      <a:pt x="875" y="567"/>
                    </a:lnTo>
                    <a:lnTo>
                      <a:pt x="876" y="571"/>
                    </a:lnTo>
                    <a:lnTo>
                      <a:pt x="875" y="578"/>
                    </a:lnTo>
                    <a:lnTo>
                      <a:pt x="873" y="592"/>
                    </a:lnTo>
                    <a:lnTo>
                      <a:pt x="870" y="624"/>
                    </a:lnTo>
                    <a:lnTo>
                      <a:pt x="871" y="640"/>
                    </a:lnTo>
                    <a:lnTo>
                      <a:pt x="849" y="637"/>
                    </a:lnTo>
                    <a:lnTo>
                      <a:pt x="838" y="638"/>
                    </a:lnTo>
                    <a:lnTo>
                      <a:pt x="835" y="640"/>
                    </a:lnTo>
                    <a:lnTo>
                      <a:pt x="831" y="641"/>
                    </a:lnTo>
                    <a:lnTo>
                      <a:pt x="829" y="645"/>
                    </a:lnTo>
                    <a:lnTo>
                      <a:pt x="828" y="648"/>
                    </a:lnTo>
                    <a:lnTo>
                      <a:pt x="828" y="653"/>
                    </a:lnTo>
                    <a:lnTo>
                      <a:pt x="833" y="664"/>
                    </a:lnTo>
                    <a:lnTo>
                      <a:pt x="834" y="669"/>
                    </a:lnTo>
                    <a:lnTo>
                      <a:pt x="834" y="672"/>
                    </a:lnTo>
                    <a:lnTo>
                      <a:pt x="834" y="680"/>
                    </a:lnTo>
                    <a:lnTo>
                      <a:pt x="833" y="686"/>
                    </a:lnTo>
                    <a:lnTo>
                      <a:pt x="830" y="690"/>
                    </a:lnTo>
                    <a:lnTo>
                      <a:pt x="826" y="697"/>
                    </a:lnTo>
                    <a:lnTo>
                      <a:pt x="821" y="701"/>
                    </a:lnTo>
                    <a:lnTo>
                      <a:pt x="818" y="704"/>
                    </a:lnTo>
                    <a:lnTo>
                      <a:pt x="788" y="717"/>
                    </a:lnTo>
                    <a:lnTo>
                      <a:pt x="766" y="730"/>
                    </a:lnTo>
                    <a:lnTo>
                      <a:pt x="759" y="735"/>
                    </a:lnTo>
                    <a:lnTo>
                      <a:pt x="753" y="740"/>
                    </a:lnTo>
                    <a:lnTo>
                      <a:pt x="752" y="745"/>
                    </a:lnTo>
                    <a:lnTo>
                      <a:pt x="753" y="749"/>
                    </a:lnTo>
                    <a:lnTo>
                      <a:pt x="756" y="752"/>
                    </a:lnTo>
                    <a:lnTo>
                      <a:pt x="760" y="754"/>
                    </a:lnTo>
                    <a:lnTo>
                      <a:pt x="778" y="765"/>
                    </a:lnTo>
                    <a:lnTo>
                      <a:pt x="781" y="768"/>
                    </a:lnTo>
                    <a:lnTo>
                      <a:pt x="782" y="771"/>
                    </a:lnTo>
                    <a:lnTo>
                      <a:pt x="780" y="777"/>
                    </a:lnTo>
                    <a:lnTo>
                      <a:pt x="776" y="780"/>
                    </a:lnTo>
                    <a:lnTo>
                      <a:pt x="773" y="783"/>
                    </a:lnTo>
                    <a:lnTo>
                      <a:pt x="753" y="790"/>
                    </a:lnTo>
                    <a:lnTo>
                      <a:pt x="749" y="792"/>
                    </a:lnTo>
                    <a:lnTo>
                      <a:pt x="744" y="797"/>
                    </a:lnTo>
                    <a:lnTo>
                      <a:pt x="720" y="820"/>
                    </a:lnTo>
                    <a:lnTo>
                      <a:pt x="672" y="858"/>
                    </a:lnTo>
                    <a:lnTo>
                      <a:pt x="666" y="866"/>
                    </a:lnTo>
                    <a:lnTo>
                      <a:pt x="654" y="884"/>
                    </a:lnTo>
                    <a:lnTo>
                      <a:pt x="649" y="889"/>
                    </a:lnTo>
                    <a:lnTo>
                      <a:pt x="646" y="891"/>
                    </a:lnTo>
                    <a:lnTo>
                      <a:pt x="642" y="891"/>
                    </a:lnTo>
                    <a:lnTo>
                      <a:pt x="616" y="884"/>
                    </a:lnTo>
                    <a:lnTo>
                      <a:pt x="612" y="883"/>
                    </a:lnTo>
                    <a:lnTo>
                      <a:pt x="607" y="884"/>
                    </a:lnTo>
                    <a:lnTo>
                      <a:pt x="600" y="888"/>
                    </a:lnTo>
                    <a:lnTo>
                      <a:pt x="583" y="903"/>
                    </a:lnTo>
                    <a:lnTo>
                      <a:pt x="579" y="905"/>
                    </a:lnTo>
                    <a:lnTo>
                      <a:pt x="574" y="907"/>
                    </a:lnTo>
                    <a:lnTo>
                      <a:pt x="571" y="907"/>
                    </a:lnTo>
                    <a:lnTo>
                      <a:pt x="567" y="907"/>
                    </a:lnTo>
                    <a:lnTo>
                      <a:pt x="556" y="905"/>
                    </a:lnTo>
                    <a:lnTo>
                      <a:pt x="556" y="905"/>
                    </a:lnTo>
                    <a:lnTo>
                      <a:pt x="552" y="903"/>
                    </a:lnTo>
                    <a:lnTo>
                      <a:pt x="550" y="899"/>
                    </a:lnTo>
                    <a:lnTo>
                      <a:pt x="549" y="896"/>
                    </a:lnTo>
                    <a:lnTo>
                      <a:pt x="549" y="892"/>
                    </a:lnTo>
                    <a:lnTo>
                      <a:pt x="551" y="885"/>
                    </a:lnTo>
                    <a:lnTo>
                      <a:pt x="552" y="877"/>
                    </a:lnTo>
                    <a:lnTo>
                      <a:pt x="552" y="873"/>
                    </a:lnTo>
                    <a:lnTo>
                      <a:pt x="551" y="869"/>
                    </a:lnTo>
                    <a:lnTo>
                      <a:pt x="549" y="866"/>
                    </a:lnTo>
                    <a:lnTo>
                      <a:pt x="547" y="862"/>
                    </a:lnTo>
                    <a:lnTo>
                      <a:pt x="544" y="859"/>
                    </a:lnTo>
                    <a:lnTo>
                      <a:pt x="541" y="857"/>
                    </a:lnTo>
                    <a:lnTo>
                      <a:pt x="536" y="854"/>
                    </a:lnTo>
                    <a:lnTo>
                      <a:pt x="525" y="851"/>
                    </a:lnTo>
                    <a:lnTo>
                      <a:pt x="521" y="850"/>
                    </a:lnTo>
                    <a:lnTo>
                      <a:pt x="519" y="846"/>
                    </a:lnTo>
                    <a:lnTo>
                      <a:pt x="519" y="843"/>
                    </a:lnTo>
                    <a:lnTo>
                      <a:pt x="519" y="839"/>
                    </a:lnTo>
                    <a:lnTo>
                      <a:pt x="529" y="817"/>
                    </a:lnTo>
                    <a:lnTo>
                      <a:pt x="529" y="815"/>
                    </a:lnTo>
                    <a:lnTo>
                      <a:pt x="531" y="806"/>
                    </a:lnTo>
                    <a:lnTo>
                      <a:pt x="531" y="800"/>
                    </a:lnTo>
                    <a:lnTo>
                      <a:pt x="530" y="797"/>
                    </a:lnTo>
                    <a:lnTo>
                      <a:pt x="529" y="793"/>
                    </a:lnTo>
                    <a:lnTo>
                      <a:pt x="527" y="790"/>
                    </a:lnTo>
                    <a:lnTo>
                      <a:pt x="524" y="787"/>
                    </a:lnTo>
                    <a:lnTo>
                      <a:pt x="520" y="786"/>
                    </a:lnTo>
                    <a:lnTo>
                      <a:pt x="517" y="786"/>
                    </a:lnTo>
                    <a:lnTo>
                      <a:pt x="501" y="788"/>
                    </a:lnTo>
                    <a:lnTo>
                      <a:pt x="466" y="799"/>
                    </a:lnTo>
                    <a:lnTo>
                      <a:pt x="452" y="801"/>
                    </a:lnTo>
                    <a:lnTo>
                      <a:pt x="449" y="800"/>
                    </a:lnTo>
                    <a:lnTo>
                      <a:pt x="447" y="797"/>
                    </a:lnTo>
                    <a:lnTo>
                      <a:pt x="446" y="790"/>
                    </a:lnTo>
                    <a:lnTo>
                      <a:pt x="445" y="786"/>
                    </a:lnTo>
                    <a:lnTo>
                      <a:pt x="444" y="783"/>
                    </a:lnTo>
                    <a:lnTo>
                      <a:pt x="441" y="781"/>
                    </a:lnTo>
                    <a:lnTo>
                      <a:pt x="436" y="781"/>
                    </a:lnTo>
                    <a:lnTo>
                      <a:pt x="418" y="785"/>
                    </a:lnTo>
                    <a:lnTo>
                      <a:pt x="411" y="785"/>
                    </a:lnTo>
                    <a:lnTo>
                      <a:pt x="406" y="784"/>
                    </a:lnTo>
                    <a:lnTo>
                      <a:pt x="402" y="781"/>
                    </a:lnTo>
                    <a:lnTo>
                      <a:pt x="398" y="777"/>
                    </a:lnTo>
                    <a:lnTo>
                      <a:pt x="384" y="762"/>
                    </a:lnTo>
                    <a:lnTo>
                      <a:pt x="371" y="750"/>
                    </a:lnTo>
                    <a:lnTo>
                      <a:pt x="369" y="747"/>
                    </a:lnTo>
                    <a:lnTo>
                      <a:pt x="362" y="737"/>
                    </a:lnTo>
                    <a:lnTo>
                      <a:pt x="359" y="733"/>
                    </a:lnTo>
                    <a:lnTo>
                      <a:pt x="354" y="731"/>
                    </a:lnTo>
                    <a:lnTo>
                      <a:pt x="349" y="732"/>
                    </a:lnTo>
                    <a:lnTo>
                      <a:pt x="338" y="735"/>
                    </a:lnTo>
                    <a:lnTo>
                      <a:pt x="316" y="737"/>
                    </a:lnTo>
                    <a:lnTo>
                      <a:pt x="312" y="738"/>
                    </a:lnTo>
                    <a:lnTo>
                      <a:pt x="310" y="729"/>
                    </a:lnTo>
                    <a:lnTo>
                      <a:pt x="309" y="724"/>
                    </a:lnTo>
                    <a:lnTo>
                      <a:pt x="309" y="721"/>
                    </a:lnTo>
                    <a:lnTo>
                      <a:pt x="307" y="718"/>
                    </a:lnTo>
                    <a:lnTo>
                      <a:pt x="305" y="716"/>
                    </a:lnTo>
                    <a:lnTo>
                      <a:pt x="305" y="713"/>
                    </a:lnTo>
                    <a:lnTo>
                      <a:pt x="304" y="710"/>
                    </a:lnTo>
                    <a:lnTo>
                      <a:pt x="301" y="712"/>
                    </a:lnTo>
                    <a:lnTo>
                      <a:pt x="299" y="711"/>
                    </a:lnTo>
                    <a:lnTo>
                      <a:pt x="298" y="711"/>
                    </a:lnTo>
                    <a:lnTo>
                      <a:pt x="298" y="714"/>
                    </a:lnTo>
                    <a:lnTo>
                      <a:pt x="300" y="716"/>
                    </a:lnTo>
                    <a:lnTo>
                      <a:pt x="303" y="717"/>
                    </a:lnTo>
                    <a:lnTo>
                      <a:pt x="303" y="719"/>
                    </a:lnTo>
                    <a:lnTo>
                      <a:pt x="298" y="718"/>
                    </a:lnTo>
                    <a:lnTo>
                      <a:pt x="294" y="715"/>
                    </a:lnTo>
                    <a:lnTo>
                      <a:pt x="294" y="706"/>
                    </a:lnTo>
                    <a:lnTo>
                      <a:pt x="286" y="696"/>
                    </a:lnTo>
                    <a:lnTo>
                      <a:pt x="283" y="684"/>
                    </a:lnTo>
                    <a:lnTo>
                      <a:pt x="282" y="679"/>
                    </a:lnTo>
                    <a:lnTo>
                      <a:pt x="281" y="675"/>
                    </a:lnTo>
                    <a:lnTo>
                      <a:pt x="279" y="671"/>
                    </a:lnTo>
                    <a:lnTo>
                      <a:pt x="277" y="668"/>
                    </a:lnTo>
                    <a:lnTo>
                      <a:pt x="275" y="666"/>
                    </a:lnTo>
                    <a:lnTo>
                      <a:pt x="273" y="666"/>
                    </a:lnTo>
                    <a:lnTo>
                      <a:pt x="271" y="665"/>
                    </a:lnTo>
                    <a:lnTo>
                      <a:pt x="270" y="663"/>
                    </a:lnTo>
                    <a:lnTo>
                      <a:pt x="268" y="661"/>
                    </a:lnTo>
                    <a:lnTo>
                      <a:pt x="267" y="657"/>
                    </a:lnTo>
                    <a:lnTo>
                      <a:pt x="265" y="655"/>
                    </a:lnTo>
                    <a:lnTo>
                      <a:pt x="259" y="654"/>
                    </a:lnTo>
                    <a:lnTo>
                      <a:pt x="257" y="652"/>
                    </a:lnTo>
                    <a:lnTo>
                      <a:pt x="256" y="650"/>
                    </a:lnTo>
                    <a:lnTo>
                      <a:pt x="254" y="648"/>
                    </a:lnTo>
                    <a:lnTo>
                      <a:pt x="251" y="644"/>
                    </a:lnTo>
                    <a:lnTo>
                      <a:pt x="247" y="641"/>
                    </a:lnTo>
                    <a:lnTo>
                      <a:pt x="244" y="640"/>
                    </a:lnTo>
                    <a:lnTo>
                      <a:pt x="241" y="640"/>
                    </a:lnTo>
                    <a:lnTo>
                      <a:pt x="237" y="637"/>
                    </a:lnTo>
                    <a:lnTo>
                      <a:pt x="235" y="635"/>
                    </a:lnTo>
                    <a:lnTo>
                      <a:pt x="232" y="632"/>
                    </a:lnTo>
                    <a:lnTo>
                      <a:pt x="228" y="628"/>
                    </a:lnTo>
                    <a:lnTo>
                      <a:pt x="225" y="625"/>
                    </a:lnTo>
                    <a:lnTo>
                      <a:pt x="222" y="623"/>
                    </a:lnTo>
                    <a:lnTo>
                      <a:pt x="217" y="618"/>
                    </a:lnTo>
                    <a:lnTo>
                      <a:pt x="215" y="617"/>
                    </a:lnTo>
                    <a:lnTo>
                      <a:pt x="211" y="618"/>
                    </a:lnTo>
                    <a:lnTo>
                      <a:pt x="208" y="617"/>
                    </a:lnTo>
                    <a:lnTo>
                      <a:pt x="205" y="614"/>
                    </a:lnTo>
                    <a:lnTo>
                      <a:pt x="198" y="610"/>
                    </a:lnTo>
                    <a:lnTo>
                      <a:pt x="193" y="606"/>
                    </a:lnTo>
                    <a:lnTo>
                      <a:pt x="194" y="603"/>
                    </a:lnTo>
                    <a:lnTo>
                      <a:pt x="197" y="602"/>
                    </a:lnTo>
                    <a:lnTo>
                      <a:pt x="201" y="601"/>
                    </a:lnTo>
                    <a:lnTo>
                      <a:pt x="199" y="599"/>
                    </a:lnTo>
                    <a:lnTo>
                      <a:pt x="197" y="600"/>
                    </a:lnTo>
                    <a:lnTo>
                      <a:pt x="194" y="602"/>
                    </a:lnTo>
                    <a:lnTo>
                      <a:pt x="193" y="599"/>
                    </a:lnTo>
                    <a:lnTo>
                      <a:pt x="195" y="596"/>
                    </a:lnTo>
                    <a:lnTo>
                      <a:pt x="195" y="593"/>
                    </a:lnTo>
                    <a:lnTo>
                      <a:pt x="194" y="592"/>
                    </a:lnTo>
                    <a:lnTo>
                      <a:pt x="192" y="594"/>
                    </a:lnTo>
                    <a:lnTo>
                      <a:pt x="190" y="594"/>
                    </a:lnTo>
                    <a:lnTo>
                      <a:pt x="189" y="595"/>
                    </a:lnTo>
                    <a:lnTo>
                      <a:pt x="190" y="597"/>
                    </a:lnTo>
                    <a:lnTo>
                      <a:pt x="191" y="599"/>
                    </a:lnTo>
                    <a:lnTo>
                      <a:pt x="191" y="602"/>
                    </a:lnTo>
                    <a:lnTo>
                      <a:pt x="190" y="603"/>
                    </a:lnTo>
                    <a:lnTo>
                      <a:pt x="187" y="602"/>
                    </a:lnTo>
                    <a:lnTo>
                      <a:pt x="181" y="603"/>
                    </a:lnTo>
                    <a:lnTo>
                      <a:pt x="174" y="598"/>
                    </a:lnTo>
                    <a:lnTo>
                      <a:pt x="172" y="595"/>
                    </a:lnTo>
                    <a:lnTo>
                      <a:pt x="165" y="590"/>
                    </a:lnTo>
                    <a:lnTo>
                      <a:pt x="164" y="587"/>
                    </a:lnTo>
                    <a:lnTo>
                      <a:pt x="161" y="585"/>
                    </a:lnTo>
                    <a:lnTo>
                      <a:pt x="158" y="584"/>
                    </a:lnTo>
                    <a:lnTo>
                      <a:pt x="156" y="582"/>
                    </a:lnTo>
                    <a:lnTo>
                      <a:pt x="153" y="579"/>
                    </a:lnTo>
                    <a:lnTo>
                      <a:pt x="150" y="578"/>
                    </a:lnTo>
                    <a:lnTo>
                      <a:pt x="146" y="578"/>
                    </a:lnTo>
                    <a:lnTo>
                      <a:pt x="144" y="578"/>
                    </a:lnTo>
                    <a:lnTo>
                      <a:pt x="142" y="579"/>
                    </a:lnTo>
                    <a:lnTo>
                      <a:pt x="141" y="582"/>
                    </a:lnTo>
                    <a:lnTo>
                      <a:pt x="142" y="586"/>
                    </a:lnTo>
                    <a:lnTo>
                      <a:pt x="135" y="586"/>
                    </a:lnTo>
                    <a:lnTo>
                      <a:pt x="133" y="583"/>
                    </a:lnTo>
                    <a:lnTo>
                      <a:pt x="128" y="580"/>
                    </a:lnTo>
                    <a:lnTo>
                      <a:pt x="124" y="582"/>
                    </a:lnTo>
                    <a:lnTo>
                      <a:pt x="120" y="578"/>
                    </a:lnTo>
                    <a:lnTo>
                      <a:pt x="118" y="574"/>
                    </a:lnTo>
                    <a:lnTo>
                      <a:pt x="114" y="569"/>
                    </a:lnTo>
                    <a:lnTo>
                      <a:pt x="108" y="564"/>
                    </a:lnTo>
                    <a:lnTo>
                      <a:pt x="106" y="557"/>
                    </a:lnTo>
                    <a:lnTo>
                      <a:pt x="108" y="554"/>
                    </a:lnTo>
                    <a:lnTo>
                      <a:pt x="109" y="554"/>
                    </a:lnTo>
                    <a:lnTo>
                      <a:pt x="112" y="556"/>
                    </a:lnTo>
                    <a:lnTo>
                      <a:pt x="114" y="553"/>
                    </a:lnTo>
                    <a:lnTo>
                      <a:pt x="112" y="549"/>
                    </a:lnTo>
                    <a:lnTo>
                      <a:pt x="100" y="532"/>
                    </a:lnTo>
                    <a:lnTo>
                      <a:pt x="101" y="531"/>
                    </a:lnTo>
                    <a:lnTo>
                      <a:pt x="103" y="519"/>
                    </a:lnTo>
                    <a:lnTo>
                      <a:pt x="104" y="517"/>
                    </a:lnTo>
                    <a:lnTo>
                      <a:pt x="106" y="513"/>
                    </a:lnTo>
                    <a:lnTo>
                      <a:pt x="109" y="511"/>
                    </a:lnTo>
                    <a:lnTo>
                      <a:pt x="112" y="509"/>
                    </a:lnTo>
                    <a:lnTo>
                      <a:pt x="115" y="508"/>
                    </a:lnTo>
                    <a:lnTo>
                      <a:pt x="129" y="508"/>
                    </a:lnTo>
                    <a:lnTo>
                      <a:pt x="135" y="507"/>
                    </a:lnTo>
                    <a:lnTo>
                      <a:pt x="139" y="505"/>
                    </a:lnTo>
                    <a:lnTo>
                      <a:pt x="143" y="504"/>
                    </a:lnTo>
                    <a:lnTo>
                      <a:pt x="148" y="502"/>
                    </a:lnTo>
                    <a:lnTo>
                      <a:pt x="151" y="497"/>
                    </a:lnTo>
                    <a:lnTo>
                      <a:pt x="156" y="492"/>
                    </a:lnTo>
                    <a:lnTo>
                      <a:pt x="159" y="488"/>
                    </a:lnTo>
                    <a:lnTo>
                      <a:pt x="164" y="486"/>
                    </a:lnTo>
                    <a:lnTo>
                      <a:pt x="167" y="485"/>
                    </a:lnTo>
                    <a:lnTo>
                      <a:pt x="171" y="486"/>
                    </a:lnTo>
                    <a:lnTo>
                      <a:pt x="178" y="487"/>
                    </a:lnTo>
                    <a:lnTo>
                      <a:pt x="187" y="487"/>
                    </a:lnTo>
                    <a:lnTo>
                      <a:pt x="190" y="486"/>
                    </a:lnTo>
                    <a:lnTo>
                      <a:pt x="195" y="484"/>
                    </a:lnTo>
                    <a:lnTo>
                      <a:pt x="198" y="481"/>
                    </a:lnTo>
                    <a:lnTo>
                      <a:pt x="202" y="477"/>
                    </a:lnTo>
                    <a:lnTo>
                      <a:pt x="203" y="473"/>
                    </a:lnTo>
                    <a:lnTo>
                      <a:pt x="204" y="470"/>
                    </a:lnTo>
                    <a:lnTo>
                      <a:pt x="202" y="410"/>
                    </a:lnTo>
                    <a:lnTo>
                      <a:pt x="208" y="367"/>
                    </a:lnTo>
                    <a:lnTo>
                      <a:pt x="208" y="364"/>
                    </a:lnTo>
                    <a:lnTo>
                      <a:pt x="206" y="360"/>
                    </a:lnTo>
                    <a:lnTo>
                      <a:pt x="204" y="358"/>
                    </a:lnTo>
                    <a:lnTo>
                      <a:pt x="202" y="357"/>
                    </a:lnTo>
                    <a:lnTo>
                      <a:pt x="198" y="356"/>
                    </a:lnTo>
                    <a:lnTo>
                      <a:pt x="188" y="356"/>
                    </a:lnTo>
                    <a:lnTo>
                      <a:pt x="185" y="355"/>
                    </a:lnTo>
                    <a:lnTo>
                      <a:pt x="183" y="354"/>
                    </a:lnTo>
                    <a:lnTo>
                      <a:pt x="182" y="350"/>
                    </a:lnTo>
                    <a:lnTo>
                      <a:pt x="176" y="328"/>
                    </a:lnTo>
                    <a:lnTo>
                      <a:pt x="171" y="313"/>
                    </a:lnTo>
                    <a:lnTo>
                      <a:pt x="168" y="308"/>
                    </a:lnTo>
                    <a:lnTo>
                      <a:pt x="165" y="305"/>
                    </a:lnTo>
                    <a:lnTo>
                      <a:pt x="163" y="301"/>
                    </a:lnTo>
                    <a:lnTo>
                      <a:pt x="141" y="282"/>
                    </a:lnTo>
                    <a:lnTo>
                      <a:pt x="138" y="279"/>
                    </a:lnTo>
                    <a:lnTo>
                      <a:pt x="136" y="275"/>
                    </a:lnTo>
                    <a:lnTo>
                      <a:pt x="135" y="271"/>
                    </a:lnTo>
                    <a:lnTo>
                      <a:pt x="132" y="261"/>
                    </a:lnTo>
                    <a:lnTo>
                      <a:pt x="130" y="259"/>
                    </a:lnTo>
                    <a:lnTo>
                      <a:pt x="128" y="258"/>
                    </a:lnTo>
                    <a:lnTo>
                      <a:pt x="98" y="240"/>
                    </a:lnTo>
                    <a:lnTo>
                      <a:pt x="95" y="239"/>
                    </a:lnTo>
                    <a:lnTo>
                      <a:pt x="91" y="241"/>
                    </a:lnTo>
                    <a:lnTo>
                      <a:pt x="84" y="245"/>
                    </a:lnTo>
                    <a:lnTo>
                      <a:pt x="82" y="246"/>
                    </a:lnTo>
                    <a:lnTo>
                      <a:pt x="81" y="244"/>
                    </a:lnTo>
                    <a:lnTo>
                      <a:pt x="80" y="241"/>
                    </a:lnTo>
                    <a:lnTo>
                      <a:pt x="78" y="233"/>
                    </a:lnTo>
                    <a:lnTo>
                      <a:pt x="75" y="226"/>
                    </a:lnTo>
                    <a:lnTo>
                      <a:pt x="66" y="206"/>
                    </a:lnTo>
                    <a:lnTo>
                      <a:pt x="65" y="202"/>
                    </a:lnTo>
                    <a:lnTo>
                      <a:pt x="65" y="198"/>
                    </a:lnTo>
                    <a:lnTo>
                      <a:pt x="65" y="194"/>
                    </a:lnTo>
                    <a:lnTo>
                      <a:pt x="66" y="191"/>
                    </a:lnTo>
                    <a:lnTo>
                      <a:pt x="68" y="183"/>
                    </a:lnTo>
                    <a:lnTo>
                      <a:pt x="79" y="166"/>
                    </a:lnTo>
                    <a:lnTo>
                      <a:pt x="80" y="163"/>
                    </a:lnTo>
                    <a:lnTo>
                      <a:pt x="81" y="159"/>
                    </a:lnTo>
                    <a:lnTo>
                      <a:pt x="81" y="154"/>
                    </a:lnTo>
                    <a:lnTo>
                      <a:pt x="79" y="150"/>
                    </a:lnTo>
                    <a:lnTo>
                      <a:pt x="76" y="146"/>
                    </a:lnTo>
                    <a:lnTo>
                      <a:pt x="73" y="145"/>
                    </a:lnTo>
                    <a:lnTo>
                      <a:pt x="53" y="139"/>
                    </a:lnTo>
                    <a:lnTo>
                      <a:pt x="49" y="137"/>
                    </a:lnTo>
                    <a:lnTo>
                      <a:pt x="45" y="135"/>
                    </a:lnTo>
                    <a:lnTo>
                      <a:pt x="42" y="131"/>
                    </a:lnTo>
                    <a:lnTo>
                      <a:pt x="39" y="128"/>
                    </a:lnTo>
                    <a:lnTo>
                      <a:pt x="37" y="123"/>
                    </a:lnTo>
                    <a:lnTo>
                      <a:pt x="35" y="120"/>
                    </a:lnTo>
                    <a:lnTo>
                      <a:pt x="34" y="115"/>
                    </a:lnTo>
                    <a:lnTo>
                      <a:pt x="33" y="111"/>
                    </a:lnTo>
                    <a:lnTo>
                      <a:pt x="33" y="103"/>
                    </a:lnTo>
                    <a:lnTo>
                      <a:pt x="37" y="77"/>
                    </a:lnTo>
                    <a:lnTo>
                      <a:pt x="37" y="67"/>
                    </a:lnTo>
                    <a:lnTo>
                      <a:pt x="37" y="62"/>
                    </a:lnTo>
                    <a:lnTo>
                      <a:pt x="34" y="51"/>
                    </a:lnTo>
                    <a:lnTo>
                      <a:pt x="33" y="47"/>
                    </a:lnTo>
                    <a:lnTo>
                      <a:pt x="31" y="46"/>
                    </a:lnTo>
                    <a:lnTo>
                      <a:pt x="29" y="43"/>
                    </a:lnTo>
                    <a:lnTo>
                      <a:pt x="26" y="40"/>
                    </a:lnTo>
                    <a:lnTo>
                      <a:pt x="22" y="39"/>
                    </a:lnTo>
                    <a:lnTo>
                      <a:pt x="21" y="39"/>
                    </a:lnTo>
                    <a:lnTo>
                      <a:pt x="17" y="39"/>
                    </a:lnTo>
                    <a:lnTo>
                      <a:pt x="7" y="41"/>
                    </a:lnTo>
                    <a:lnTo>
                      <a:pt x="3" y="41"/>
                    </a:lnTo>
                    <a:lnTo>
                      <a:pt x="0" y="39"/>
                    </a:lnTo>
                    <a:lnTo>
                      <a:pt x="0" y="36"/>
                    </a:lnTo>
                    <a:lnTo>
                      <a:pt x="0" y="33"/>
                    </a:lnTo>
                    <a:lnTo>
                      <a:pt x="4" y="30"/>
                    </a:lnTo>
                    <a:lnTo>
                      <a:pt x="7" y="28"/>
                    </a:lnTo>
                    <a:lnTo>
                      <a:pt x="26" y="23"/>
                    </a:lnTo>
                    <a:lnTo>
                      <a:pt x="69" y="3"/>
                    </a:lnTo>
                    <a:lnTo>
                      <a:pt x="73" y="1"/>
                    </a:lnTo>
                    <a:lnTo>
                      <a:pt x="77" y="1"/>
                    </a:lnTo>
                    <a:lnTo>
                      <a:pt x="82" y="3"/>
                    </a:lnTo>
                    <a:lnTo>
                      <a:pt x="90" y="6"/>
                    </a:lnTo>
                    <a:lnTo>
                      <a:pt x="105" y="15"/>
                    </a:lnTo>
                    <a:lnTo>
                      <a:pt x="109" y="17"/>
                    </a:lnTo>
                    <a:lnTo>
                      <a:pt x="116" y="18"/>
                    </a:lnTo>
                    <a:lnTo>
                      <a:pt x="120" y="18"/>
                    </a:lnTo>
                    <a:lnTo>
                      <a:pt x="124" y="17"/>
                    </a:lnTo>
                    <a:lnTo>
                      <a:pt x="128" y="16"/>
                    </a:lnTo>
                    <a:lnTo>
                      <a:pt x="159" y="0"/>
                    </a:lnTo>
                    <a:lnTo>
                      <a:pt x="162" y="0"/>
                    </a:lnTo>
                    <a:lnTo>
                      <a:pt x="165" y="0"/>
                    </a:lnTo>
                    <a:lnTo>
                      <a:pt x="169" y="3"/>
                    </a:lnTo>
                    <a:lnTo>
                      <a:pt x="172" y="7"/>
                    </a:lnTo>
                    <a:lnTo>
                      <a:pt x="173" y="10"/>
                    </a:lnTo>
                    <a:lnTo>
                      <a:pt x="178" y="27"/>
                    </a:lnTo>
                    <a:lnTo>
                      <a:pt x="181" y="35"/>
                    </a:lnTo>
                    <a:lnTo>
                      <a:pt x="185" y="41"/>
                    </a:lnTo>
                    <a:lnTo>
                      <a:pt x="194" y="55"/>
                    </a:lnTo>
                    <a:lnTo>
                      <a:pt x="197" y="59"/>
                    </a:lnTo>
                    <a:lnTo>
                      <a:pt x="203" y="61"/>
                    </a:lnTo>
                    <a:lnTo>
                      <a:pt x="210" y="63"/>
                    </a:lnTo>
                    <a:lnTo>
                      <a:pt x="226" y="63"/>
                    </a:lnTo>
                    <a:lnTo>
                      <a:pt x="231" y="64"/>
                    </a:lnTo>
                    <a:lnTo>
                      <a:pt x="233" y="65"/>
                    </a:lnTo>
                    <a:lnTo>
                      <a:pt x="236" y="68"/>
                    </a:lnTo>
                    <a:lnTo>
                      <a:pt x="238" y="70"/>
                    </a:lnTo>
                    <a:lnTo>
                      <a:pt x="239" y="72"/>
                    </a:lnTo>
                    <a:lnTo>
                      <a:pt x="238" y="76"/>
                    </a:lnTo>
                    <a:lnTo>
                      <a:pt x="239" y="78"/>
                    </a:lnTo>
                    <a:lnTo>
                      <a:pt x="240" y="82"/>
                    </a:lnTo>
                    <a:lnTo>
                      <a:pt x="242" y="84"/>
                    </a:lnTo>
                    <a:lnTo>
                      <a:pt x="253" y="92"/>
                    </a:lnTo>
                    <a:lnTo>
                      <a:pt x="256" y="95"/>
                    </a:lnTo>
                    <a:lnTo>
                      <a:pt x="257" y="99"/>
                    </a:lnTo>
                    <a:lnTo>
                      <a:pt x="257" y="102"/>
                    </a:lnTo>
                    <a:lnTo>
                      <a:pt x="256" y="106"/>
                    </a:lnTo>
                    <a:lnTo>
                      <a:pt x="256" y="109"/>
                    </a:lnTo>
                    <a:lnTo>
                      <a:pt x="258" y="113"/>
                    </a:lnTo>
                    <a:lnTo>
                      <a:pt x="261" y="114"/>
                    </a:lnTo>
                    <a:lnTo>
                      <a:pt x="266" y="112"/>
                    </a:lnTo>
                    <a:lnTo>
                      <a:pt x="271" y="109"/>
                    </a:lnTo>
                    <a:lnTo>
                      <a:pt x="286" y="97"/>
                    </a:lnTo>
                    <a:lnTo>
                      <a:pt x="288" y="96"/>
                    </a:lnTo>
                    <a:lnTo>
                      <a:pt x="292" y="95"/>
                    </a:lnTo>
                    <a:lnTo>
                      <a:pt x="296" y="96"/>
                    </a:lnTo>
                    <a:lnTo>
                      <a:pt x="301" y="97"/>
                    </a:lnTo>
                    <a:lnTo>
                      <a:pt x="314" y="103"/>
                    </a:lnTo>
                    <a:lnTo>
                      <a:pt x="318" y="105"/>
                    </a:lnTo>
                    <a:lnTo>
                      <a:pt x="322" y="105"/>
                    </a:lnTo>
                    <a:lnTo>
                      <a:pt x="326" y="103"/>
                    </a:lnTo>
                    <a:lnTo>
                      <a:pt x="327" y="100"/>
                    </a:lnTo>
                    <a:lnTo>
                      <a:pt x="326" y="97"/>
                    </a:lnTo>
                    <a:lnTo>
                      <a:pt x="325" y="92"/>
                    </a:lnTo>
                    <a:lnTo>
                      <a:pt x="326" y="90"/>
                    </a:lnTo>
                    <a:lnTo>
                      <a:pt x="328" y="87"/>
                    </a:lnTo>
                    <a:lnTo>
                      <a:pt x="331" y="88"/>
                    </a:lnTo>
                    <a:lnTo>
                      <a:pt x="335" y="91"/>
                    </a:lnTo>
                    <a:lnTo>
                      <a:pt x="337" y="95"/>
                    </a:lnTo>
                    <a:lnTo>
                      <a:pt x="339" y="102"/>
                    </a:lnTo>
                    <a:lnTo>
                      <a:pt x="344" y="106"/>
                    </a:lnTo>
                    <a:lnTo>
                      <a:pt x="349" y="109"/>
                    </a:lnTo>
                    <a:lnTo>
                      <a:pt x="370" y="116"/>
                    </a:lnTo>
                    <a:lnTo>
                      <a:pt x="391" y="132"/>
                    </a:lnTo>
                    <a:lnTo>
                      <a:pt x="397" y="134"/>
                    </a:lnTo>
                    <a:lnTo>
                      <a:pt x="406" y="136"/>
                    </a:lnTo>
                    <a:lnTo>
                      <a:pt x="422" y="136"/>
                    </a:lnTo>
                    <a:lnTo>
                      <a:pt x="491" y="124"/>
                    </a:lnTo>
                    <a:lnTo>
                      <a:pt x="496" y="125"/>
                    </a:lnTo>
                    <a:lnTo>
                      <a:pt x="499" y="127"/>
                    </a:lnTo>
                    <a:lnTo>
                      <a:pt x="502" y="130"/>
                    </a:lnTo>
                    <a:lnTo>
                      <a:pt x="508" y="138"/>
                    </a:lnTo>
                    <a:lnTo>
                      <a:pt x="508" y="13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0" name="Freeform 10">
                <a:extLst>
                  <a:ext uri="{FF2B5EF4-FFF2-40B4-BE49-F238E27FC236}"/>
                </a:extLst>
              </p:cNvPr>
              <p:cNvSpPr>
                <a:spLocks/>
              </p:cNvSpPr>
              <p:nvPr/>
            </p:nvSpPr>
            <p:spPr bwMode="auto">
              <a:xfrm>
                <a:off x="3514725" y="3321050"/>
                <a:ext cx="911225" cy="803275"/>
              </a:xfrm>
              <a:custGeom>
                <a:avLst/>
                <a:gdLst>
                  <a:gd name="T0" fmla="*/ 563 w 574"/>
                  <a:gd name="T1" fmla="*/ 35 h 506"/>
                  <a:gd name="T2" fmla="*/ 572 w 574"/>
                  <a:gd name="T3" fmla="*/ 51 h 506"/>
                  <a:gd name="T4" fmla="*/ 573 w 574"/>
                  <a:gd name="T5" fmla="*/ 64 h 506"/>
                  <a:gd name="T6" fmla="*/ 563 w 574"/>
                  <a:gd name="T7" fmla="*/ 74 h 506"/>
                  <a:gd name="T8" fmla="*/ 539 w 574"/>
                  <a:gd name="T9" fmla="*/ 90 h 506"/>
                  <a:gd name="T10" fmla="*/ 515 w 574"/>
                  <a:gd name="T11" fmla="*/ 118 h 506"/>
                  <a:gd name="T12" fmla="*/ 498 w 574"/>
                  <a:gd name="T13" fmla="*/ 127 h 506"/>
                  <a:gd name="T14" fmla="*/ 496 w 574"/>
                  <a:gd name="T15" fmla="*/ 173 h 506"/>
                  <a:gd name="T16" fmla="*/ 501 w 574"/>
                  <a:gd name="T17" fmla="*/ 188 h 506"/>
                  <a:gd name="T18" fmla="*/ 546 w 574"/>
                  <a:gd name="T19" fmla="*/ 249 h 506"/>
                  <a:gd name="T20" fmla="*/ 544 w 574"/>
                  <a:gd name="T21" fmla="*/ 270 h 506"/>
                  <a:gd name="T22" fmla="*/ 554 w 574"/>
                  <a:gd name="T23" fmla="*/ 294 h 506"/>
                  <a:gd name="T24" fmla="*/ 555 w 574"/>
                  <a:gd name="T25" fmla="*/ 321 h 506"/>
                  <a:gd name="T26" fmla="*/ 545 w 574"/>
                  <a:gd name="T27" fmla="*/ 329 h 506"/>
                  <a:gd name="T28" fmla="*/ 446 w 574"/>
                  <a:gd name="T29" fmla="*/ 326 h 506"/>
                  <a:gd name="T30" fmla="*/ 433 w 574"/>
                  <a:gd name="T31" fmla="*/ 331 h 506"/>
                  <a:gd name="T32" fmla="*/ 418 w 574"/>
                  <a:gd name="T33" fmla="*/ 354 h 506"/>
                  <a:gd name="T34" fmla="*/ 390 w 574"/>
                  <a:gd name="T35" fmla="*/ 380 h 506"/>
                  <a:gd name="T36" fmla="*/ 319 w 574"/>
                  <a:gd name="T37" fmla="*/ 401 h 506"/>
                  <a:gd name="T38" fmla="*/ 280 w 574"/>
                  <a:gd name="T39" fmla="*/ 447 h 506"/>
                  <a:gd name="T40" fmla="*/ 286 w 574"/>
                  <a:gd name="T41" fmla="*/ 467 h 506"/>
                  <a:gd name="T42" fmla="*/ 282 w 574"/>
                  <a:gd name="T43" fmla="*/ 487 h 506"/>
                  <a:gd name="T44" fmla="*/ 267 w 574"/>
                  <a:gd name="T45" fmla="*/ 493 h 506"/>
                  <a:gd name="T46" fmla="*/ 214 w 574"/>
                  <a:gd name="T47" fmla="*/ 493 h 506"/>
                  <a:gd name="T48" fmla="*/ 146 w 574"/>
                  <a:gd name="T49" fmla="*/ 476 h 506"/>
                  <a:gd name="T50" fmla="*/ 130 w 574"/>
                  <a:gd name="T51" fmla="*/ 481 h 506"/>
                  <a:gd name="T52" fmla="*/ 99 w 574"/>
                  <a:gd name="T53" fmla="*/ 496 h 506"/>
                  <a:gd name="T54" fmla="*/ 83 w 574"/>
                  <a:gd name="T55" fmla="*/ 447 h 506"/>
                  <a:gd name="T56" fmla="*/ 72 w 574"/>
                  <a:gd name="T57" fmla="*/ 432 h 506"/>
                  <a:gd name="T58" fmla="*/ 39 w 574"/>
                  <a:gd name="T59" fmla="*/ 415 h 506"/>
                  <a:gd name="T60" fmla="*/ 40 w 574"/>
                  <a:gd name="T61" fmla="*/ 355 h 506"/>
                  <a:gd name="T62" fmla="*/ 25 w 574"/>
                  <a:gd name="T63" fmla="*/ 342 h 506"/>
                  <a:gd name="T64" fmla="*/ 13 w 574"/>
                  <a:gd name="T65" fmla="*/ 327 h 506"/>
                  <a:gd name="T66" fmla="*/ 61 w 574"/>
                  <a:gd name="T67" fmla="*/ 307 h 506"/>
                  <a:gd name="T68" fmla="*/ 90 w 574"/>
                  <a:gd name="T69" fmla="*/ 301 h 506"/>
                  <a:gd name="T70" fmla="*/ 81 w 574"/>
                  <a:gd name="T71" fmla="*/ 278 h 506"/>
                  <a:gd name="T72" fmla="*/ 83 w 574"/>
                  <a:gd name="T73" fmla="*/ 261 h 506"/>
                  <a:gd name="T74" fmla="*/ 98 w 574"/>
                  <a:gd name="T75" fmla="*/ 255 h 506"/>
                  <a:gd name="T76" fmla="*/ 121 w 574"/>
                  <a:gd name="T77" fmla="*/ 260 h 506"/>
                  <a:gd name="T78" fmla="*/ 121 w 574"/>
                  <a:gd name="T79" fmla="*/ 233 h 506"/>
                  <a:gd name="T80" fmla="*/ 125 w 574"/>
                  <a:gd name="T81" fmla="*/ 215 h 506"/>
                  <a:gd name="T82" fmla="*/ 137 w 574"/>
                  <a:gd name="T83" fmla="*/ 202 h 506"/>
                  <a:gd name="T84" fmla="*/ 157 w 574"/>
                  <a:gd name="T85" fmla="*/ 198 h 506"/>
                  <a:gd name="T86" fmla="*/ 168 w 574"/>
                  <a:gd name="T87" fmla="*/ 176 h 506"/>
                  <a:gd name="T88" fmla="*/ 290 w 574"/>
                  <a:gd name="T89" fmla="*/ 88 h 506"/>
                  <a:gd name="T90" fmla="*/ 308 w 574"/>
                  <a:gd name="T91" fmla="*/ 60 h 506"/>
                  <a:gd name="T92" fmla="*/ 399 w 574"/>
                  <a:gd name="T93" fmla="*/ 4 h 506"/>
                  <a:gd name="T94" fmla="*/ 418 w 574"/>
                  <a:gd name="T95" fmla="*/ 0 h 506"/>
                  <a:gd name="T96" fmla="*/ 444 w 574"/>
                  <a:gd name="T97" fmla="*/ 22 h 506"/>
                  <a:gd name="T98" fmla="*/ 494 w 574"/>
                  <a:gd name="T99" fmla="*/ 46 h 506"/>
                  <a:gd name="T100" fmla="*/ 515 w 574"/>
                  <a:gd name="T101" fmla="*/ 46 h 506"/>
                  <a:gd name="T102" fmla="*/ 538 w 574"/>
                  <a:gd name="T103" fmla="*/ 19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4" h="506">
                    <a:moveTo>
                      <a:pt x="538" y="19"/>
                    </a:moveTo>
                    <a:lnTo>
                      <a:pt x="549" y="25"/>
                    </a:lnTo>
                    <a:lnTo>
                      <a:pt x="556" y="30"/>
                    </a:lnTo>
                    <a:lnTo>
                      <a:pt x="563" y="35"/>
                    </a:lnTo>
                    <a:lnTo>
                      <a:pt x="566" y="39"/>
                    </a:lnTo>
                    <a:lnTo>
                      <a:pt x="569" y="43"/>
                    </a:lnTo>
                    <a:lnTo>
                      <a:pt x="572" y="47"/>
                    </a:lnTo>
                    <a:lnTo>
                      <a:pt x="572" y="51"/>
                    </a:lnTo>
                    <a:lnTo>
                      <a:pt x="573" y="55"/>
                    </a:lnTo>
                    <a:lnTo>
                      <a:pt x="574" y="58"/>
                    </a:lnTo>
                    <a:lnTo>
                      <a:pt x="574" y="62"/>
                    </a:lnTo>
                    <a:lnTo>
                      <a:pt x="573" y="64"/>
                    </a:lnTo>
                    <a:lnTo>
                      <a:pt x="572" y="67"/>
                    </a:lnTo>
                    <a:lnTo>
                      <a:pt x="570" y="71"/>
                    </a:lnTo>
                    <a:lnTo>
                      <a:pt x="566" y="72"/>
                    </a:lnTo>
                    <a:lnTo>
                      <a:pt x="563" y="74"/>
                    </a:lnTo>
                    <a:lnTo>
                      <a:pt x="555" y="78"/>
                    </a:lnTo>
                    <a:lnTo>
                      <a:pt x="550" y="80"/>
                    </a:lnTo>
                    <a:lnTo>
                      <a:pt x="546" y="83"/>
                    </a:lnTo>
                    <a:lnTo>
                      <a:pt x="539" y="90"/>
                    </a:lnTo>
                    <a:lnTo>
                      <a:pt x="533" y="97"/>
                    </a:lnTo>
                    <a:lnTo>
                      <a:pt x="520" y="115"/>
                    </a:lnTo>
                    <a:lnTo>
                      <a:pt x="518" y="118"/>
                    </a:lnTo>
                    <a:lnTo>
                      <a:pt x="515" y="118"/>
                    </a:lnTo>
                    <a:lnTo>
                      <a:pt x="509" y="120"/>
                    </a:lnTo>
                    <a:lnTo>
                      <a:pt x="504" y="121"/>
                    </a:lnTo>
                    <a:lnTo>
                      <a:pt x="501" y="124"/>
                    </a:lnTo>
                    <a:lnTo>
                      <a:pt x="498" y="127"/>
                    </a:lnTo>
                    <a:lnTo>
                      <a:pt x="497" y="132"/>
                    </a:lnTo>
                    <a:lnTo>
                      <a:pt x="499" y="141"/>
                    </a:lnTo>
                    <a:lnTo>
                      <a:pt x="499" y="148"/>
                    </a:lnTo>
                    <a:lnTo>
                      <a:pt x="496" y="173"/>
                    </a:lnTo>
                    <a:lnTo>
                      <a:pt x="496" y="177"/>
                    </a:lnTo>
                    <a:lnTo>
                      <a:pt x="497" y="180"/>
                    </a:lnTo>
                    <a:lnTo>
                      <a:pt x="498" y="185"/>
                    </a:lnTo>
                    <a:lnTo>
                      <a:pt x="501" y="188"/>
                    </a:lnTo>
                    <a:lnTo>
                      <a:pt x="514" y="202"/>
                    </a:lnTo>
                    <a:lnTo>
                      <a:pt x="519" y="207"/>
                    </a:lnTo>
                    <a:lnTo>
                      <a:pt x="533" y="232"/>
                    </a:lnTo>
                    <a:lnTo>
                      <a:pt x="546" y="249"/>
                    </a:lnTo>
                    <a:lnTo>
                      <a:pt x="546" y="249"/>
                    </a:lnTo>
                    <a:lnTo>
                      <a:pt x="547" y="255"/>
                    </a:lnTo>
                    <a:lnTo>
                      <a:pt x="545" y="264"/>
                    </a:lnTo>
                    <a:lnTo>
                      <a:pt x="544" y="270"/>
                    </a:lnTo>
                    <a:lnTo>
                      <a:pt x="545" y="274"/>
                    </a:lnTo>
                    <a:lnTo>
                      <a:pt x="550" y="282"/>
                    </a:lnTo>
                    <a:lnTo>
                      <a:pt x="552" y="288"/>
                    </a:lnTo>
                    <a:lnTo>
                      <a:pt x="554" y="294"/>
                    </a:lnTo>
                    <a:lnTo>
                      <a:pt x="556" y="306"/>
                    </a:lnTo>
                    <a:lnTo>
                      <a:pt x="556" y="312"/>
                    </a:lnTo>
                    <a:lnTo>
                      <a:pt x="556" y="317"/>
                    </a:lnTo>
                    <a:lnTo>
                      <a:pt x="555" y="321"/>
                    </a:lnTo>
                    <a:lnTo>
                      <a:pt x="554" y="324"/>
                    </a:lnTo>
                    <a:lnTo>
                      <a:pt x="552" y="327"/>
                    </a:lnTo>
                    <a:lnTo>
                      <a:pt x="549" y="329"/>
                    </a:lnTo>
                    <a:lnTo>
                      <a:pt x="545" y="329"/>
                    </a:lnTo>
                    <a:lnTo>
                      <a:pt x="530" y="328"/>
                    </a:lnTo>
                    <a:lnTo>
                      <a:pt x="490" y="331"/>
                    </a:lnTo>
                    <a:lnTo>
                      <a:pt x="454" y="326"/>
                    </a:lnTo>
                    <a:lnTo>
                      <a:pt x="446" y="326"/>
                    </a:lnTo>
                    <a:lnTo>
                      <a:pt x="443" y="327"/>
                    </a:lnTo>
                    <a:lnTo>
                      <a:pt x="439" y="328"/>
                    </a:lnTo>
                    <a:lnTo>
                      <a:pt x="436" y="330"/>
                    </a:lnTo>
                    <a:lnTo>
                      <a:pt x="433" y="331"/>
                    </a:lnTo>
                    <a:lnTo>
                      <a:pt x="431" y="333"/>
                    </a:lnTo>
                    <a:lnTo>
                      <a:pt x="429" y="336"/>
                    </a:lnTo>
                    <a:lnTo>
                      <a:pt x="423" y="342"/>
                    </a:lnTo>
                    <a:lnTo>
                      <a:pt x="418" y="354"/>
                    </a:lnTo>
                    <a:lnTo>
                      <a:pt x="414" y="360"/>
                    </a:lnTo>
                    <a:lnTo>
                      <a:pt x="411" y="363"/>
                    </a:lnTo>
                    <a:lnTo>
                      <a:pt x="399" y="371"/>
                    </a:lnTo>
                    <a:lnTo>
                      <a:pt x="390" y="380"/>
                    </a:lnTo>
                    <a:lnTo>
                      <a:pt x="386" y="383"/>
                    </a:lnTo>
                    <a:lnTo>
                      <a:pt x="379" y="386"/>
                    </a:lnTo>
                    <a:lnTo>
                      <a:pt x="323" y="400"/>
                    </a:lnTo>
                    <a:lnTo>
                      <a:pt x="319" y="401"/>
                    </a:lnTo>
                    <a:lnTo>
                      <a:pt x="316" y="404"/>
                    </a:lnTo>
                    <a:lnTo>
                      <a:pt x="300" y="420"/>
                    </a:lnTo>
                    <a:lnTo>
                      <a:pt x="283" y="442"/>
                    </a:lnTo>
                    <a:lnTo>
                      <a:pt x="280" y="447"/>
                    </a:lnTo>
                    <a:lnTo>
                      <a:pt x="280" y="452"/>
                    </a:lnTo>
                    <a:lnTo>
                      <a:pt x="280" y="455"/>
                    </a:lnTo>
                    <a:lnTo>
                      <a:pt x="282" y="459"/>
                    </a:lnTo>
                    <a:lnTo>
                      <a:pt x="286" y="467"/>
                    </a:lnTo>
                    <a:lnTo>
                      <a:pt x="288" y="471"/>
                    </a:lnTo>
                    <a:lnTo>
                      <a:pt x="287" y="476"/>
                    </a:lnTo>
                    <a:lnTo>
                      <a:pt x="286" y="483"/>
                    </a:lnTo>
                    <a:lnTo>
                      <a:pt x="282" y="487"/>
                    </a:lnTo>
                    <a:lnTo>
                      <a:pt x="278" y="491"/>
                    </a:lnTo>
                    <a:lnTo>
                      <a:pt x="273" y="492"/>
                    </a:lnTo>
                    <a:lnTo>
                      <a:pt x="271" y="493"/>
                    </a:lnTo>
                    <a:lnTo>
                      <a:pt x="267" y="493"/>
                    </a:lnTo>
                    <a:lnTo>
                      <a:pt x="254" y="490"/>
                    </a:lnTo>
                    <a:lnTo>
                      <a:pt x="246" y="490"/>
                    </a:lnTo>
                    <a:lnTo>
                      <a:pt x="222" y="493"/>
                    </a:lnTo>
                    <a:lnTo>
                      <a:pt x="214" y="493"/>
                    </a:lnTo>
                    <a:lnTo>
                      <a:pt x="183" y="490"/>
                    </a:lnTo>
                    <a:lnTo>
                      <a:pt x="172" y="487"/>
                    </a:lnTo>
                    <a:lnTo>
                      <a:pt x="165" y="484"/>
                    </a:lnTo>
                    <a:lnTo>
                      <a:pt x="146" y="476"/>
                    </a:lnTo>
                    <a:lnTo>
                      <a:pt x="143" y="475"/>
                    </a:lnTo>
                    <a:lnTo>
                      <a:pt x="139" y="475"/>
                    </a:lnTo>
                    <a:lnTo>
                      <a:pt x="135" y="477"/>
                    </a:lnTo>
                    <a:lnTo>
                      <a:pt x="130" y="481"/>
                    </a:lnTo>
                    <a:lnTo>
                      <a:pt x="128" y="483"/>
                    </a:lnTo>
                    <a:lnTo>
                      <a:pt x="117" y="499"/>
                    </a:lnTo>
                    <a:lnTo>
                      <a:pt x="114" y="506"/>
                    </a:lnTo>
                    <a:lnTo>
                      <a:pt x="99" y="496"/>
                    </a:lnTo>
                    <a:lnTo>
                      <a:pt x="97" y="493"/>
                    </a:lnTo>
                    <a:lnTo>
                      <a:pt x="95" y="490"/>
                    </a:lnTo>
                    <a:lnTo>
                      <a:pt x="91" y="482"/>
                    </a:lnTo>
                    <a:lnTo>
                      <a:pt x="83" y="447"/>
                    </a:lnTo>
                    <a:lnTo>
                      <a:pt x="80" y="440"/>
                    </a:lnTo>
                    <a:lnTo>
                      <a:pt x="77" y="435"/>
                    </a:lnTo>
                    <a:lnTo>
                      <a:pt x="75" y="433"/>
                    </a:lnTo>
                    <a:lnTo>
                      <a:pt x="72" y="432"/>
                    </a:lnTo>
                    <a:lnTo>
                      <a:pt x="51" y="426"/>
                    </a:lnTo>
                    <a:lnTo>
                      <a:pt x="46" y="424"/>
                    </a:lnTo>
                    <a:lnTo>
                      <a:pt x="43" y="421"/>
                    </a:lnTo>
                    <a:lnTo>
                      <a:pt x="39" y="415"/>
                    </a:lnTo>
                    <a:lnTo>
                      <a:pt x="38" y="412"/>
                    </a:lnTo>
                    <a:lnTo>
                      <a:pt x="38" y="407"/>
                    </a:lnTo>
                    <a:lnTo>
                      <a:pt x="40" y="360"/>
                    </a:lnTo>
                    <a:lnTo>
                      <a:pt x="40" y="355"/>
                    </a:lnTo>
                    <a:lnTo>
                      <a:pt x="38" y="351"/>
                    </a:lnTo>
                    <a:lnTo>
                      <a:pt x="36" y="346"/>
                    </a:lnTo>
                    <a:lnTo>
                      <a:pt x="33" y="345"/>
                    </a:lnTo>
                    <a:lnTo>
                      <a:pt x="25" y="342"/>
                    </a:lnTo>
                    <a:lnTo>
                      <a:pt x="3" y="337"/>
                    </a:lnTo>
                    <a:lnTo>
                      <a:pt x="0" y="335"/>
                    </a:lnTo>
                    <a:lnTo>
                      <a:pt x="6" y="329"/>
                    </a:lnTo>
                    <a:lnTo>
                      <a:pt x="13" y="327"/>
                    </a:lnTo>
                    <a:lnTo>
                      <a:pt x="22" y="326"/>
                    </a:lnTo>
                    <a:lnTo>
                      <a:pt x="28" y="324"/>
                    </a:lnTo>
                    <a:lnTo>
                      <a:pt x="55" y="309"/>
                    </a:lnTo>
                    <a:lnTo>
                      <a:pt x="61" y="307"/>
                    </a:lnTo>
                    <a:lnTo>
                      <a:pt x="67" y="306"/>
                    </a:lnTo>
                    <a:lnTo>
                      <a:pt x="83" y="304"/>
                    </a:lnTo>
                    <a:lnTo>
                      <a:pt x="87" y="302"/>
                    </a:lnTo>
                    <a:lnTo>
                      <a:pt x="90" y="301"/>
                    </a:lnTo>
                    <a:lnTo>
                      <a:pt x="90" y="297"/>
                    </a:lnTo>
                    <a:lnTo>
                      <a:pt x="90" y="294"/>
                    </a:lnTo>
                    <a:lnTo>
                      <a:pt x="90" y="292"/>
                    </a:lnTo>
                    <a:lnTo>
                      <a:pt x="81" y="278"/>
                    </a:lnTo>
                    <a:lnTo>
                      <a:pt x="80" y="273"/>
                    </a:lnTo>
                    <a:lnTo>
                      <a:pt x="80" y="269"/>
                    </a:lnTo>
                    <a:lnTo>
                      <a:pt x="81" y="265"/>
                    </a:lnTo>
                    <a:lnTo>
                      <a:pt x="83" y="261"/>
                    </a:lnTo>
                    <a:lnTo>
                      <a:pt x="87" y="256"/>
                    </a:lnTo>
                    <a:lnTo>
                      <a:pt x="91" y="255"/>
                    </a:lnTo>
                    <a:lnTo>
                      <a:pt x="95" y="254"/>
                    </a:lnTo>
                    <a:lnTo>
                      <a:pt x="98" y="255"/>
                    </a:lnTo>
                    <a:lnTo>
                      <a:pt x="111" y="260"/>
                    </a:lnTo>
                    <a:lnTo>
                      <a:pt x="114" y="261"/>
                    </a:lnTo>
                    <a:lnTo>
                      <a:pt x="119" y="261"/>
                    </a:lnTo>
                    <a:lnTo>
                      <a:pt x="121" y="260"/>
                    </a:lnTo>
                    <a:lnTo>
                      <a:pt x="124" y="256"/>
                    </a:lnTo>
                    <a:lnTo>
                      <a:pt x="124" y="254"/>
                    </a:lnTo>
                    <a:lnTo>
                      <a:pt x="124" y="249"/>
                    </a:lnTo>
                    <a:lnTo>
                      <a:pt x="121" y="233"/>
                    </a:lnTo>
                    <a:lnTo>
                      <a:pt x="120" y="230"/>
                    </a:lnTo>
                    <a:lnTo>
                      <a:pt x="121" y="226"/>
                    </a:lnTo>
                    <a:lnTo>
                      <a:pt x="121" y="223"/>
                    </a:lnTo>
                    <a:lnTo>
                      <a:pt x="125" y="215"/>
                    </a:lnTo>
                    <a:lnTo>
                      <a:pt x="128" y="207"/>
                    </a:lnTo>
                    <a:lnTo>
                      <a:pt x="130" y="203"/>
                    </a:lnTo>
                    <a:lnTo>
                      <a:pt x="134" y="202"/>
                    </a:lnTo>
                    <a:lnTo>
                      <a:pt x="137" y="202"/>
                    </a:lnTo>
                    <a:lnTo>
                      <a:pt x="142" y="202"/>
                    </a:lnTo>
                    <a:lnTo>
                      <a:pt x="146" y="202"/>
                    </a:lnTo>
                    <a:lnTo>
                      <a:pt x="153" y="200"/>
                    </a:lnTo>
                    <a:lnTo>
                      <a:pt x="157" y="198"/>
                    </a:lnTo>
                    <a:lnTo>
                      <a:pt x="159" y="195"/>
                    </a:lnTo>
                    <a:lnTo>
                      <a:pt x="160" y="191"/>
                    </a:lnTo>
                    <a:lnTo>
                      <a:pt x="163" y="185"/>
                    </a:lnTo>
                    <a:lnTo>
                      <a:pt x="168" y="176"/>
                    </a:lnTo>
                    <a:lnTo>
                      <a:pt x="188" y="154"/>
                    </a:lnTo>
                    <a:lnTo>
                      <a:pt x="232" y="118"/>
                    </a:lnTo>
                    <a:lnTo>
                      <a:pt x="252" y="104"/>
                    </a:lnTo>
                    <a:lnTo>
                      <a:pt x="290" y="88"/>
                    </a:lnTo>
                    <a:lnTo>
                      <a:pt x="296" y="84"/>
                    </a:lnTo>
                    <a:lnTo>
                      <a:pt x="300" y="80"/>
                    </a:lnTo>
                    <a:lnTo>
                      <a:pt x="301" y="76"/>
                    </a:lnTo>
                    <a:lnTo>
                      <a:pt x="308" y="60"/>
                    </a:lnTo>
                    <a:lnTo>
                      <a:pt x="315" y="53"/>
                    </a:lnTo>
                    <a:lnTo>
                      <a:pt x="323" y="45"/>
                    </a:lnTo>
                    <a:lnTo>
                      <a:pt x="335" y="37"/>
                    </a:lnTo>
                    <a:lnTo>
                      <a:pt x="399" y="4"/>
                    </a:lnTo>
                    <a:lnTo>
                      <a:pt x="406" y="1"/>
                    </a:lnTo>
                    <a:lnTo>
                      <a:pt x="411" y="0"/>
                    </a:lnTo>
                    <a:lnTo>
                      <a:pt x="414" y="0"/>
                    </a:lnTo>
                    <a:lnTo>
                      <a:pt x="418" y="0"/>
                    </a:lnTo>
                    <a:lnTo>
                      <a:pt x="422" y="2"/>
                    </a:lnTo>
                    <a:lnTo>
                      <a:pt x="426" y="4"/>
                    </a:lnTo>
                    <a:lnTo>
                      <a:pt x="432" y="9"/>
                    </a:lnTo>
                    <a:lnTo>
                      <a:pt x="444" y="22"/>
                    </a:lnTo>
                    <a:lnTo>
                      <a:pt x="466" y="39"/>
                    </a:lnTo>
                    <a:lnTo>
                      <a:pt x="473" y="44"/>
                    </a:lnTo>
                    <a:lnTo>
                      <a:pt x="477" y="45"/>
                    </a:lnTo>
                    <a:lnTo>
                      <a:pt x="494" y="46"/>
                    </a:lnTo>
                    <a:lnTo>
                      <a:pt x="505" y="49"/>
                    </a:lnTo>
                    <a:lnTo>
                      <a:pt x="509" y="49"/>
                    </a:lnTo>
                    <a:lnTo>
                      <a:pt x="512" y="48"/>
                    </a:lnTo>
                    <a:lnTo>
                      <a:pt x="515" y="46"/>
                    </a:lnTo>
                    <a:lnTo>
                      <a:pt x="518" y="44"/>
                    </a:lnTo>
                    <a:lnTo>
                      <a:pt x="531" y="26"/>
                    </a:lnTo>
                    <a:lnTo>
                      <a:pt x="538" y="19"/>
                    </a:lnTo>
                    <a:lnTo>
                      <a:pt x="538" y="19"/>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1" name="Freeform 11">
                <a:extLst>
                  <a:ext uri="{FF2B5EF4-FFF2-40B4-BE49-F238E27FC236}"/>
                </a:extLst>
              </p:cNvPr>
              <p:cNvSpPr>
                <a:spLocks/>
              </p:cNvSpPr>
              <p:nvPr/>
            </p:nvSpPr>
            <p:spPr bwMode="auto">
              <a:xfrm>
                <a:off x="2873375" y="2854325"/>
                <a:ext cx="1539875" cy="1065213"/>
              </a:xfrm>
              <a:custGeom>
                <a:avLst/>
                <a:gdLst>
                  <a:gd name="T0" fmla="*/ 948 w 970"/>
                  <a:gd name="T1" fmla="*/ 274 h 671"/>
                  <a:gd name="T2" fmla="*/ 938 w 970"/>
                  <a:gd name="T3" fmla="*/ 301 h 671"/>
                  <a:gd name="T4" fmla="*/ 922 w 970"/>
                  <a:gd name="T5" fmla="*/ 338 h 671"/>
                  <a:gd name="T6" fmla="*/ 898 w 970"/>
                  <a:gd name="T7" fmla="*/ 340 h 671"/>
                  <a:gd name="T8" fmla="*/ 836 w 970"/>
                  <a:gd name="T9" fmla="*/ 303 h 671"/>
                  <a:gd name="T10" fmla="*/ 815 w 970"/>
                  <a:gd name="T11" fmla="*/ 294 h 671"/>
                  <a:gd name="T12" fmla="*/ 719 w 970"/>
                  <a:gd name="T13" fmla="*/ 347 h 671"/>
                  <a:gd name="T14" fmla="*/ 694 w 970"/>
                  <a:gd name="T15" fmla="*/ 382 h 671"/>
                  <a:gd name="T16" fmla="*/ 567 w 970"/>
                  <a:gd name="T17" fmla="*/ 479 h 671"/>
                  <a:gd name="T18" fmla="*/ 550 w 970"/>
                  <a:gd name="T19" fmla="*/ 496 h 671"/>
                  <a:gd name="T20" fmla="*/ 532 w 970"/>
                  <a:gd name="T21" fmla="*/ 501 h 671"/>
                  <a:gd name="T22" fmla="*/ 525 w 970"/>
                  <a:gd name="T23" fmla="*/ 527 h 671"/>
                  <a:gd name="T24" fmla="*/ 523 w 970"/>
                  <a:gd name="T25" fmla="*/ 555 h 671"/>
                  <a:gd name="T26" fmla="*/ 495 w 970"/>
                  <a:gd name="T27" fmla="*/ 549 h 671"/>
                  <a:gd name="T28" fmla="*/ 484 w 970"/>
                  <a:gd name="T29" fmla="*/ 567 h 671"/>
                  <a:gd name="T30" fmla="*/ 494 w 970"/>
                  <a:gd name="T31" fmla="*/ 595 h 671"/>
                  <a:gd name="T32" fmla="*/ 459 w 970"/>
                  <a:gd name="T33" fmla="*/ 603 h 671"/>
                  <a:gd name="T34" fmla="*/ 404 w 970"/>
                  <a:gd name="T35" fmla="*/ 629 h 671"/>
                  <a:gd name="T36" fmla="*/ 303 w 970"/>
                  <a:gd name="T37" fmla="*/ 622 h 671"/>
                  <a:gd name="T38" fmla="*/ 276 w 970"/>
                  <a:gd name="T39" fmla="*/ 649 h 671"/>
                  <a:gd name="T40" fmla="*/ 256 w 970"/>
                  <a:gd name="T41" fmla="*/ 655 h 671"/>
                  <a:gd name="T42" fmla="*/ 178 w 970"/>
                  <a:gd name="T43" fmla="*/ 671 h 671"/>
                  <a:gd name="T44" fmla="*/ 163 w 970"/>
                  <a:gd name="T45" fmla="*/ 663 h 671"/>
                  <a:gd name="T46" fmla="*/ 157 w 970"/>
                  <a:gd name="T47" fmla="*/ 582 h 671"/>
                  <a:gd name="T48" fmla="*/ 160 w 970"/>
                  <a:gd name="T49" fmla="*/ 485 h 671"/>
                  <a:gd name="T50" fmla="*/ 139 w 970"/>
                  <a:gd name="T51" fmla="*/ 480 h 671"/>
                  <a:gd name="T52" fmla="*/ 133 w 970"/>
                  <a:gd name="T53" fmla="*/ 461 h 671"/>
                  <a:gd name="T54" fmla="*/ 140 w 970"/>
                  <a:gd name="T55" fmla="*/ 432 h 671"/>
                  <a:gd name="T56" fmla="*/ 145 w 970"/>
                  <a:gd name="T57" fmla="*/ 408 h 671"/>
                  <a:gd name="T58" fmla="*/ 192 w 970"/>
                  <a:gd name="T59" fmla="*/ 336 h 671"/>
                  <a:gd name="T60" fmla="*/ 192 w 970"/>
                  <a:gd name="T61" fmla="*/ 316 h 671"/>
                  <a:gd name="T62" fmla="*/ 155 w 970"/>
                  <a:gd name="T63" fmla="*/ 291 h 671"/>
                  <a:gd name="T64" fmla="*/ 122 w 970"/>
                  <a:gd name="T65" fmla="*/ 195 h 671"/>
                  <a:gd name="T66" fmla="*/ 83 w 970"/>
                  <a:gd name="T67" fmla="*/ 166 h 671"/>
                  <a:gd name="T68" fmla="*/ 6 w 970"/>
                  <a:gd name="T69" fmla="*/ 140 h 671"/>
                  <a:gd name="T70" fmla="*/ 27 w 970"/>
                  <a:gd name="T71" fmla="*/ 109 h 671"/>
                  <a:gd name="T72" fmla="*/ 248 w 970"/>
                  <a:gd name="T73" fmla="*/ 8 h 671"/>
                  <a:gd name="T74" fmla="*/ 380 w 970"/>
                  <a:gd name="T75" fmla="*/ 0 h 671"/>
                  <a:gd name="T76" fmla="*/ 451 w 970"/>
                  <a:gd name="T77" fmla="*/ 15 h 671"/>
                  <a:gd name="T78" fmla="*/ 502 w 970"/>
                  <a:gd name="T79" fmla="*/ 8 h 671"/>
                  <a:gd name="T80" fmla="*/ 595 w 970"/>
                  <a:gd name="T81" fmla="*/ 54 h 671"/>
                  <a:gd name="T82" fmla="*/ 625 w 970"/>
                  <a:gd name="T83" fmla="*/ 66 h 671"/>
                  <a:gd name="T84" fmla="*/ 658 w 970"/>
                  <a:gd name="T85" fmla="*/ 53 h 671"/>
                  <a:gd name="T86" fmla="*/ 670 w 970"/>
                  <a:gd name="T87" fmla="*/ 72 h 671"/>
                  <a:gd name="T88" fmla="*/ 684 w 970"/>
                  <a:gd name="T89" fmla="*/ 92 h 671"/>
                  <a:gd name="T90" fmla="*/ 720 w 970"/>
                  <a:gd name="T91" fmla="*/ 94 h 671"/>
                  <a:gd name="T92" fmla="*/ 759 w 970"/>
                  <a:gd name="T93" fmla="*/ 103 h 671"/>
                  <a:gd name="T94" fmla="*/ 797 w 970"/>
                  <a:gd name="T95" fmla="*/ 92 h 671"/>
                  <a:gd name="T96" fmla="*/ 852 w 970"/>
                  <a:gd name="T97" fmla="*/ 197 h 671"/>
                  <a:gd name="T98" fmla="*/ 924 w 970"/>
                  <a:gd name="T99" fmla="*/ 214 h 671"/>
                  <a:gd name="T100" fmla="*/ 970 w 970"/>
                  <a:gd name="T101" fmla="*/ 258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671">
                    <a:moveTo>
                      <a:pt x="970" y="258"/>
                    </a:moveTo>
                    <a:lnTo>
                      <a:pt x="961" y="261"/>
                    </a:lnTo>
                    <a:lnTo>
                      <a:pt x="958" y="263"/>
                    </a:lnTo>
                    <a:lnTo>
                      <a:pt x="953" y="268"/>
                    </a:lnTo>
                    <a:lnTo>
                      <a:pt x="948" y="274"/>
                    </a:lnTo>
                    <a:lnTo>
                      <a:pt x="944" y="282"/>
                    </a:lnTo>
                    <a:lnTo>
                      <a:pt x="941" y="287"/>
                    </a:lnTo>
                    <a:lnTo>
                      <a:pt x="939" y="293"/>
                    </a:lnTo>
                    <a:lnTo>
                      <a:pt x="938" y="297"/>
                    </a:lnTo>
                    <a:lnTo>
                      <a:pt x="938" y="301"/>
                    </a:lnTo>
                    <a:lnTo>
                      <a:pt x="938" y="305"/>
                    </a:lnTo>
                    <a:lnTo>
                      <a:pt x="940" y="312"/>
                    </a:lnTo>
                    <a:lnTo>
                      <a:pt x="942" y="313"/>
                    </a:lnTo>
                    <a:lnTo>
                      <a:pt x="935" y="320"/>
                    </a:lnTo>
                    <a:lnTo>
                      <a:pt x="922" y="338"/>
                    </a:lnTo>
                    <a:lnTo>
                      <a:pt x="919" y="340"/>
                    </a:lnTo>
                    <a:lnTo>
                      <a:pt x="916" y="342"/>
                    </a:lnTo>
                    <a:lnTo>
                      <a:pt x="913" y="343"/>
                    </a:lnTo>
                    <a:lnTo>
                      <a:pt x="909" y="343"/>
                    </a:lnTo>
                    <a:lnTo>
                      <a:pt x="898" y="340"/>
                    </a:lnTo>
                    <a:lnTo>
                      <a:pt x="881" y="339"/>
                    </a:lnTo>
                    <a:lnTo>
                      <a:pt x="877" y="338"/>
                    </a:lnTo>
                    <a:lnTo>
                      <a:pt x="870" y="333"/>
                    </a:lnTo>
                    <a:lnTo>
                      <a:pt x="848" y="316"/>
                    </a:lnTo>
                    <a:lnTo>
                      <a:pt x="836" y="303"/>
                    </a:lnTo>
                    <a:lnTo>
                      <a:pt x="830" y="298"/>
                    </a:lnTo>
                    <a:lnTo>
                      <a:pt x="826" y="296"/>
                    </a:lnTo>
                    <a:lnTo>
                      <a:pt x="822" y="294"/>
                    </a:lnTo>
                    <a:lnTo>
                      <a:pt x="818" y="294"/>
                    </a:lnTo>
                    <a:lnTo>
                      <a:pt x="815" y="294"/>
                    </a:lnTo>
                    <a:lnTo>
                      <a:pt x="810" y="295"/>
                    </a:lnTo>
                    <a:lnTo>
                      <a:pt x="803" y="298"/>
                    </a:lnTo>
                    <a:lnTo>
                      <a:pt x="739" y="331"/>
                    </a:lnTo>
                    <a:lnTo>
                      <a:pt x="727" y="339"/>
                    </a:lnTo>
                    <a:lnTo>
                      <a:pt x="719" y="347"/>
                    </a:lnTo>
                    <a:lnTo>
                      <a:pt x="712" y="354"/>
                    </a:lnTo>
                    <a:lnTo>
                      <a:pt x="705" y="370"/>
                    </a:lnTo>
                    <a:lnTo>
                      <a:pt x="704" y="374"/>
                    </a:lnTo>
                    <a:lnTo>
                      <a:pt x="700" y="378"/>
                    </a:lnTo>
                    <a:lnTo>
                      <a:pt x="694" y="382"/>
                    </a:lnTo>
                    <a:lnTo>
                      <a:pt x="656" y="398"/>
                    </a:lnTo>
                    <a:lnTo>
                      <a:pt x="636" y="412"/>
                    </a:lnTo>
                    <a:lnTo>
                      <a:pt x="592" y="448"/>
                    </a:lnTo>
                    <a:lnTo>
                      <a:pt x="572" y="470"/>
                    </a:lnTo>
                    <a:lnTo>
                      <a:pt x="567" y="479"/>
                    </a:lnTo>
                    <a:lnTo>
                      <a:pt x="564" y="485"/>
                    </a:lnTo>
                    <a:lnTo>
                      <a:pt x="563" y="489"/>
                    </a:lnTo>
                    <a:lnTo>
                      <a:pt x="561" y="492"/>
                    </a:lnTo>
                    <a:lnTo>
                      <a:pt x="557" y="494"/>
                    </a:lnTo>
                    <a:lnTo>
                      <a:pt x="550" y="496"/>
                    </a:lnTo>
                    <a:lnTo>
                      <a:pt x="546" y="496"/>
                    </a:lnTo>
                    <a:lnTo>
                      <a:pt x="541" y="496"/>
                    </a:lnTo>
                    <a:lnTo>
                      <a:pt x="538" y="496"/>
                    </a:lnTo>
                    <a:lnTo>
                      <a:pt x="534" y="497"/>
                    </a:lnTo>
                    <a:lnTo>
                      <a:pt x="532" y="501"/>
                    </a:lnTo>
                    <a:lnTo>
                      <a:pt x="529" y="509"/>
                    </a:lnTo>
                    <a:lnTo>
                      <a:pt x="525" y="517"/>
                    </a:lnTo>
                    <a:lnTo>
                      <a:pt x="525" y="520"/>
                    </a:lnTo>
                    <a:lnTo>
                      <a:pt x="524" y="524"/>
                    </a:lnTo>
                    <a:lnTo>
                      <a:pt x="525" y="527"/>
                    </a:lnTo>
                    <a:lnTo>
                      <a:pt x="528" y="543"/>
                    </a:lnTo>
                    <a:lnTo>
                      <a:pt x="528" y="548"/>
                    </a:lnTo>
                    <a:lnTo>
                      <a:pt x="528" y="550"/>
                    </a:lnTo>
                    <a:lnTo>
                      <a:pt x="525" y="554"/>
                    </a:lnTo>
                    <a:lnTo>
                      <a:pt x="523" y="555"/>
                    </a:lnTo>
                    <a:lnTo>
                      <a:pt x="518" y="555"/>
                    </a:lnTo>
                    <a:lnTo>
                      <a:pt x="515" y="554"/>
                    </a:lnTo>
                    <a:lnTo>
                      <a:pt x="502" y="549"/>
                    </a:lnTo>
                    <a:lnTo>
                      <a:pt x="499" y="548"/>
                    </a:lnTo>
                    <a:lnTo>
                      <a:pt x="495" y="549"/>
                    </a:lnTo>
                    <a:lnTo>
                      <a:pt x="491" y="550"/>
                    </a:lnTo>
                    <a:lnTo>
                      <a:pt x="487" y="555"/>
                    </a:lnTo>
                    <a:lnTo>
                      <a:pt x="485" y="559"/>
                    </a:lnTo>
                    <a:lnTo>
                      <a:pt x="484" y="563"/>
                    </a:lnTo>
                    <a:lnTo>
                      <a:pt x="484" y="567"/>
                    </a:lnTo>
                    <a:lnTo>
                      <a:pt x="485" y="572"/>
                    </a:lnTo>
                    <a:lnTo>
                      <a:pt x="494" y="586"/>
                    </a:lnTo>
                    <a:lnTo>
                      <a:pt x="494" y="588"/>
                    </a:lnTo>
                    <a:lnTo>
                      <a:pt x="494" y="591"/>
                    </a:lnTo>
                    <a:lnTo>
                      <a:pt x="494" y="595"/>
                    </a:lnTo>
                    <a:lnTo>
                      <a:pt x="491" y="596"/>
                    </a:lnTo>
                    <a:lnTo>
                      <a:pt x="487" y="598"/>
                    </a:lnTo>
                    <a:lnTo>
                      <a:pt x="471" y="600"/>
                    </a:lnTo>
                    <a:lnTo>
                      <a:pt x="465" y="601"/>
                    </a:lnTo>
                    <a:lnTo>
                      <a:pt x="459" y="603"/>
                    </a:lnTo>
                    <a:lnTo>
                      <a:pt x="432" y="618"/>
                    </a:lnTo>
                    <a:lnTo>
                      <a:pt x="426" y="620"/>
                    </a:lnTo>
                    <a:lnTo>
                      <a:pt x="417" y="621"/>
                    </a:lnTo>
                    <a:lnTo>
                      <a:pt x="410" y="623"/>
                    </a:lnTo>
                    <a:lnTo>
                      <a:pt x="404" y="629"/>
                    </a:lnTo>
                    <a:lnTo>
                      <a:pt x="389" y="625"/>
                    </a:lnTo>
                    <a:lnTo>
                      <a:pt x="342" y="617"/>
                    </a:lnTo>
                    <a:lnTo>
                      <a:pt x="314" y="619"/>
                    </a:lnTo>
                    <a:lnTo>
                      <a:pt x="308" y="620"/>
                    </a:lnTo>
                    <a:lnTo>
                      <a:pt x="303" y="622"/>
                    </a:lnTo>
                    <a:lnTo>
                      <a:pt x="298" y="625"/>
                    </a:lnTo>
                    <a:lnTo>
                      <a:pt x="294" y="628"/>
                    </a:lnTo>
                    <a:lnTo>
                      <a:pt x="282" y="644"/>
                    </a:lnTo>
                    <a:lnTo>
                      <a:pt x="279" y="648"/>
                    </a:lnTo>
                    <a:lnTo>
                      <a:pt x="276" y="649"/>
                    </a:lnTo>
                    <a:lnTo>
                      <a:pt x="273" y="651"/>
                    </a:lnTo>
                    <a:lnTo>
                      <a:pt x="270" y="652"/>
                    </a:lnTo>
                    <a:lnTo>
                      <a:pt x="267" y="653"/>
                    </a:lnTo>
                    <a:lnTo>
                      <a:pt x="263" y="654"/>
                    </a:lnTo>
                    <a:lnTo>
                      <a:pt x="256" y="655"/>
                    </a:lnTo>
                    <a:lnTo>
                      <a:pt x="237" y="654"/>
                    </a:lnTo>
                    <a:lnTo>
                      <a:pt x="228" y="655"/>
                    </a:lnTo>
                    <a:lnTo>
                      <a:pt x="186" y="671"/>
                    </a:lnTo>
                    <a:lnTo>
                      <a:pt x="183" y="671"/>
                    </a:lnTo>
                    <a:lnTo>
                      <a:pt x="178" y="671"/>
                    </a:lnTo>
                    <a:lnTo>
                      <a:pt x="175" y="671"/>
                    </a:lnTo>
                    <a:lnTo>
                      <a:pt x="171" y="669"/>
                    </a:lnTo>
                    <a:lnTo>
                      <a:pt x="169" y="668"/>
                    </a:lnTo>
                    <a:lnTo>
                      <a:pt x="166" y="666"/>
                    </a:lnTo>
                    <a:lnTo>
                      <a:pt x="163" y="663"/>
                    </a:lnTo>
                    <a:lnTo>
                      <a:pt x="162" y="660"/>
                    </a:lnTo>
                    <a:lnTo>
                      <a:pt x="160" y="655"/>
                    </a:lnTo>
                    <a:lnTo>
                      <a:pt x="158" y="650"/>
                    </a:lnTo>
                    <a:lnTo>
                      <a:pt x="160" y="602"/>
                    </a:lnTo>
                    <a:lnTo>
                      <a:pt x="157" y="582"/>
                    </a:lnTo>
                    <a:lnTo>
                      <a:pt x="152" y="562"/>
                    </a:lnTo>
                    <a:lnTo>
                      <a:pt x="151" y="557"/>
                    </a:lnTo>
                    <a:lnTo>
                      <a:pt x="151" y="552"/>
                    </a:lnTo>
                    <a:lnTo>
                      <a:pt x="161" y="489"/>
                    </a:lnTo>
                    <a:lnTo>
                      <a:pt x="160" y="485"/>
                    </a:lnTo>
                    <a:lnTo>
                      <a:pt x="158" y="481"/>
                    </a:lnTo>
                    <a:lnTo>
                      <a:pt x="155" y="478"/>
                    </a:lnTo>
                    <a:lnTo>
                      <a:pt x="151" y="478"/>
                    </a:lnTo>
                    <a:lnTo>
                      <a:pt x="143" y="480"/>
                    </a:lnTo>
                    <a:lnTo>
                      <a:pt x="139" y="480"/>
                    </a:lnTo>
                    <a:lnTo>
                      <a:pt x="135" y="478"/>
                    </a:lnTo>
                    <a:lnTo>
                      <a:pt x="133" y="475"/>
                    </a:lnTo>
                    <a:lnTo>
                      <a:pt x="131" y="471"/>
                    </a:lnTo>
                    <a:lnTo>
                      <a:pt x="130" y="466"/>
                    </a:lnTo>
                    <a:lnTo>
                      <a:pt x="133" y="461"/>
                    </a:lnTo>
                    <a:lnTo>
                      <a:pt x="139" y="450"/>
                    </a:lnTo>
                    <a:lnTo>
                      <a:pt x="139" y="448"/>
                    </a:lnTo>
                    <a:lnTo>
                      <a:pt x="140" y="441"/>
                    </a:lnTo>
                    <a:lnTo>
                      <a:pt x="140" y="436"/>
                    </a:lnTo>
                    <a:lnTo>
                      <a:pt x="140" y="432"/>
                    </a:lnTo>
                    <a:lnTo>
                      <a:pt x="140" y="428"/>
                    </a:lnTo>
                    <a:lnTo>
                      <a:pt x="137" y="420"/>
                    </a:lnTo>
                    <a:lnTo>
                      <a:pt x="139" y="418"/>
                    </a:lnTo>
                    <a:lnTo>
                      <a:pt x="142" y="414"/>
                    </a:lnTo>
                    <a:lnTo>
                      <a:pt x="145" y="408"/>
                    </a:lnTo>
                    <a:lnTo>
                      <a:pt x="155" y="378"/>
                    </a:lnTo>
                    <a:lnTo>
                      <a:pt x="160" y="367"/>
                    </a:lnTo>
                    <a:lnTo>
                      <a:pt x="167" y="358"/>
                    </a:lnTo>
                    <a:lnTo>
                      <a:pt x="188" y="339"/>
                    </a:lnTo>
                    <a:lnTo>
                      <a:pt x="192" y="336"/>
                    </a:lnTo>
                    <a:lnTo>
                      <a:pt x="193" y="332"/>
                    </a:lnTo>
                    <a:lnTo>
                      <a:pt x="195" y="328"/>
                    </a:lnTo>
                    <a:lnTo>
                      <a:pt x="196" y="324"/>
                    </a:lnTo>
                    <a:lnTo>
                      <a:pt x="195" y="320"/>
                    </a:lnTo>
                    <a:lnTo>
                      <a:pt x="192" y="316"/>
                    </a:lnTo>
                    <a:lnTo>
                      <a:pt x="188" y="313"/>
                    </a:lnTo>
                    <a:lnTo>
                      <a:pt x="167" y="302"/>
                    </a:lnTo>
                    <a:lnTo>
                      <a:pt x="161" y="298"/>
                    </a:lnTo>
                    <a:lnTo>
                      <a:pt x="158" y="295"/>
                    </a:lnTo>
                    <a:lnTo>
                      <a:pt x="155" y="291"/>
                    </a:lnTo>
                    <a:lnTo>
                      <a:pt x="154" y="288"/>
                    </a:lnTo>
                    <a:lnTo>
                      <a:pt x="136" y="214"/>
                    </a:lnTo>
                    <a:lnTo>
                      <a:pt x="134" y="209"/>
                    </a:lnTo>
                    <a:lnTo>
                      <a:pt x="132" y="206"/>
                    </a:lnTo>
                    <a:lnTo>
                      <a:pt x="122" y="195"/>
                    </a:lnTo>
                    <a:lnTo>
                      <a:pt x="103" y="179"/>
                    </a:lnTo>
                    <a:lnTo>
                      <a:pt x="92" y="174"/>
                    </a:lnTo>
                    <a:lnTo>
                      <a:pt x="88" y="170"/>
                    </a:lnTo>
                    <a:lnTo>
                      <a:pt x="83" y="167"/>
                    </a:lnTo>
                    <a:lnTo>
                      <a:pt x="83" y="166"/>
                    </a:lnTo>
                    <a:lnTo>
                      <a:pt x="79" y="161"/>
                    </a:lnTo>
                    <a:lnTo>
                      <a:pt x="73" y="158"/>
                    </a:lnTo>
                    <a:lnTo>
                      <a:pt x="64" y="154"/>
                    </a:lnTo>
                    <a:lnTo>
                      <a:pt x="10" y="142"/>
                    </a:lnTo>
                    <a:lnTo>
                      <a:pt x="6" y="140"/>
                    </a:lnTo>
                    <a:lnTo>
                      <a:pt x="3" y="138"/>
                    </a:lnTo>
                    <a:lnTo>
                      <a:pt x="0" y="135"/>
                    </a:lnTo>
                    <a:lnTo>
                      <a:pt x="19" y="115"/>
                    </a:lnTo>
                    <a:lnTo>
                      <a:pt x="22" y="112"/>
                    </a:lnTo>
                    <a:lnTo>
                      <a:pt x="27" y="109"/>
                    </a:lnTo>
                    <a:lnTo>
                      <a:pt x="89" y="78"/>
                    </a:lnTo>
                    <a:lnTo>
                      <a:pt x="119" y="70"/>
                    </a:lnTo>
                    <a:lnTo>
                      <a:pt x="181" y="35"/>
                    </a:lnTo>
                    <a:lnTo>
                      <a:pt x="245" y="8"/>
                    </a:lnTo>
                    <a:lnTo>
                      <a:pt x="248" y="8"/>
                    </a:lnTo>
                    <a:lnTo>
                      <a:pt x="259" y="11"/>
                    </a:lnTo>
                    <a:lnTo>
                      <a:pt x="277" y="19"/>
                    </a:lnTo>
                    <a:lnTo>
                      <a:pt x="287" y="22"/>
                    </a:lnTo>
                    <a:lnTo>
                      <a:pt x="291" y="22"/>
                    </a:lnTo>
                    <a:lnTo>
                      <a:pt x="380" y="0"/>
                    </a:lnTo>
                    <a:lnTo>
                      <a:pt x="392" y="0"/>
                    </a:lnTo>
                    <a:lnTo>
                      <a:pt x="399" y="0"/>
                    </a:lnTo>
                    <a:lnTo>
                      <a:pt x="404" y="0"/>
                    </a:lnTo>
                    <a:lnTo>
                      <a:pt x="445" y="14"/>
                    </a:lnTo>
                    <a:lnTo>
                      <a:pt x="451" y="15"/>
                    </a:lnTo>
                    <a:lnTo>
                      <a:pt x="456" y="15"/>
                    </a:lnTo>
                    <a:lnTo>
                      <a:pt x="460" y="15"/>
                    </a:lnTo>
                    <a:lnTo>
                      <a:pt x="479" y="9"/>
                    </a:lnTo>
                    <a:lnTo>
                      <a:pt x="498" y="8"/>
                    </a:lnTo>
                    <a:lnTo>
                      <a:pt x="502" y="8"/>
                    </a:lnTo>
                    <a:lnTo>
                      <a:pt x="559" y="22"/>
                    </a:lnTo>
                    <a:lnTo>
                      <a:pt x="567" y="24"/>
                    </a:lnTo>
                    <a:lnTo>
                      <a:pt x="571" y="27"/>
                    </a:lnTo>
                    <a:lnTo>
                      <a:pt x="575" y="31"/>
                    </a:lnTo>
                    <a:lnTo>
                      <a:pt x="595" y="54"/>
                    </a:lnTo>
                    <a:lnTo>
                      <a:pt x="600" y="59"/>
                    </a:lnTo>
                    <a:lnTo>
                      <a:pt x="606" y="62"/>
                    </a:lnTo>
                    <a:lnTo>
                      <a:pt x="614" y="66"/>
                    </a:lnTo>
                    <a:lnTo>
                      <a:pt x="620" y="67"/>
                    </a:lnTo>
                    <a:lnTo>
                      <a:pt x="625" y="66"/>
                    </a:lnTo>
                    <a:lnTo>
                      <a:pt x="630" y="65"/>
                    </a:lnTo>
                    <a:lnTo>
                      <a:pt x="635" y="63"/>
                    </a:lnTo>
                    <a:lnTo>
                      <a:pt x="649" y="55"/>
                    </a:lnTo>
                    <a:lnTo>
                      <a:pt x="653" y="54"/>
                    </a:lnTo>
                    <a:lnTo>
                      <a:pt x="658" y="53"/>
                    </a:lnTo>
                    <a:lnTo>
                      <a:pt x="664" y="53"/>
                    </a:lnTo>
                    <a:lnTo>
                      <a:pt x="667" y="54"/>
                    </a:lnTo>
                    <a:lnTo>
                      <a:pt x="669" y="56"/>
                    </a:lnTo>
                    <a:lnTo>
                      <a:pt x="669" y="58"/>
                    </a:lnTo>
                    <a:lnTo>
                      <a:pt x="670" y="72"/>
                    </a:lnTo>
                    <a:lnTo>
                      <a:pt x="670" y="75"/>
                    </a:lnTo>
                    <a:lnTo>
                      <a:pt x="672" y="78"/>
                    </a:lnTo>
                    <a:lnTo>
                      <a:pt x="675" y="84"/>
                    </a:lnTo>
                    <a:lnTo>
                      <a:pt x="678" y="89"/>
                    </a:lnTo>
                    <a:lnTo>
                      <a:pt x="684" y="92"/>
                    </a:lnTo>
                    <a:lnTo>
                      <a:pt x="689" y="94"/>
                    </a:lnTo>
                    <a:lnTo>
                      <a:pt x="693" y="94"/>
                    </a:lnTo>
                    <a:lnTo>
                      <a:pt x="710" y="92"/>
                    </a:lnTo>
                    <a:lnTo>
                      <a:pt x="715" y="93"/>
                    </a:lnTo>
                    <a:lnTo>
                      <a:pt x="720" y="94"/>
                    </a:lnTo>
                    <a:lnTo>
                      <a:pt x="737" y="104"/>
                    </a:lnTo>
                    <a:lnTo>
                      <a:pt x="744" y="106"/>
                    </a:lnTo>
                    <a:lnTo>
                      <a:pt x="749" y="107"/>
                    </a:lnTo>
                    <a:lnTo>
                      <a:pt x="752" y="106"/>
                    </a:lnTo>
                    <a:lnTo>
                      <a:pt x="759" y="103"/>
                    </a:lnTo>
                    <a:lnTo>
                      <a:pt x="779" y="90"/>
                    </a:lnTo>
                    <a:lnTo>
                      <a:pt x="783" y="88"/>
                    </a:lnTo>
                    <a:lnTo>
                      <a:pt x="789" y="87"/>
                    </a:lnTo>
                    <a:lnTo>
                      <a:pt x="794" y="89"/>
                    </a:lnTo>
                    <a:lnTo>
                      <a:pt x="797" y="92"/>
                    </a:lnTo>
                    <a:lnTo>
                      <a:pt x="800" y="96"/>
                    </a:lnTo>
                    <a:lnTo>
                      <a:pt x="828" y="147"/>
                    </a:lnTo>
                    <a:lnTo>
                      <a:pt x="842" y="184"/>
                    </a:lnTo>
                    <a:lnTo>
                      <a:pt x="848" y="193"/>
                    </a:lnTo>
                    <a:lnTo>
                      <a:pt x="852" y="197"/>
                    </a:lnTo>
                    <a:lnTo>
                      <a:pt x="857" y="200"/>
                    </a:lnTo>
                    <a:lnTo>
                      <a:pt x="863" y="203"/>
                    </a:lnTo>
                    <a:lnTo>
                      <a:pt x="867" y="205"/>
                    </a:lnTo>
                    <a:lnTo>
                      <a:pt x="919" y="213"/>
                    </a:lnTo>
                    <a:lnTo>
                      <a:pt x="924" y="214"/>
                    </a:lnTo>
                    <a:lnTo>
                      <a:pt x="932" y="219"/>
                    </a:lnTo>
                    <a:lnTo>
                      <a:pt x="936" y="221"/>
                    </a:lnTo>
                    <a:lnTo>
                      <a:pt x="963" y="246"/>
                    </a:lnTo>
                    <a:lnTo>
                      <a:pt x="968" y="252"/>
                    </a:lnTo>
                    <a:lnTo>
                      <a:pt x="970" y="258"/>
                    </a:lnTo>
                    <a:lnTo>
                      <a:pt x="970" y="25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2" name="Freeform 12">
                <a:extLst>
                  <a:ext uri="{FF2B5EF4-FFF2-40B4-BE49-F238E27FC236}"/>
                </a:extLst>
              </p:cNvPr>
              <p:cNvSpPr>
                <a:spLocks noEditPoints="1"/>
              </p:cNvSpPr>
              <p:nvPr/>
            </p:nvSpPr>
            <p:spPr bwMode="auto">
              <a:xfrm>
                <a:off x="1698625" y="2819400"/>
                <a:ext cx="1485900" cy="1327150"/>
              </a:xfrm>
              <a:custGeom>
                <a:avLst/>
                <a:gdLst>
                  <a:gd name="T0" fmla="*/ 402 w 936"/>
                  <a:gd name="T1" fmla="*/ 671 h 836"/>
                  <a:gd name="T2" fmla="*/ 385 w 936"/>
                  <a:gd name="T3" fmla="*/ 670 h 836"/>
                  <a:gd name="T4" fmla="*/ 396 w 936"/>
                  <a:gd name="T5" fmla="*/ 676 h 836"/>
                  <a:gd name="T6" fmla="*/ 369 w 936"/>
                  <a:gd name="T7" fmla="*/ 660 h 836"/>
                  <a:gd name="T8" fmla="*/ 382 w 936"/>
                  <a:gd name="T9" fmla="*/ 646 h 836"/>
                  <a:gd name="T10" fmla="*/ 386 w 936"/>
                  <a:gd name="T11" fmla="*/ 667 h 836"/>
                  <a:gd name="T12" fmla="*/ 367 w 936"/>
                  <a:gd name="T13" fmla="*/ 655 h 836"/>
                  <a:gd name="T14" fmla="*/ 360 w 936"/>
                  <a:gd name="T15" fmla="*/ 646 h 836"/>
                  <a:gd name="T16" fmla="*/ 389 w 936"/>
                  <a:gd name="T17" fmla="*/ 640 h 836"/>
                  <a:gd name="T18" fmla="*/ 346 w 936"/>
                  <a:gd name="T19" fmla="*/ 645 h 836"/>
                  <a:gd name="T20" fmla="*/ 327 w 936"/>
                  <a:gd name="T21" fmla="*/ 640 h 836"/>
                  <a:gd name="T22" fmla="*/ 328 w 936"/>
                  <a:gd name="T23" fmla="*/ 632 h 836"/>
                  <a:gd name="T24" fmla="*/ 331 w 936"/>
                  <a:gd name="T25" fmla="*/ 617 h 836"/>
                  <a:gd name="T26" fmla="*/ 337 w 936"/>
                  <a:gd name="T27" fmla="*/ 614 h 836"/>
                  <a:gd name="T28" fmla="*/ 832 w 936"/>
                  <a:gd name="T29" fmla="*/ 196 h 836"/>
                  <a:gd name="T30" fmla="*/ 935 w 936"/>
                  <a:gd name="T31" fmla="*/ 342 h 836"/>
                  <a:gd name="T32" fmla="*/ 871 w 936"/>
                  <a:gd name="T33" fmla="*/ 434 h 836"/>
                  <a:gd name="T34" fmla="*/ 704 w 936"/>
                  <a:gd name="T35" fmla="*/ 395 h 836"/>
                  <a:gd name="T36" fmla="*/ 661 w 936"/>
                  <a:gd name="T37" fmla="*/ 399 h 836"/>
                  <a:gd name="T38" fmla="*/ 611 w 936"/>
                  <a:gd name="T39" fmla="*/ 388 h 836"/>
                  <a:gd name="T40" fmla="*/ 563 w 936"/>
                  <a:gd name="T41" fmla="*/ 359 h 836"/>
                  <a:gd name="T42" fmla="*/ 485 w 936"/>
                  <a:gd name="T43" fmla="*/ 322 h 836"/>
                  <a:gd name="T44" fmla="*/ 369 w 936"/>
                  <a:gd name="T45" fmla="*/ 343 h 836"/>
                  <a:gd name="T46" fmla="*/ 406 w 936"/>
                  <a:gd name="T47" fmla="*/ 381 h 836"/>
                  <a:gd name="T48" fmla="*/ 448 w 936"/>
                  <a:gd name="T49" fmla="*/ 454 h 836"/>
                  <a:gd name="T50" fmla="*/ 449 w 936"/>
                  <a:gd name="T51" fmla="*/ 545 h 836"/>
                  <a:gd name="T52" fmla="*/ 510 w 936"/>
                  <a:gd name="T53" fmla="*/ 586 h 836"/>
                  <a:gd name="T54" fmla="*/ 575 w 936"/>
                  <a:gd name="T55" fmla="*/ 664 h 836"/>
                  <a:gd name="T56" fmla="*/ 536 w 936"/>
                  <a:gd name="T57" fmla="*/ 789 h 836"/>
                  <a:gd name="T58" fmla="*/ 475 w 936"/>
                  <a:gd name="T59" fmla="*/ 817 h 836"/>
                  <a:gd name="T60" fmla="*/ 443 w 936"/>
                  <a:gd name="T61" fmla="*/ 787 h 836"/>
                  <a:gd name="T62" fmla="*/ 451 w 936"/>
                  <a:gd name="T63" fmla="*/ 754 h 836"/>
                  <a:gd name="T64" fmla="*/ 433 w 936"/>
                  <a:gd name="T65" fmla="*/ 701 h 836"/>
                  <a:gd name="T66" fmla="*/ 409 w 936"/>
                  <a:gd name="T67" fmla="*/ 659 h 836"/>
                  <a:gd name="T68" fmla="*/ 386 w 936"/>
                  <a:gd name="T69" fmla="*/ 626 h 836"/>
                  <a:gd name="T70" fmla="*/ 354 w 936"/>
                  <a:gd name="T71" fmla="*/ 604 h 836"/>
                  <a:gd name="T72" fmla="*/ 354 w 936"/>
                  <a:gd name="T73" fmla="*/ 561 h 836"/>
                  <a:gd name="T74" fmla="*/ 259 w 936"/>
                  <a:gd name="T75" fmla="*/ 429 h 836"/>
                  <a:gd name="T76" fmla="*/ 205 w 936"/>
                  <a:gd name="T77" fmla="*/ 346 h 836"/>
                  <a:gd name="T78" fmla="*/ 156 w 936"/>
                  <a:gd name="T79" fmla="*/ 271 h 836"/>
                  <a:gd name="T80" fmla="*/ 128 w 936"/>
                  <a:gd name="T81" fmla="*/ 221 h 836"/>
                  <a:gd name="T82" fmla="*/ 107 w 936"/>
                  <a:gd name="T83" fmla="*/ 182 h 836"/>
                  <a:gd name="T84" fmla="*/ 91 w 936"/>
                  <a:gd name="T85" fmla="*/ 174 h 836"/>
                  <a:gd name="T86" fmla="*/ 60 w 936"/>
                  <a:gd name="T87" fmla="*/ 171 h 836"/>
                  <a:gd name="T88" fmla="*/ 45 w 936"/>
                  <a:gd name="T89" fmla="*/ 173 h 836"/>
                  <a:gd name="T90" fmla="*/ 40 w 936"/>
                  <a:gd name="T91" fmla="*/ 172 h 836"/>
                  <a:gd name="T92" fmla="*/ 33 w 936"/>
                  <a:gd name="T93" fmla="*/ 171 h 836"/>
                  <a:gd name="T94" fmla="*/ 20 w 936"/>
                  <a:gd name="T95" fmla="*/ 164 h 836"/>
                  <a:gd name="T96" fmla="*/ 11 w 936"/>
                  <a:gd name="T97" fmla="*/ 178 h 836"/>
                  <a:gd name="T98" fmla="*/ 0 w 936"/>
                  <a:gd name="T99" fmla="*/ 167 h 836"/>
                  <a:gd name="T100" fmla="*/ 15 w 936"/>
                  <a:gd name="T101" fmla="*/ 154 h 836"/>
                  <a:gd name="T102" fmla="*/ 17 w 936"/>
                  <a:gd name="T103" fmla="*/ 137 h 836"/>
                  <a:gd name="T104" fmla="*/ 37 w 936"/>
                  <a:gd name="T105" fmla="*/ 50 h 836"/>
                  <a:gd name="T106" fmla="*/ 70 w 936"/>
                  <a:gd name="T107" fmla="*/ 19 h 836"/>
                  <a:gd name="T108" fmla="*/ 251 w 936"/>
                  <a:gd name="T109" fmla="*/ 11 h 836"/>
                  <a:gd name="T110" fmla="*/ 429 w 936"/>
                  <a:gd name="T111" fmla="*/ 76 h 836"/>
                  <a:gd name="T112" fmla="*/ 526 w 936"/>
                  <a:gd name="T113" fmla="*/ 23 h 836"/>
                  <a:gd name="T114" fmla="*/ 557 w 936"/>
                  <a:gd name="T115" fmla="*/ 129 h 836"/>
                  <a:gd name="T116" fmla="*/ 672 w 936"/>
                  <a:gd name="T117" fmla="*/ 145 h 836"/>
                  <a:gd name="T118" fmla="*/ 740 w 936"/>
                  <a:gd name="T119" fmla="*/ 157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6" h="836">
                    <a:moveTo>
                      <a:pt x="406" y="664"/>
                    </a:moveTo>
                    <a:lnTo>
                      <a:pt x="407" y="668"/>
                    </a:lnTo>
                    <a:lnTo>
                      <a:pt x="409" y="667"/>
                    </a:lnTo>
                    <a:lnTo>
                      <a:pt x="410" y="673"/>
                    </a:lnTo>
                    <a:lnTo>
                      <a:pt x="412" y="675"/>
                    </a:lnTo>
                    <a:lnTo>
                      <a:pt x="412" y="675"/>
                    </a:lnTo>
                    <a:lnTo>
                      <a:pt x="410" y="675"/>
                    </a:lnTo>
                    <a:lnTo>
                      <a:pt x="409" y="677"/>
                    </a:lnTo>
                    <a:lnTo>
                      <a:pt x="406" y="675"/>
                    </a:lnTo>
                    <a:lnTo>
                      <a:pt x="406" y="672"/>
                    </a:lnTo>
                    <a:lnTo>
                      <a:pt x="406" y="671"/>
                    </a:lnTo>
                    <a:lnTo>
                      <a:pt x="404" y="671"/>
                    </a:lnTo>
                    <a:lnTo>
                      <a:pt x="402" y="671"/>
                    </a:lnTo>
                    <a:lnTo>
                      <a:pt x="400" y="670"/>
                    </a:lnTo>
                    <a:lnTo>
                      <a:pt x="400" y="668"/>
                    </a:lnTo>
                    <a:lnTo>
                      <a:pt x="399" y="668"/>
                    </a:lnTo>
                    <a:lnTo>
                      <a:pt x="397" y="669"/>
                    </a:lnTo>
                    <a:lnTo>
                      <a:pt x="397" y="668"/>
                    </a:lnTo>
                    <a:lnTo>
                      <a:pt x="398" y="664"/>
                    </a:lnTo>
                    <a:lnTo>
                      <a:pt x="399" y="662"/>
                    </a:lnTo>
                    <a:lnTo>
                      <a:pt x="401" y="662"/>
                    </a:lnTo>
                    <a:lnTo>
                      <a:pt x="404" y="662"/>
                    </a:lnTo>
                    <a:lnTo>
                      <a:pt x="406" y="664"/>
                    </a:lnTo>
                    <a:close/>
                    <a:moveTo>
                      <a:pt x="376" y="666"/>
                    </a:moveTo>
                    <a:lnTo>
                      <a:pt x="379" y="667"/>
                    </a:lnTo>
                    <a:lnTo>
                      <a:pt x="385" y="670"/>
                    </a:lnTo>
                    <a:lnTo>
                      <a:pt x="388" y="670"/>
                    </a:lnTo>
                    <a:lnTo>
                      <a:pt x="390" y="670"/>
                    </a:lnTo>
                    <a:lnTo>
                      <a:pt x="391" y="671"/>
                    </a:lnTo>
                    <a:lnTo>
                      <a:pt x="392" y="673"/>
                    </a:lnTo>
                    <a:lnTo>
                      <a:pt x="389" y="673"/>
                    </a:lnTo>
                    <a:lnTo>
                      <a:pt x="388" y="676"/>
                    </a:lnTo>
                    <a:lnTo>
                      <a:pt x="390" y="677"/>
                    </a:lnTo>
                    <a:lnTo>
                      <a:pt x="391" y="677"/>
                    </a:lnTo>
                    <a:lnTo>
                      <a:pt x="393" y="675"/>
                    </a:lnTo>
                    <a:lnTo>
                      <a:pt x="396" y="673"/>
                    </a:lnTo>
                    <a:lnTo>
                      <a:pt x="399" y="673"/>
                    </a:lnTo>
                    <a:lnTo>
                      <a:pt x="399" y="674"/>
                    </a:lnTo>
                    <a:lnTo>
                      <a:pt x="396" y="676"/>
                    </a:lnTo>
                    <a:lnTo>
                      <a:pt x="395" y="677"/>
                    </a:lnTo>
                    <a:lnTo>
                      <a:pt x="393" y="678"/>
                    </a:lnTo>
                    <a:lnTo>
                      <a:pt x="391" y="682"/>
                    </a:lnTo>
                    <a:lnTo>
                      <a:pt x="389" y="684"/>
                    </a:lnTo>
                    <a:lnTo>
                      <a:pt x="385" y="682"/>
                    </a:lnTo>
                    <a:lnTo>
                      <a:pt x="383" y="678"/>
                    </a:lnTo>
                    <a:lnTo>
                      <a:pt x="379" y="676"/>
                    </a:lnTo>
                    <a:lnTo>
                      <a:pt x="372" y="668"/>
                    </a:lnTo>
                    <a:lnTo>
                      <a:pt x="371" y="667"/>
                    </a:lnTo>
                    <a:lnTo>
                      <a:pt x="372" y="666"/>
                    </a:lnTo>
                    <a:lnTo>
                      <a:pt x="372" y="664"/>
                    </a:lnTo>
                    <a:lnTo>
                      <a:pt x="370" y="662"/>
                    </a:lnTo>
                    <a:lnTo>
                      <a:pt x="369" y="660"/>
                    </a:lnTo>
                    <a:lnTo>
                      <a:pt x="369" y="659"/>
                    </a:lnTo>
                    <a:lnTo>
                      <a:pt x="370" y="659"/>
                    </a:lnTo>
                    <a:lnTo>
                      <a:pt x="372" y="661"/>
                    </a:lnTo>
                    <a:lnTo>
                      <a:pt x="375" y="664"/>
                    </a:lnTo>
                    <a:lnTo>
                      <a:pt x="376" y="666"/>
                    </a:lnTo>
                    <a:lnTo>
                      <a:pt x="376" y="666"/>
                    </a:lnTo>
                    <a:close/>
                    <a:moveTo>
                      <a:pt x="381" y="651"/>
                    </a:moveTo>
                    <a:lnTo>
                      <a:pt x="381" y="652"/>
                    </a:lnTo>
                    <a:lnTo>
                      <a:pt x="379" y="652"/>
                    </a:lnTo>
                    <a:lnTo>
                      <a:pt x="376" y="649"/>
                    </a:lnTo>
                    <a:lnTo>
                      <a:pt x="377" y="647"/>
                    </a:lnTo>
                    <a:lnTo>
                      <a:pt x="379" y="645"/>
                    </a:lnTo>
                    <a:lnTo>
                      <a:pt x="382" y="646"/>
                    </a:lnTo>
                    <a:lnTo>
                      <a:pt x="384" y="647"/>
                    </a:lnTo>
                    <a:lnTo>
                      <a:pt x="384" y="649"/>
                    </a:lnTo>
                    <a:lnTo>
                      <a:pt x="381" y="651"/>
                    </a:lnTo>
                    <a:lnTo>
                      <a:pt x="381" y="651"/>
                    </a:lnTo>
                    <a:close/>
                    <a:moveTo>
                      <a:pt x="360" y="646"/>
                    </a:moveTo>
                    <a:lnTo>
                      <a:pt x="368" y="652"/>
                    </a:lnTo>
                    <a:lnTo>
                      <a:pt x="369" y="653"/>
                    </a:lnTo>
                    <a:lnTo>
                      <a:pt x="369" y="655"/>
                    </a:lnTo>
                    <a:lnTo>
                      <a:pt x="372" y="656"/>
                    </a:lnTo>
                    <a:lnTo>
                      <a:pt x="375" y="657"/>
                    </a:lnTo>
                    <a:lnTo>
                      <a:pt x="379" y="660"/>
                    </a:lnTo>
                    <a:lnTo>
                      <a:pt x="384" y="665"/>
                    </a:lnTo>
                    <a:lnTo>
                      <a:pt x="386" y="667"/>
                    </a:lnTo>
                    <a:lnTo>
                      <a:pt x="386" y="667"/>
                    </a:lnTo>
                    <a:lnTo>
                      <a:pt x="384" y="668"/>
                    </a:lnTo>
                    <a:lnTo>
                      <a:pt x="382" y="666"/>
                    </a:lnTo>
                    <a:lnTo>
                      <a:pt x="380" y="664"/>
                    </a:lnTo>
                    <a:lnTo>
                      <a:pt x="378" y="664"/>
                    </a:lnTo>
                    <a:lnTo>
                      <a:pt x="376" y="661"/>
                    </a:lnTo>
                    <a:lnTo>
                      <a:pt x="375" y="661"/>
                    </a:lnTo>
                    <a:lnTo>
                      <a:pt x="374" y="661"/>
                    </a:lnTo>
                    <a:lnTo>
                      <a:pt x="372" y="661"/>
                    </a:lnTo>
                    <a:lnTo>
                      <a:pt x="370" y="659"/>
                    </a:lnTo>
                    <a:lnTo>
                      <a:pt x="369" y="657"/>
                    </a:lnTo>
                    <a:lnTo>
                      <a:pt x="368" y="657"/>
                    </a:lnTo>
                    <a:lnTo>
                      <a:pt x="367" y="655"/>
                    </a:lnTo>
                    <a:lnTo>
                      <a:pt x="367" y="654"/>
                    </a:lnTo>
                    <a:lnTo>
                      <a:pt x="365" y="653"/>
                    </a:lnTo>
                    <a:lnTo>
                      <a:pt x="362" y="653"/>
                    </a:lnTo>
                    <a:lnTo>
                      <a:pt x="362" y="652"/>
                    </a:lnTo>
                    <a:lnTo>
                      <a:pt x="361" y="649"/>
                    </a:lnTo>
                    <a:lnTo>
                      <a:pt x="359" y="647"/>
                    </a:lnTo>
                    <a:lnTo>
                      <a:pt x="355" y="648"/>
                    </a:lnTo>
                    <a:lnTo>
                      <a:pt x="354" y="649"/>
                    </a:lnTo>
                    <a:lnTo>
                      <a:pt x="353" y="650"/>
                    </a:lnTo>
                    <a:lnTo>
                      <a:pt x="353" y="648"/>
                    </a:lnTo>
                    <a:lnTo>
                      <a:pt x="354" y="646"/>
                    </a:lnTo>
                    <a:lnTo>
                      <a:pt x="356" y="645"/>
                    </a:lnTo>
                    <a:lnTo>
                      <a:pt x="360" y="646"/>
                    </a:lnTo>
                    <a:lnTo>
                      <a:pt x="360" y="646"/>
                    </a:lnTo>
                    <a:close/>
                    <a:moveTo>
                      <a:pt x="393" y="642"/>
                    </a:moveTo>
                    <a:lnTo>
                      <a:pt x="393" y="644"/>
                    </a:lnTo>
                    <a:lnTo>
                      <a:pt x="391" y="643"/>
                    </a:lnTo>
                    <a:lnTo>
                      <a:pt x="391" y="645"/>
                    </a:lnTo>
                    <a:lnTo>
                      <a:pt x="391" y="645"/>
                    </a:lnTo>
                    <a:lnTo>
                      <a:pt x="392" y="648"/>
                    </a:lnTo>
                    <a:lnTo>
                      <a:pt x="393" y="653"/>
                    </a:lnTo>
                    <a:lnTo>
                      <a:pt x="393" y="655"/>
                    </a:lnTo>
                    <a:lnTo>
                      <a:pt x="391" y="652"/>
                    </a:lnTo>
                    <a:lnTo>
                      <a:pt x="390" y="651"/>
                    </a:lnTo>
                    <a:lnTo>
                      <a:pt x="389" y="649"/>
                    </a:lnTo>
                    <a:lnTo>
                      <a:pt x="389" y="640"/>
                    </a:lnTo>
                    <a:lnTo>
                      <a:pt x="390" y="639"/>
                    </a:lnTo>
                    <a:lnTo>
                      <a:pt x="391" y="638"/>
                    </a:lnTo>
                    <a:lnTo>
                      <a:pt x="392" y="639"/>
                    </a:lnTo>
                    <a:lnTo>
                      <a:pt x="393" y="641"/>
                    </a:lnTo>
                    <a:lnTo>
                      <a:pt x="393" y="642"/>
                    </a:lnTo>
                    <a:lnTo>
                      <a:pt x="393" y="642"/>
                    </a:lnTo>
                    <a:close/>
                    <a:moveTo>
                      <a:pt x="333" y="635"/>
                    </a:moveTo>
                    <a:lnTo>
                      <a:pt x="338" y="639"/>
                    </a:lnTo>
                    <a:lnTo>
                      <a:pt x="340" y="641"/>
                    </a:lnTo>
                    <a:lnTo>
                      <a:pt x="342" y="641"/>
                    </a:lnTo>
                    <a:lnTo>
                      <a:pt x="344" y="641"/>
                    </a:lnTo>
                    <a:lnTo>
                      <a:pt x="345" y="644"/>
                    </a:lnTo>
                    <a:lnTo>
                      <a:pt x="346" y="645"/>
                    </a:lnTo>
                    <a:lnTo>
                      <a:pt x="347" y="645"/>
                    </a:lnTo>
                    <a:lnTo>
                      <a:pt x="349" y="643"/>
                    </a:lnTo>
                    <a:lnTo>
                      <a:pt x="350" y="643"/>
                    </a:lnTo>
                    <a:lnTo>
                      <a:pt x="353" y="645"/>
                    </a:lnTo>
                    <a:lnTo>
                      <a:pt x="353" y="646"/>
                    </a:lnTo>
                    <a:lnTo>
                      <a:pt x="351" y="648"/>
                    </a:lnTo>
                    <a:lnTo>
                      <a:pt x="350" y="648"/>
                    </a:lnTo>
                    <a:lnTo>
                      <a:pt x="349" y="648"/>
                    </a:lnTo>
                    <a:lnTo>
                      <a:pt x="346" y="647"/>
                    </a:lnTo>
                    <a:lnTo>
                      <a:pt x="333" y="639"/>
                    </a:lnTo>
                    <a:lnTo>
                      <a:pt x="330" y="639"/>
                    </a:lnTo>
                    <a:lnTo>
                      <a:pt x="329" y="641"/>
                    </a:lnTo>
                    <a:lnTo>
                      <a:pt x="327" y="640"/>
                    </a:lnTo>
                    <a:lnTo>
                      <a:pt x="323" y="638"/>
                    </a:lnTo>
                    <a:lnTo>
                      <a:pt x="322" y="635"/>
                    </a:lnTo>
                    <a:lnTo>
                      <a:pt x="321" y="631"/>
                    </a:lnTo>
                    <a:lnTo>
                      <a:pt x="322" y="628"/>
                    </a:lnTo>
                    <a:lnTo>
                      <a:pt x="326" y="624"/>
                    </a:lnTo>
                    <a:lnTo>
                      <a:pt x="328" y="621"/>
                    </a:lnTo>
                    <a:lnTo>
                      <a:pt x="330" y="620"/>
                    </a:lnTo>
                    <a:lnTo>
                      <a:pt x="330" y="622"/>
                    </a:lnTo>
                    <a:lnTo>
                      <a:pt x="329" y="624"/>
                    </a:lnTo>
                    <a:lnTo>
                      <a:pt x="326" y="628"/>
                    </a:lnTo>
                    <a:lnTo>
                      <a:pt x="326" y="630"/>
                    </a:lnTo>
                    <a:lnTo>
                      <a:pt x="327" y="631"/>
                    </a:lnTo>
                    <a:lnTo>
                      <a:pt x="328" y="632"/>
                    </a:lnTo>
                    <a:lnTo>
                      <a:pt x="330" y="632"/>
                    </a:lnTo>
                    <a:lnTo>
                      <a:pt x="331" y="633"/>
                    </a:lnTo>
                    <a:lnTo>
                      <a:pt x="333" y="635"/>
                    </a:lnTo>
                    <a:lnTo>
                      <a:pt x="333" y="635"/>
                    </a:lnTo>
                    <a:close/>
                    <a:moveTo>
                      <a:pt x="337" y="618"/>
                    </a:moveTo>
                    <a:lnTo>
                      <a:pt x="338" y="619"/>
                    </a:lnTo>
                    <a:lnTo>
                      <a:pt x="340" y="618"/>
                    </a:lnTo>
                    <a:lnTo>
                      <a:pt x="340" y="619"/>
                    </a:lnTo>
                    <a:lnTo>
                      <a:pt x="339" y="621"/>
                    </a:lnTo>
                    <a:lnTo>
                      <a:pt x="338" y="622"/>
                    </a:lnTo>
                    <a:lnTo>
                      <a:pt x="336" y="621"/>
                    </a:lnTo>
                    <a:lnTo>
                      <a:pt x="332" y="618"/>
                    </a:lnTo>
                    <a:lnTo>
                      <a:pt x="331" y="617"/>
                    </a:lnTo>
                    <a:lnTo>
                      <a:pt x="330" y="615"/>
                    </a:lnTo>
                    <a:lnTo>
                      <a:pt x="329" y="609"/>
                    </a:lnTo>
                    <a:lnTo>
                      <a:pt x="329" y="602"/>
                    </a:lnTo>
                    <a:lnTo>
                      <a:pt x="331" y="595"/>
                    </a:lnTo>
                    <a:lnTo>
                      <a:pt x="336" y="592"/>
                    </a:lnTo>
                    <a:lnTo>
                      <a:pt x="333" y="596"/>
                    </a:lnTo>
                    <a:lnTo>
                      <a:pt x="331" y="599"/>
                    </a:lnTo>
                    <a:lnTo>
                      <a:pt x="331" y="603"/>
                    </a:lnTo>
                    <a:lnTo>
                      <a:pt x="332" y="606"/>
                    </a:lnTo>
                    <a:lnTo>
                      <a:pt x="336" y="609"/>
                    </a:lnTo>
                    <a:lnTo>
                      <a:pt x="338" y="610"/>
                    </a:lnTo>
                    <a:lnTo>
                      <a:pt x="338" y="611"/>
                    </a:lnTo>
                    <a:lnTo>
                      <a:pt x="337" y="614"/>
                    </a:lnTo>
                    <a:lnTo>
                      <a:pt x="337" y="617"/>
                    </a:lnTo>
                    <a:lnTo>
                      <a:pt x="337" y="618"/>
                    </a:lnTo>
                    <a:close/>
                    <a:moveTo>
                      <a:pt x="740" y="157"/>
                    </a:moveTo>
                    <a:lnTo>
                      <a:pt x="743" y="160"/>
                    </a:lnTo>
                    <a:lnTo>
                      <a:pt x="746" y="162"/>
                    </a:lnTo>
                    <a:lnTo>
                      <a:pt x="750" y="164"/>
                    </a:lnTo>
                    <a:lnTo>
                      <a:pt x="804" y="176"/>
                    </a:lnTo>
                    <a:lnTo>
                      <a:pt x="813" y="180"/>
                    </a:lnTo>
                    <a:lnTo>
                      <a:pt x="819" y="183"/>
                    </a:lnTo>
                    <a:lnTo>
                      <a:pt x="823" y="188"/>
                    </a:lnTo>
                    <a:lnTo>
                      <a:pt x="823" y="189"/>
                    </a:lnTo>
                    <a:lnTo>
                      <a:pt x="828" y="192"/>
                    </a:lnTo>
                    <a:lnTo>
                      <a:pt x="832" y="196"/>
                    </a:lnTo>
                    <a:lnTo>
                      <a:pt x="843" y="201"/>
                    </a:lnTo>
                    <a:lnTo>
                      <a:pt x="862" y="217"/>
                    </a:lnTo>
                    <a:lnTo>
                      <a:pt x="872" y="228"/>
                    </a:lnTo>
                    <a:lnTo>
                      <a:pt x="874" y="231"/>
                    </a:lnTo>
                    <a:lnTo>
                      <a:pt x="876" y="236"/>
                    </a:lnTo>
                    <a:lnTo>
                      <a:pt x="894" y="310"/>
                    </a:lnTo>
                    <a:lnTo>
                      <a:pt x="895" y="313"/>
                    </a:lnTo>
                    <a:lnTo>
                      <a:pt x="898" y="317"/>
                    </a:lnTo>
                    <a:lnTo>
                      <a:pt x="901" y="320"/>
                    </a:lnTo>
                    <a:lnTo>
                      <a:pt x="907" y="324"/>
                    </a:lnTo>
                    <a:lnTo>
                      <a:pt x="928" y="335"/>
                    </a:lnTo>
                    <a:lnTo>
                      <a:pt x="932" y="338"/>
                    </a:lnTo>
                    <a:lnTo>
                      <a:pt x="935" y="342"/>
                    </a:lnTo>
                    <a:lnTo>
                      <a:pt x="936" y="346"/>
                    </a:lnTo>
                    <a:lnTo>
                      <a:pt x="935" y="350"/>
                    </a:lnTo>
                    <a:lnTo>
                      <a:pt x="933" y="354"/>
                    </a:lnTo>
                    <a:lnTo>
                      <a:pt x="932" y="358"/>
                    </a:lnTo>
                    <a:lnTo>
                      <a:pt x="928" y="361"/>
                    </a:lnTo>
                    <a:lnTo>
                      <a:pt x="907" y="380"/>
                    </a:lnTo>
                    <a:lnTo>
                      <a:pt x="900" y="389"/>
                    </a:lnTo>
                    <a:lnTo>
                      <a:pt x="895" y="400"/>
                    </a:lnTo>
                    <a:lnTo>
                      <a:pt x="885" y="430"/>
                    </a:lnTo>
                    <a:lnTo>
                      <a:pt x="882" y="436"/>
                    </a:lnTo>
                    <a:lnTo>
                      <a:pt x="879" y="440"/>
                    </a:lnTo>
                    <a:lnTo>
                      <a:pt x="877" y="442"/>
                    </a:lnTo>
                    <a:lnTo>
                      <a:pt x="871" y="434"/>
                    </a:lnTo>
                    <a:lnTo>
                      <a:pt x="868" y="431"/>
                    </a:lnTo>
                    <a:lnTo>
                      <a:pt x="865" y="429"/>
                    </a:lnTo>
                    <a:lnTo>
                      <a:pt x="860" y="428"/>
                    </a:lnTo>
                    <a:lnTo>
                      <a:pt x="791" y="440"/>
                    </a:lnTo>
                    <a:lnTo>
                      <a:pt x="775" y="440"/>
                    </a:lnTo>
                    <a:lnTo>
                      <a:pt x="766" y="438"/>
                    </a:lnTo>
                    <a:lnTo>
                      <a:pt x="760" y="436"/>
                    </a:lnTo>
                    <a:lnTo>
                      <a:pt x="739" y="420"/>
                    </a:lnTo>
                    <a:lnTo>
                      <a:pt x="718" y="413"/>
                    </a:lnTo>
                    <a:lnTo>
                      <a:pt x="713" y="410"/>
                    </a:lnTo>
                    <a:lnTo>
                      <a:pt x="708" y="406"/>
                    </a:lnTo>
                    <a:lnTo>
                      <a:pt x="706" y="399"/>
                    </a:lnTo>
                    <a:lnTo>
                      <a:pt x="704" y="395"/>
                    </a:lnTo>
                    <a:lnTo>
                      <a:pt x="700" y="392"/>
                    </a:lnTo>
                    <a:lnTo>
                      <a:pt x="697" y="391"/>
                    </a:lnTo>
                    <a:lnTo>
                      <a:pt x="695" y="394"/>
                    </a:lnTo>
                    <a:lnTo>
                      <a:pt x="694" y="396"/>
                    </a:lnTo>
                    <a:lnTo>
                      <a:pt x="695" y="401"/>
                    </a:lnTo>
                    <a:lnTo>
                      <a:pt x="696" y="404"/>
                    </a:lnTo>
                    <a:lnTo>
                      <a:pt x="695" y="407"/>
                    </a:lnTo>
                    <a:lnTo>
                      <a:pt x="691" y="409"/>
                    </a:lnTo>
                    <a:lnTo>
                      <a:pt x="687" y="409"/>
                    </a:lnTo>
                    <a:lnTo>
                      <a:pt x="683" y="407"/>
                    </a:lnTo>
                    <a:lnTo>
                      <a:pt x="670" y="401"/>
                    </a:lnTo>
                    <a:lnTo>
                      <a:pt x="665" y="400"/>
                    </a:lnTo>
                    <a:lnTo>
                      <a:pt x="661" y="399"/>
                    </a:lnTo>
                    <a:lnTo>
                      <a:pt x="657" y="400"/>
                    </a:lnTo>
                    <a:lnTo>
                      <a:pt x="655" y="401"/>
                    </a:lnTo>
                    <a:lnTo>
                      <a:pt x="640" y="413"/>
                    </a:lnTo>
                    <a:lnTo>
                      <a:pt x="635" y="416"/>
                    </a:lnTo>
                    <a:lnTo>
                      <a:pt x="630" y="418"/>
                    </a:lnTo>
                    <a:lnTo>
                      <a:pt x="627" y="417"/>
                    </a:lnTo>
                    <a:lnTo>
                      <a:pt x="625" y="413"/>
                    </a:lnTo>
                    <a:lnTo>
                      <a:pt x="625" y="410"/>
                    </a:lnTo>
                    <a:lnTo>
                      <a:pt x="626" y="406"/>
                    </a:lnTo>
                    <a:lnTo>
                      <a:pt x="626" y="403"/>
                    </a:lnTo>
                    <a:lnTo>
                      <a:pt x="625" y="399"/>
                    </a:lnTo>
                    <a:lnTo>
                      <a:pt x="622" y="396"/>
                    </a:lnTo>
                    <a:lnTo>
                      <a:pt x="611" y="388"/>
                    </a:lnTo>
                    <a:lnTo>
                      <a:pt x="609" y="386"/>
                    </a:lnTo>
                    <a:lnTo>
                      <a:pt x="608" y="382"/>
                    </a:lnTo>
                    <a:lnTo>
                      <a:pt x="607" y="380"/>
                    </a:lnTo>
                    <a:lnTo>
                      <a:pt x="608" y="376"/>
                    </a:lnTo>
                    <a:lnTo>
                      <a:pt x="607" y="374"/>
                    </a:lnTo>
                    <a:lnTo>
                      <a:pt x="605" y="372"/>
                    </a:lnTo>
                    <a:lnTo>
                      <a:pt x="602" y="369"/>
                    </a:lnTo>
                    <a:lnTo>
                      <a:pt x="600" y="368"/>
                    </a:lnTo>
                    <a:lnTo>
                      <a:pt x="595" y="367"/>
                    </a:lnTo>
                    <a:lnTo>
                      <a:pt x="579" y="367"/>
                    </a:lnTo>
                    <a:lnTo>
                      <a:pt x="572" y="365"/>
                    </a:lnTo>
                    <a:lnTo>
                      <a:pt x="566" y="363"/>
                    </a:lnTo>
                    <a:lnTo>
                      <a:pt x="563" y="359"/>
                    </a:lnTo>
                    <a:lnTo>
                      <a:pt x="554" y="345"/>
                    </a:lnTo>
                    <a:lnTo>
                      <a:pt x="550" y="339"/>
                    </a:lnTo>
                    <a:lnTo>
                      <a:pt x="547" y="331"/>
                    </a:lnTo>
                    <a:lnTo>
                      <a:pt x="542" y="314"/>
                    </a:lnTo>
                    <a:lnTo>
                      <a:pt x="541" y="311"/>
                    </a:lnTo>
                    <a:lnTo>
                      <a:pt x="538" y="307"/>
                    </a:lnTo>
                    <a:lnTo>
                      <a:pt x="534" y="304"/>
                    </a:lnTo>
                    <a:lnTo>
                      <a:pt x="531" y="304"/>
                    </a:lnTo>
                    <a:lnTo>
                      <a:pt x="528" y="304"/>
                    </a:lnTo>
                    <a:lnTo>
                      <a:pt x="497" y="320"/>
                    </a:lnTo>
                    <a:lnTo>
                      <a:pt x="493" y="321"/>
                    </a:lnTo>
                    <a:lnTo>
                      <a:pt x="489" y="322"/>
                    </a:lnTo>
                    <a:lnTo>
                      <a:pt x="485" y="322"/>
                    </a:lnTo>
                    <a:lnTo>
                      <a:pt x="478" y="321"/>
                    </a:lnTo>
                    <a:lnTo>
                      <a:pt x="474" y="319"/>
                    </a:lnTo>
                    <a:lnTo>
                      <a:pt x="459" y="310"/>
                    </a:lnTo>
                    <a:lnTo>
                      <a:pt x="451" y="307"/>
                    </a:lnTo>
                    <a:lnTo>
                      <a:pt x="446" y="305"/>
                    </a:lnTo>
                    <a:lnTo>
                      <a:pt x="442" y="305"/>
                    </a:lnTo>
                    <a:lnTo>
                      <a:pt x="438" y="307"/>
                    </a:lnTo>
                    <a:lnTo>
                      <a:pt x="395" y="327"/>
                    </a:lnTo>
                    <a:lnTo>
                      <a:pt x="376" y="332"/>
                    </a:lnTo>
                    <a:lnTo>
                      <a:pt x="373" y="334"/>
                    </a:lnTo>
                    <a:lnTo>
                      <a:pt x="369" y="337"/>
                    </a:lnTo>
                    <a:lnTo>
                      <a:pt x="369" y="340"/>
                    </a:lnTo>
                    <a:lnTo>
                      <a:pt x="369" y="343"/>
                    </a:lnTo>
                    <a:lnTo>
                      <a:pt x="372" y="345"/>
                    </a:lnTo>
                    <a:lnTo>
                      <a:pt x="376" y="345"/>
                    </a:lnTo>
                    <a:lnTo>
                      <a:pt x="386" y="343"/>
                    </a:lnTo>
                    <a:lnTo>
                      <a:pt x="390" y="343"/>
                    </a:lnTo>
                    <a:lnTo>
                      <a:pt x="391" y="343"/>
                    </a:lnTo>
                    <a:lnTo>
                      <a:pt x="395" y="344"/>
                    </a:lnTo>
                    <a:lnTo>
                      <a:pt x="398" y="347"/>
                    </a:lnTo>
                    <a:lnTo>
                      <a:pt x="400" y="350"/>
                    </a:lnTo>
                    <a:lnTo>
                      <a:pt x="402" y="351"/>
                    </a:lnTo>
                    <a:lnTo>
                      <a:pt x="403" y="355"/>
                    </a:lnTo>
                    <a:lnTo>
                      <a:pt x="406" y="366"/>
                    </a:lnTo>
                    <a:lnTo>
                      <a:pt x="406" y="371"/>
                    </a:lnTo>
                    <a:lnTo>
                      <a:pt x="406" y="381"/>
                    </a:lnTo>
                    <a:lnTo>
                      <a:pt x="402" y="407"/>
                    </a:lnTo>
                    <a:lnTo>
                      <a:pt x="402" y="415"/>
                    </a:lnTo>
                    <a:lnTo>
                      <a:pt x="403" y="419"/>
                    </a:lnTo>
                    <a:lnTo>
                      <a:pt x="404" y="424"/>
                    </a:lnTo>
                    <a:lnTo>
                      <a:pt x="406" y="427"/>
                    </a:lnTo>
                    <a:lnTo>
                      <a:pt x="408" y="432"/>
                    </a:lnTo>
                    <a:lnTo>
                      <a:pt x="411" y="435"/>
                    </a:lnTo>
                    <a:lnTo>
                      <a:pt x="414" y="439"/>
                    </a:lnTo>
                    <a:lnTo>
                      <a:pt x="418" y="441"/>
                    </a:lnTo>
                    <a:lnTo>
                      <a:pt x="422" y="443"/>
                    </a:lnTo>
                    <a:lnTo>
                      <a:pt x="442" y="449"/>
                    </a:lnTo>
                    <a:lnTo>
                      <a:pt x="445" y="450"/>
                    </a:lnTo>
                    <a:lnTo>
                      <a:pt x="448" y="454"/>
                    </a:lnTo>
                    <a:lnTo>
                      <a:pt x="450" y="458"/>
                    </a:lnTo>
                    <a:lnTo>
                      <a:pt x="450" y="463"/>
                    </a:lnTo>
                    <a:lnTo>
                      <a:pt x="449" y="467"/>
                    </a:lnTo>
                    <a:lnTo>
                      <a:pt x="448" y="470"/>
                    </a:lnTo>
                    <a:lnTo>
                      <a:pt x="437" y="487"/>
                    </a:lnTo>
                    <a:lnTo>
                      <a:pt x="435" y="495"/>
                    </a:lnTo>
                    <a:lnTo>
                      <a:pt x="434" y="498"/>
                    </a:lnTo>
                    <a:lnTo>
                      <a:pt x="434" y="502"/>
                    </a:lnTo>
                    <a:lnTo>
                      <a:pt x="434" y="506"/>
                    </a:lnTo>
                    <a:lnTo>
                      <a:pt x="435" y="510"/>
                    </a:lnTo>
                    <a:lnTo>
                      <a:pt x="444" y="530"/>
                    </a:lnTo>
                    <a:lnTo>
                      <a:pt x="447" y="537"/>
                    </a:lnTo>
                    <a:lnTo>
                      <a:pt x="449" y="545"/>
                    </a:lnTo>
                    <a:lnTo>
                      <a:pt x="450" y="548"/>
                    </a:lnTo>
                    <a:lnTo>
                      <a:pt x="451" y="550"/>
                    </a:lnTo>
                    <a:lnTo>
                      <a:pt x="453" y="549"/>
                    </a:lnTo>
                    <a:lnTo>
                      <a:pt x="460" y="545"/>
                    </a:lnTo>
                    <a:lnTo>
                      <a:pt x="464" y="543"/>
                    </a:lnTo>
                    <a:lnTo>
                      <a:pt x="467" y="544"/>
                    </a:lnTo>
                    <a:lnTo>
                      <a:pt x="497" y="562"/>
                    </a:lnTo>
                    <a:lnTo>
                      <a:pt x="499" y="563"/>
                    </a:lnTo>
                    <a:lnTo>
                      <a:pt x="501" y="565"/>
                    </a:lnTo>
                    <a:lnTo>
                      <a:pt x="504" y="575"/>
                    </a:lnTo>
                    <a:lnTo>
                      <a:pt x="505" y="579"/>
                    </a:lnTo>
                    <a:lnTo>
                      <a:pt x="507" y="583"/>
                    </a:lnTo>
                    <a:lnTo>
                      <a:pt x="510" y="586"/>
                    </a:lnTo>
                    <a:lnTo>
                      <a:pt x="532" y="605"/>
                    </a:lnTo>
                    <a:lnTo>
                      <a:pt x="534" y="609"/>
                    </a:lnTo>
                    <a:lnTo>
                      <a:pt x="537" y="612"/>
                    </a:lnTo>
                    <a:lnTo>
                      <a:pt x="540" y="617"/>
                    </a:lnTo>
                    <a:lnTo>
                      <a:pt x="545" y="632"/>
                    </a:lnTo>
                    <a:lnTo>
                      <a:pt x="551" y="654"/>
                    </a:lnTo>
                    <a:lnTo>
                      <a:pt x="552" y="658"/>
                    </a:lnTo>
                    <a:lnTo>
                      <a:pt x="554" y="659"/>
                    </a:lnTo>
                    <a:lnTo>
                      <a:pt x="557" y="660"/>
                    </a:lnTo>
                    <a:lnTo>
                      <a:pt x="567" y="660"/>
                    </a:lnTo>
                    <a:lnTo>
                      <a:pt x="571" y="661"/>
                    </a:lnTo>
                    <a:lnTo>
                      <a:pt x="573" y="662"/>
                    </a:lnTo>
                    <a:lnTo>
                      <a:pt x="575" y="664"/>
                    </a:lnTo>
                    <a:lnTo>
                      <a:pt x="577" y="668"/>
                    </a:lnTo>
                    <a:lnTo>
                      <a:pt x="577" y="671"/>
                    </a:lnTo>
                    <a:lnTo>
                      <a:pt x="571" y="714"/>
                    </a:lnTo>
                    <a:lnTo>
                      <a:pt x="573" y="774"/>
                    </a:lnTo>
                    <a:lnTo>
                      <a:pt x="572" y="777"/>
                    </a:lnTo>
                    <a:lnTo>
                      <a:pt x="571" y="781"/>
                    </a:lnTo>
                    <a:lnTo>
                      <a:pt x="567" y="785"/>
                    </a:lnTo>
                    <a:lnTo>
                      <a:pt x="564" y="788"/>
                    </a:lnTo>
                    <a:lnTo>
                      <a:pt x="559" y="790"/>
                    </a:lnTo>
                    <a:lnTo>
                      <a:pt x="556" y="791"/>
                    </a:lnTo>
                    <a:lnTo>
                      <a:pt x="547" y="791"/>
                    </a:lnTo>
                    <a:lnTo>
                      <a:pt x="540" y="790"/>
                    </a:lnTo>
                    <a:lnTo>
                      <a:pt x="536" y="789"/>
                    </a:lnTo>
                    <a:lnTo>
                      <a:pt x="533" y="790"/>
                    </a:lnTo>
                    <a:lnTo>
                      <a:pt x="528" y="792"/>
                    </a:lnTo>
                    <a:lnTo>
                      <a:pt x="525" y="796"/>
                    </a:lnTo>
                    <a:lnTo>
                      <a:pt x="520" y="801"/>
                    </a:lnTo>
                    <a:lnTo>
                      <a:pt x="517" y="806"/>
                    </a:lnTo>
                    <a:lnTo>
                      <a:pt x="512" y="808"/>
                    </a:lnTo>
                    <a:lnTo>
                      <a:pt x="508" y="809"/>
                    </a:lnTo>
                    <a:lnTo>
                      <a:pt x="504" y="811"/>
                    </a:lnTo>
                    <a:lnTo>
                      <a:pt x="498" y="812"/>
                    </a:lnTo>
                    <a:lnTo>
                      <a:pt x="484" y="812"/>
                    </a:lnTo>
                    <a:lnTo>
                      <a:pt x="481" y="813"/>
                    </a:lnTo>
                    <a:lnTo>
                      <a:pt x="478" y="815"/>
                    </a:lnTo>
                    <a:lnTo>
                      <a:pt x="475" y="817"/>
                    </a:lnTo>
                    <a:lnTo>
                      <a:pt x="473" y="821"/>
                    </a:lnTo>
                    <a:lnTo>
                      <a:pt x="472" y="823"/>
                    </a:lnTo>
                    <a:lnTo>
                      <a:pt x="470" y="835"/>
                    </a:lnTo>
                    <a:lnTo>
                      <a:pt x="469" y="836"/>
                    </a:lnTo>
                    <a:lnTo>
                      <a:pt x="459" y="820"/>
                    </a:lnTo>
                    <a:lnTo>
                      <a:pt x="449" y="806"/>
                    </a:lnTo>
                    <a:lnTo>
                      <a:pt x="444" y="799"/>
                    </a:lnTo>
                    <a:lnTo>
                      <a:pt x="444" y="794"/>
                    </a:lnTo>
                    <a:lnTo>
                      <a:pt x="444" y="793"/>
                    </a:lnTo>
                    <a:lnTo>
                      <a:pt x="444" y="791"/>
                    </a:lnTo>
                    <a:lnTo>
                      <a:pt x="444" y="789"/>
                    </a:lnTo>
                    <a:lnTo>
                      <a:pt x="444" y="788"/>
                    </a:lnTo>
                    <a:lnTo>
                      <a:pt x="443" y="787"/>
                    </a:lnTo>
                    <a:lnTo>
                      <a:pt x="440" y="790"/>
                    </a:lnTo>
                    <a:lnTo>
                      <a:pt x="438" y="790"/>
                    </a:lnTo>
                    <a:lnTo>
                      <a:pt x="436" y="788"/>
                    </a:lnTo>
                    <a:lnTo>
                      <a:pt x="434" y="784"/>
                    </a:lnTo>
                    <a:lnTo>
                      <a:pt x="430" y="778"/>
                    </a:lnTo>
                    <a:lnTo>
                      <a:pt x="435" y="778"/>
                    </a:lnTo>
                    <a:lnTo>
                      <a:pt x="438" y="779"/>
                    </a:lnTo>
                    <a:lnTo>
                      <a:pt x="443" y="779"/>
                    </a:lnTo>
                    <a:lnTo>
                      <a:pt x="446" y="777"/>
                    </a:lnTo>
                    <a:lnTo>
                      <a:pt x="449" y="775"/>
                    </a:lnTo>
                    <a:lnTo>
                      <a:pt x="449" y="765"/>
                    </a:lnTo>
                    <a:lnTo>
                      <a:pt x="452" y="758"/>
                    </a:lnTo>
                    <a:lnTo>
                      <a:pt x="451" y="754"/>
                    </a:lnTo>
                    <a:lnTo>
                      <a:pt x="449" y="746"/>
                    </a:lnTo>
                    <a:lnTo>
                      <a:pt x="448" y="741"/>
                    </a:lnTo>
                    <a:lnTo>
                      <a:pt x="449" y="730"/>
                    </a:lnTo>
                    <a:lnTo>
                      <a:pt x="448" y="726"/>
                    </a:lnTo>
                    <a:lnTo>
                      <a:pt x="448" y="722"/>
                    </a:lnTo>
                    <a:lnTo>
                      <a:pt x="446" y="718"/>
                    </a:lnTo>
                    <a:lnTo>
                      <a:pt x="444" y="715"/>
                    </a:lnTo>
                    <a:lnTo>
                      <a:pt x="441" y="711"/>
                    </a:lnTo>
                    <a:lnTo>
                      <a:pt x="439" y="709"/>
                    </a:lnTo>
                    <a:lnTo>
                      <a:pt x="437" y="708"/>
                    </a:lnTo>
                    <a:lnTo>
                      <a:pt x="436" y="707"/>
                    </a:lnTo>
                    <a:lnTo>
                      <a:pt x="434" y="703"/>
                    </a:lnTo>
                    <a:lnTo>
                      <a:pt x="433" y="701"/>
                    </a:lnTo>
                    <a:lnTo>
                      <a:pt x="429" y="699"/>
                    </a:lnTo>
                    <a:lnTo>
                      <a:pt x="426" y="695"/>
                    </a:lnTo>
                    <a:lnTo>
                      <a:pt x="423" y="691"/>
                    </a:lnTo>
                    <a:lnTo>
                      <a:pt x="421" y="687"/>
                    </a:lnTo>
                    <a:lnTo>
                      <a:pt x="421" y="685"/>
                    </a:lnTo>
                    <a:lnTo>
                      <a:pt x="421" y="681"/>
                    </a:lnTo>
                    <a:lnTo>
                      <a:pt x="420" y="679"/>
                    </a:lnTo>
                    <a:lnTo>
                      <a:pt x="419" y="677"/>
                    </a:lnTo>
                    <a:lnTo>
                      <a:pt x="416" y="675"/>
                    </a:lnTo>
                    <a:lnTo>
                      <a:pt x="415" y="673"/>
                    </a:lnTo>
                    <a:lnTo>
                      <a:pt x="419" y="671"/>
                    </a:lnTo>
                    <a:lnTo>
                      <a:pt x="416" y="667"/>
                    </a:lnTo>
                    <a:lnTo>
                      <a:pt x="409" y="659"/>
                    </a:lnTo>
                    <a:lnTo>
                      <a:pt x="407" y="657"/>
                    </a:lnTo>
                    <a:lnTo>
                      <a:pt x="405" y="648"/>
                    </a:lnTo>
                    <a:lnTo>
                      <a:pt x="404" y="647"/>
                    </a:lnTo>
                    <a:lnTo>
                      <a:pt x="401" y="646"/>
                    </a:lnTo>
                    <a:lnTo>
                      <a:pt x="400" y="645"/>
                    </a:lnTo>
                    <a:lnTo>
                      <a:pt x="400" y="644"/>
                    </a:lnTo>
                    <a:lnTo>
                      <a:pt x="400" y="641"/>
                    </a:lnTo>
                    <a:lnTo>
                      <a:pt x="399" y="639"/>
                    </a:lnTo>
                    <a:lnTo>
                      <a:pt x="396" y="632"/>
                    </a:lnTo>
                    <a:lnTo>
                      <a:pt x="395" y="631"/>
                    </a:lnTo>
                    <a:lnTo>
                      <a:pt x="393" y="629"/>
                    </a:lnTo>
                    <a:lnTo>
                      <a:pt x="388" y="627"/>
                    </a:lnTo>
                    <a:lnTo>
                      <a:pt x="386" y="626"/>
                    </a:lnTo>
                    <a:lnTo>
                      <a:pt x="379" y="616"/>
                    </a:lnTo>
                    <a:lnTo>
                      <a:pt x="375" y="610"/>
                    </a:lnTo>
                    <a:lnTo>
                      <a:pt x="371" y="609"/>
                    </a:lnTo>
                    <a:lnTo>
                      <a:pt x="371" y="612"/>
                    </a:lnTo>
                    <a:lnTo>
                      <a:pt x="372" y="614"/>
                    </a:lnTo>
                    <a:lnTo>
                      <a:pt x="373" y="616"/>
                    </a:lnTo>
                    <a:lnTo>
                      <a:pt x="371" y="617"/>
                    </a:lnTo>
                    <a:lnTo>
                      <a:pt x="369" y="617"/>
                    </a:lnTo>
                    <a:lnTo>
                      <a:pt x="363" y="613"/>
                    </a:lnTo>
                    <a:lnTo>
                      <a:pt x="361" y="612"/>
                    </a:lnTo>
                    <a:lnTo>
                      <a:pt x="360" y="611"/>
                    </a:lnTo>
                    <a:lnTo>
                      <a:pt x="356" y="606"/>
                    </a:lnTo>
                    <a:lnTo>
                      <a:pt x="354" y="604"/>
                    </a:lnTo>
                    <a:lnTo>
                      <a:pt x="354" y="603"/>
                    </a:lnTo>
                    <a:lnTo>
                      <a:pt x="354" y="599"/>
                    </a:lnTo>
                    <a:lnTo>
                      <a:pt x="354" y="598"/>
                    </a:lnTo>
                    <a:lnTo>
                      <a:pt x="353" y="597"/>
                    </a:lnTo>
                    <a:lnTo>
                      <a:pt x="351" y="597"/>
                    </a:lnTo>
                    <a:lnTo>
                      <a:pt x="349" y="592"/>
                    </a:lnTo>
                    <a:lnTo>
                      <a:pt x="349" y="587"/>
                    </a:lnTo>
                    <a:lnTo>
                      <a:pt x="351" y="583"/>
                    </a:lnTo>
                    <a:lnTo>
                      <a:pt x="354" y="579"/>
                    </a:lnTo>
                    <a:lnTo>
                      <a:pt x="356" y="576"/>
                    </a:lnTo>
                    <a:lnTo>
                      <a:pt x="357" y="571"/>
                    </a:lnTo>
                    <a:lnTo>
                      <a:pt x="356" y="565"/>
                    </a:lnTo>
                    <a:lnTo>
                      <a:pt x="354" y="561"/>
                    </a:lnTo>
                    <a:lnTo>
                      <a:pt x="351" y="556"/>
                    </a:lnTo>
                    <a:lnTo>
                      <a:pt x="346" y="554"/>
                    </a:lnTo>
                    <a:lnTo>
                      <a:pt x="339" y="552"/>
                    </a:lnTo>
                    <a:lnTo>
                      <a:pt x="334" y="552"/>
                    </a:lnTo>
                    <a:lnTo>
                      <a:pt x="328" y="549"/>
                    </a:lnTo>
                    <a:lnTo>
                      <a:pt x="324" y="544"/>
                    </a:lnTo>
                    <a:lnTo>
                      <a:pt x="314" y="519"/>
                    </a:lnTo>
                    <a:lnTo>
                      <a:pt x="309" y="512"/>
                    </a:lnTo>
                    <a:lnTo>
                      <a:pt x="302" y="502"/>
                    </a:lnTo>
                    <a:lnTo>
                      <a:pt x="290" y="472"/>
                    </a:lnTo>
                    <a:lnTo>
                      <a:pt x="277" y="448"/>
                    </a:lnTo>
                    <a:lnTo>
                      <a:pt x="269" y="438"/>
                    </a:lnTo>
                    <a:lnTo>
                      <a:pt x="259" y="429"/>
                    </a:lnTo>
                    <a:lnTo>
                      <a:pt x="255" y="424"/>
                    </a:lnTo>
                    <a:lnTo>
                      <a:pt x="252" y="416"/>
                    </a:lnTo>
                    <a:lnTo>
                      <a:pt x="247" y="407"/>
                    </a:lnTo>
                    <a:lnTo>
                      <a:pt x="243" y="396"/>
                    </a:lnTo>
                    <a:lnTo>
                      <a:pt x="241" y="396"/>
                    </a:lnTo>
                    <a:lnTo>
                      <a:pt x="238" y="394"/>
                    </a:lnTo>
                    <a:lnTo>
                      <a:pt x="234" y="388"/>
                    </a:lnTo>
                    <a:lnTo>
                      <a:pt x="224" y="378"/>
                    </a:lnTo>
                    <a:lnTo>
                      <a:pt x="210" y="360"/>
                    </a:lnTo>
                    <a:lnTo>
                      <a:pt x="205" y="351"/>
                    </a:lnTo>
                    <a:lnTo>
                      <a:pt x="204" y="350"/>
                    </a:lnTo>
                    <a:lnTo>
                      <a:pt x="204" y="348"/>
                    </a:lnTo>
                    <a:lnTo>
                      <a:pt x="205" y="346"/>
                    </a:lnTo>
                    <a:lnTo>
                      <a:pt x="206" y="343"/>
                    </a:lnTo>
                    <a:lnTo>
                      <a:pt x="207" y="342"/>
                    </a:lnTo>
                    <a:lnTo>
                      <a:pt x="206" y="339"/>
                    </a:lnTo>
                    <a:lnTo>
                      <a:pt x="203" y="334"/>
                    </a:lnTo>
                    <a:lnTo>
                      <a:pt x="188" y="316"/>
                    </a:lnTo>
                    <a:lnTo>
                      <a:pt x="180" y="311"/>
                    </a:lnTo>
                    <a:lnTo>
                      <a:pt x="178" y="309"/>
                    </a:lnTo>
                    <a:lnTo>
                      <a:pt x="174" y="304"/>
                    </a:lnTo>
                    <a:lnTo>
                      <a:pt x="170" y="297"/>
                    </a:lnTo>
                    <a:lnTo>
                      <a:pt x="165" y="291"/>
                    </a:lnTo>
                    <a:lnTo>
                      <a:pt x="158" y="280"/>
                    </a:lnTo>
                    <a:lnTo>
                      <a:pt x="157" y="275"/>
                    </a:lnTo>
                    <a:lnTo>
                      <a:pt x="156" y="271"/>
                    </a:lnTo>
                    <a:lnTo>
                      <a:pt x="156" y="265"/>
                    </a:lnTo>
                    <a:lnTo>
                      <a:pt x="155" y="261"/>
                    </a:lnTo>
                    <a:lnTo>
                      <a:pt x="153" y="259"/>
                    </a:lnTo>
                    <a:lnTo>
                      <a:pt x="148" y="252"/>
                    </a:lnTo>
                    <a:lnTo>
                      <a:pt x="144" y="247"/>
                    </a:lnTo>
                    <a:lnTo>
                      <a:pt x="141" y="236"/>
                    </a:lnTo>
                    <a:lnTo>
                      <a:pt x="137" y="231"/>
                    </a:lnTo>
                    <a:lnTo>
                      <a:pt x="135" y="229"/>
                    </a:lnTo>
                    <a:lnTo>
                      <a:pt x="132" y="228"/>
                    </a:lnTo>
                    <a:lnTo>
                      <a:pt x="131" y="228"/>
                    </a:lnTo>
                    <a:lnTo>
                      <a:pt x="130" y="226"/>
                    </a:lnTo>
                    <a:lnTo>
                      <a:pt x="129" y="224"/>
                    </a:lnTo>
                    <a:lnTo>
                      <a:pt x="128" y="221"/>
                    </a:lnTo>
                    <a:lnTo>
                      <a:pt x="127" y="214"/>
                    </a:lnTo>
                    <a:lnTo>
                      <a:pt x="125" y="212"/>
                    </a:lnTo>
                    <a:lnTo>
                      <a:pt x="116" y="202"/>
                    </a:lnTo>
                    <a:lnTo>
                      <a:pt x="113" y="198"/>
                    </a:lnTo>
                    <a:lnTo>
                      <a:pt x="113" y="196"/>
                    </a:lnTo>
                    <a:lnTo>
                      <a:pt x="109" y="194"/>
                    </a:lnTo>
                    <a:lnTo>
                      <a:pt x="101" y="188"/>
                    </a:lnTo>
                    <a:lnTo>
                      <a:pt x="101" y="190"/>
                    </a:lnTo>
                    <a:lnTo>
                      <a:pt x="100" y="190"/>
                    </a:lnTo>
                    <a:lnTo>
                      <a:pt x="98" y="187"/>
                    </a:lnTo>
                    <a:lnTo>
                      <a:pt x="100" y="185"/>
                    </a:lnTo>
                    <a:lnTo>
                      <a:pt x="105" y="183"/>
                    </a:lnTo>
                    <a:lnTo>
                      <a:pt x="107" y="182"/>
                    </a:lnTo>
                    <a:lnTo>
                      <a:pt x="109" y="182"/>
                    </a:lnTo>
                    <a:lnTo>
                      <a:pt x="109" y="182"/>
                    </a:lnTo>
                    <a:lnTo>
                      <a:pt x="107" y="178"/>
                    </a:lnTo>
                    <a:lnTo>
                      <a:pt x="106" y="178"/>
                    </a:lnTo>
                    <a:lnTo>
                      <a:pt x="102" y="176"/>
                    </a:lnTo>
                    <a:lnTo>
                      <a:pt x="100" y="176"/>
                    </a:lnTo>
                    <a:lnTo>
                      <a:pt x="99" y="176"/>
                    </a:lnTo>
                    <a:lnTo>
                      <a:pt x="99" y="177"/>
                    </a:lnTo>
                    <a:lnTo>
                      <a:pt x="98" y="177"/>
                    </a:lnTo>
                    <a:lnTo>
                      <a:pt x="97" y="175"/>
                    </a:lnTo>
                    <a:lnTo>
                      <a:pt x="95" y="174"/>
                    </a:lnTo>
                    <a:lnTo>
                      <a:pt x="94" y="174"/>
                    </a:lnTo>
                    <a:lnTo>
                      <a:pt x="91" y="174"/>
                    </a:lnTo>
                    <a:lnTo>
                      <a:pt x="90" y="174"/>
                    </a:lnTo>
                    <a:lnTo>
                      <a:pt x="88" y="171"/>
                    </a:lnTo>
                    <a:lnTo>
                      <a:pt x="80" y="166"/>
                    </a:lnTo>
                    <a:lnTo>
                      <a:pt x="78" y="167"/>
                    </a:lnTo>
                    <a:lnTo>
                      <a:pt x="75" y="167"/>
                    </a:lnTo>
                    <a:lnTo>
                      <a:pt x="75" y="167"/>
                    </a:lnTo>
                    <a:lnTo>
                      <a:pt x="75" y="169"/>
                    </a:lnTo>
                    <a:lnTo>
                      <a:pt x="73" y="167"/>
                    </a:lnTo>
                    <a:lnTo>
                      <a:pt x="70" y="167"/>
                    </a:lnTo>
                    <a:lnTo>
                      <a:pt x="68" y="167"/>
                    </a:lnTo>
                    <a:lnTo>
                      <a:pt x="67" y="169"/>
                    </a:lnTo>
                    <a:lnTo>
                      <a:pt x="62" y="170"/>
                    </a:lnTo>
                    <a:lnTo>
                      <a:pt x="60" y="171"/>
                    </a:lnTo>
                    <a:lnTo>
                      <a:pt x="60" y="172"/>
                    </a:lnTo>
                    <a:lnTo>
                      <a:pt x="59" y="174"/>
                    </a:lnTo>
                    <a:lnTo>
                      <a:pt x="58" y="174"/>
                    </a:lnTo>
                    <a:lnTo>
                      <a:pt x="58" y="173"/>
                    </a:lnTo>
                    <a:lnTo>
                      <a:pt x="57" y="173"/>
                    </a:lnTo>
                    <a:lnTo>
                      <a:pt x="54" y="173"/>
                    </a:lnTo>
                    <a:lnTo>
                      <a:pt x="51" y="172"/>
                    </a:lnTo>
                    <a:lnTo>
                      <a:pt x="47" y="173"/>
                    </a:lnTo>
                    <a:lnTo>
                      <a:pt x="45" y="175"/>
                    </a:lnTo>
                    <a:lnTo>
                      <a:pt x="45" y="174"/>
                    </a:lnTo>
                    <a:lnTo>
                      <a:pt x="44" y="174"/>
                    </a:lnTo>
                    <a:lnTo>
                      <a:pt x="44" y="173"/>
                    </a:lnTo>
                    <a:lnTo>
                      <a:pt x="45" y="173"/>
                    </a:lnTo>
                    <a:lnTo>
                      <a:pt x="45" y="171"/>
                    </a:lnTo>
                    <a:lnTo>
                      <a:pt x="45" y="169"/>
                    </a:lnTo>
                    <a:lnTo>
                      <a:pt x="45" y="168"/>
                    </a:lnTo>
                    <a:lnTo>
                      <a:pt x="49" y="167"/>
                    </a:lnTo>
                    <a:lnTo>
                      <a:pt x="47" y="167"/>
                    </a:lnTo>
                    <a:lnTo>
                      <a:pt x="45" y="166"/>
                    </a:lnTo>
                    <a:lnTo>
                      <a:pt x="44" y="167"/>
                    </a:lnTo>
                    <a:lnTo>
                      <a:pt x="42" y="167"/>
                    </a:lnTo>
                    <a:lnTo>
                      <a:pt x="42" y="168"/>
                    </a:lnTo>
                    <a:lnTo>
                      <a:pt x="43" y="168"/>
                    </a:lnTo>
                    <a:lnTo>
                      <a:pt x="43" y="169"/>
                    </a:lnTo>
                    <a:lnTo>
                      <a:pt x="41" y="170"/>
                    </a:lnTo>
                    <a:lnTo>
                      <a:pt x="40" y="172"/>
                    </a:lnTo>
                    <a:lnTo>
                      <a:pt x="38" y="175"/>
                    </a:lnTo>
                    <a:lnTo>
                      <a:pt x="37" y="175"/>
                    </a:lnTo>
                    <a:lnTo>
                      <a:pt x="37" y="174"/>
                    </a:lnTo>
                    <a:lnTo>
                      <a:pt x="37" y="171"/>
                    </a:lnTo>
                    <a:lnTo>
                      <a:pt x="39" y="170"/>
                    </a:lnTo>
                    <a:lnTo>
                      <a:pt x="41" y="169"/>
                    </a:lnTo>
                    <a:lnTo>
                      <a:pt x="41" y="167"/>
                    </a:lnTo>
                    <a:lnTo>
                      <a:pt x="38" y="167"/>
                    </a:lnTo>
                    <a:lnTo>
                      <a:pt x="37" y="167"/>
                    </a:lnTo>
                    <a:lnTo>
                      <a:pt x="35" y="168"/>
                    </a:lnTo>
                    <a:lnTo>
                      <a:pt x="35" y="171"/>
                    </a:lnTo>
                    <a:lnTo>
                      <a:pt x="34" y="170"/>
                    </a:lnTo>
                    <a:lnTo>
                      <a:pt x="33" y="171"/>
                    </a:lnTo>
                    <a:lnTo>
                      <a:pt x="33" y="168"/>
                    </a:lnTo>
                    <a:lnTo>
                      <a:pt x="31" y="168"/>
                    </a:lnTo>
                    <a:lnTo>
                      <a:pt x="31" y="169"/>
                    </a:lnTo>
                    <a:lnTo>
                      <a:pt x="30" y="169"/>
                    </a:lnTo>
                    <a:lnTo>
                      <a:pt x="30" y="168"/>
                    </a:lnTo>
                    <a:lnTo>
                      <a:pt x="29" y="167"/>
                    </a:lnTo>
                    <a:lnTo>
                      <a:pt x="28" y="167"/>
                    </a:lnTo>
                    <a:lnTo>
                      <a:pt x="27" y="168"/>
                    </a:lnTo>
                    <a:lnTo>
                      <a:pt x="25" y="167"/>
                    </a:lnTo>
                    <a:lnTo>
                      <a:pt x="23" y="164"/>
                    </a:lnTo>
                    <a:lnTo>
                      <a:pt x="22" y="162"/>
                    </a:lnTo>
                    <a:lnTo>
                      <a:pt x="21" y="164"/>
                    </a:lnTo>
                    <a:lnTo>
                      <a:pt x="20" y="164"/>
                    </a:lnTo>
                    <a:lnTo>
                      <a:pt x="18" y="163"/>
                    </a:lnTo>
                    <a:lnTo>
                      <a:pt x="17" y="164"/>
                    </a:lnTo>
                    <a:lnTo>
                      <a:pt x="17" y="166"/>
                    </a:lnTo>
                    <a:lnTo>
                      <a:pt x="16" y="167"/>
                    </a:lnTo>
                    <a:lnTo>
                      <a:pt x="13" y="169"/>
                    </a:lnTo>
                    <a:lnTo>
                      <a:pt x="12" y="169"/>
                    </a:lnTo>
                    <a:lnTo>
                      <a:pt x="12" y="171"/>
                    </a:lnTo>
                    <a:lnTo>
                      <a:pt x="15" y="174"/>
                    </a:lnTo>
                    <a:lnTo>
                      <a:pt x="15" y="175"/>
                    </a:lnTo>
                    <a:lnTo>
                      <a:pt x="15" y="175"/>
                    </a:lnTo>
                    <a:lnTo>
                      <a:pt x="14" y="176"/>
                    </a:lnTo>
                    <a:lnTo>
                      <a:pt x="12" y="175"/>
                    </a:lnTo>
                    <a:lnTo>
                      <a:pt x="11" y="178"/>
                    </a:lnTo>
                    <a:lnTo>
                      <a:pt x="11" y="181"/>
                    </a:lnTo>
                    <a:lnTo>
                      <a:pt x="10" y="182"/>
                    </a:lnTo>
                    <a:lnTo>
                      <a:pt x="7" y="182"/>
                    </a:lnTo>
                    <a:lnTo>
                      <a:pt x="7" y="182"/>
                    </a:lnTo>
                    <a:lnTo>
                      <a:pt x="7" y="182"/>
                    </a:lnTo>
                    <a:lnTo>
                      <a:pt x="7" y="180"/>
                    </a:lnTo>
                    <a:lnTo>
                      <a:pt x="6" y="177"/>
                    </a:lnTo>
                    <a:lnTo>
                      <a:pt x="5" y="175"/>
                    </a:lnTo>
                    <a:lnTo>
                      <a:pt x="5" y="170"/>
                    </a:lnTo>
                    <a:lnTo>
                      <a:pt x="4" y="169"/>
                    </a:lnTo>
                    <a:lnTo>
                      <a:pt x="0" y="171"/>
                    </a:lnTo>
                    <a:lnTo>
                      <a:pt x="0" y="168"/>
                    </a:lnTo>
                    <a:lnTo>
                      <a:pt x="0" y="167"/>
                    </a:lnTo>
                    <a:lnTo>
                      <a:pt x="2" y="164"/>
                    </a:lnTo>
                    <a:lnTo>
                      <a:pt x="3" y="162"/>
                    </a:lnTo>
                    <a:lnTo>
                      <a:pt x="5" y="161"/>
                    </a:lnTo>
                    <a:lnTo>
                      <a:pt x="5" y="160"/>
                    </a:lnTo>
                    <a:lnTo>
                      <a:pt x="7" y="160"/>
                    </a:lnTo>
                    <a:lnTo>
                      <a:pt x="8" y="158"/>
                    </a:lnTo>
                    <a:lnTo>
                      <a:pt x="7" y="157"/>
                    </a:lnTo>
                    <a:lnTo>
                      <a:pt x="8" y="155"/>
                    </a:lnTo>
                    <a:lnTo>
                      <a:pt x="11" y="154"/>
                    </a:lnTo>
                    <a:lnTo>
                      <a:pt x="11" y="156"/>
                    </a:lnTo>
                    <a:lnTo>
                      <a:pt x="13" y="157"/>
                    </a:lnTo>
                    <a:lnTo>
                      <a:pt x="14" y="156"/>
                    </a:lnTo>
                    <a:lnTo>
                      <a:pt x="15" y="154"/>
                    </a:lnTo>
                    <a:lnTo>
                      <a:pt x="14" y="154"/>
                    </a:lnTo>
                    <a:lnTo>
                      <a:pt x="14" y="152"/>
                    </a:lnTo>
                    <a:lnTo>
                      <a:pt x="12" y="152"/>
                    </a:lnTo>
                    <a:lnTo>
                      <a:pt x="12" y="150"/>
                    </a:lnTo>
                    <a:lnTo>
                      <a:pt x="14" y="150"/>
                    </a:lnTo>
                    <a:lnTo>
                      <a:pt x="15" y="149"/>
                    </a:lnTo>
                    <a:lnTo>
                      <a:pt x="15" y="147"/>
                    </a:lnTo>
                    <a:lnTo>
                      <a:pt x="15" y="146"/>
                    </a:lnTo>
                    <a:lnTo>
                      <a:pt x="16" y="137"/>
                    </a:lnTo>
                    <a:lnTo>
                      <a:pt x="18" y="137"/>
                    </a:lnTo>
                    <a:lnTo>
                      <a:pt x="19" y="137"/>
                    </a:lnTo>
                    <a:lnTo>
                      <a:pt x="19" y="136"/>
                    </a:lnTo>
                    <a:lnTo>
                      <a:pt x="17" y="137"/>
                    </a:lnTo>
                    <a:lnTo>
                      <a:pt x="16" y="136"/>
                    </a:lnTo>
                    <a:lnTo>
                      <a:pt x="20" y="132"/>
                    </a:lnTo>
                    <a:lnTo>
                      <a:pt x="23" y="126"/>
                    </a:lnTo>
                    <a:lnTo>
                      <a:pt x="26" y="120"/>
                    </a:lnTo>
                    <a:lnTo>
                      <a:pt x="28" y="110"/>
                    </a:lnTo>
                    <a:lnTo>
                      <a:pt x="31" y="106"/>
                    </a:lnTo>
                    <a:lnTo>
                      <a:pt x="32" y="99"/>
                    </a:lnTo>
                    <a:lnTo>
                      <a:pt x="33" y="97"/>
                    </a:lnTo>
                    <a:lnTo>
                      <a:pt x="38" y="88"/>
                    </a:lnTo>
                    <a:lnTo>
                      <a:pt x="37" y="79"/>
                    </a:lnTo>
                    <a:lnTo>
                      <a:pt x="37" y="70"/>
                    </a:lnTo>
                    <a:lnTo>
                      <a:pt x="34" y="61"/>
                    </a:lnTo>
                    <a:lnTo>
                      <a:pt x="37" y="50"/>
                    </a:lnTo>
                    <a:lnTo>
                      <a:pt x="39" y="44"/>
                    </a:lnTo>
                    <a:lnTo>
                      <a:pt x="42" y="39"/>
                    </a:lnTo>
                    <a:lnTo>
                      <a:pt x="42" y="38"/>
                    </a:lnTo>
                    <a:lnTo>
                      <a:pt x="41" y="38"/>
                    </a:lnTo>
                    <a:lnTo>
                      <a:pt x="44" y="33"/>
                    </a:lnTo>
                    <a:lnTo>
                      <a:pt x="44" y="30"/>
                    </a:lnTo>
                    <a:lnTo>
                      <a:pt x="43" y="29"/>
                    </a:lnTo>
                    <a:lnTo>
                      <a:pt x="43" y="27"/>
                    </a:lnTo>
                    <a:lnTo>
                      <a:pt x="45" y="22"/>
                    </a:lnTo>
                    <a:lnTo>
                      <a:pt x="45" y="20"/>
                    </a:lnTo>
                    <a:lnTo>
                      <a:pt x="59" y="19"/>
                    </a:lnTo>
                    <a:lnTo>
                      <a:pt x="65" y="18"/>
                    </a:lnTo>
                    <a:lnTo>
                      <a:pt x="70" y="19"/>
                    </a:lnTo>
                    <a:lnTo>
                      <a:pt x="84" y="22"/>
                    </a:lnTo>
                    <a:lnTo>
                      <a:pt x="108" y="24"/>
                    </a:lnTo>
                    <a:lnTo>
                      <a:pt x="112" y="23"/>
                    </a:lnTo>
                    <a:lnTo>
                      <a:pt x="115" y="22"/>
                    </a:lnTo>
                    <a:lnTo>
                      <a:pt x="120" y="16"/>
                    </a:lnTo>
                    <a:lnTo>
                      <a:pt x="127" y="14"/>
                    </a:lnTo>
                    <a:lnTo>
                      <a:pt x="134" y="11"/>
                    </a:lnTo>
                    <a:lnTo>
                      <a:pt x="168" y="5"/>
                    </a:lnTo>
                    <a:lnTo>
                      <a:pt x="190" y="3"/>
                    </a:lnTo>
                    <a:lnTo>
                      <a:pt x="203" y="0"/>
                    </a:lnTo>
                    <a:lnTo>
                      <a:pt x="214" y="0"/>
                    </a:lnTo>
                    <a:lnTo>
                      <a:pt x="247" y="8"/>
                    </a:lnTo>
                    <a:lnTo>
                      <a:pt x="251" y="11"/>
                    </a:lnTo>
                    <a:lnTo>
                      <a:pt x="258" y="15"/>
                    </a:lnTo>
                    <a:lnTo>
                      <a:pt x="263" y="21"/>
                    </a:lnTo>
                    <a:lnTo>
                      <a:pt x="307" y="77"/>
                    </a:lnTo>
                    <a:lnTo>
                      <a:pt x="308" y="78"/>
                    </a:lnTo>
                    <a:lnTo>
                      <a:pt x="309" y="79"/>
                    </a:lnTo>
                    <a:lnTo>
                      <a:pt x="316" y="82"/>
                    </a:lnTo>
                    <a:lnTo>
                      <a:pt x="320" y="82"/>
                    </a:lnTo>
                    <a:lnTo>
                      <a:pt x="323" y="82"/>
                    </a:lnTo>
                    <a:lnTo>
                      <a:pt x="341" y="75"/>
                    </a:lnTo>
                    <a:lnTo>
                      <a:pt x="381" y="66"/>
                    </a:lnTo>
                    <a:lnTo>
                      <a:pt x="395" y="66"/>
                    </a:lnTo>
                    <a:lnTo>
                      <a:pt x="404" y="67"/>
                    </a:lnTo>
                    <a:lnTo>
                      <a:pt x="429" y="76"/>
                    </a:lnTo>
                    <a:lnTo>
                      <a:pt x="444" y="78"/>
                    </a:lnTo>
                    <a:lnTo>
                      <a:pt x="473" y="80"/>
                    </a:lnTo>
                    <a:lnTo>
                      <a:pt x="477" y="79"/>
                    </a:lnTo>
                    <a:lnTo>
                      <a:pt x="481" y="77"/>
                    </a:lnTo>
                    <a:lnTo>
                      <a:pt x="483" y="74"/>
                    </a:lnTo>
                    <a:lnTo>
                      <a:pt x="486" y="70"/>
                    </a:lnTo>
                    <a:lnTo>
                      <a:pt x="492" y="53"/>
                    </a:lnTo>
                    <a:lnTo>
                      <a:pt x="494" y="48"/>
                    </a:lnTo>
                    <a:lnTo>
                      <a:pt x="497" y="45"/>
                    </a:lnTo>
                    <a:lnTo>
                      <a:pt x="500" y="42"/>
                    </a:lnTo>
                    <a:lnTo>
                      <a:pt x="512" y="35"/>
                    </a:lnTo>
                    <a:lnTo>
                      <a:pt x="522" y="24"/>
                    </a:lnTo>
                    <a:lnTo>
                      <a:pt x="526" y="23"/>
                    </a:lnTo>
                    <a:lnTo>
                      <a:pt x="529" y="24"/>
                    </a:lnTo>
                    <a:lnTo>
                      <a:pt x="532" y="26"/>
                    </a:lnTo>
                    <a:lnTo>
                      <a:pt x="534" y="30"/>
                    </a:lnTo>
                    <a:lnTo>
                      <a:pt x="534" y="35"/>
                    </a:lnTo>
                    <a:lnTo>
                      <a:pt x="533" y="65"/>
                    </a:lnTo>
                    <a:lnTo>
                      <a:pt x="534" y="83"/>
                    </a:lnTo>
                    <a:lnTo>
                      <a:pt x="534" y="93"/>
                    </a:lnTo>
                    <a:lnTo>
                      <a:pt x="536" y="101"/>
                    </a:lnTo>
                    <a:lnTo>
                      <a:pt x="539" y="107"/>
                    </a:lnTo>
                    <a:lnTo>
                      <a:pt x="542" y="112"/>
                    </a:lnTo>
                    <a:lnTo>
                      <a:pt x="543" y="116"/>
                    </a:lnTo>
                    <a:lnTo>
                      <a:pt x="547" y="120"/>
                    </a:lnTo>
                    <a:lnTo>
                      <a:pt x="557" y="129"/>
                    </a:lnTo>
                    <a:lnTo>
                      <a:pt x="565" y="133"/>
                    </a:lnTo>
                    <a:lnTo>
                      <a:pt x="584" y="139"/>
                    </a:lnTo>
                    <a:lnTo>
                      <a:pt x="594" y="142"/>
                    </a:lnTo>
                    <a:lnTo>
                      <a:pt x="628" y="145"/>
                    </a:lnTo>
                    <a:lnTo>
                      <a:pt x="633" y="144"/>
                    </a:lnTo>
                    <a:lnTo>
                      <a:pt x="640" y="143"/>
                    </a:lnTo>
                    <a:lnTo>
                      <a:pt x="644" y="141"/>
                    </a:lnTo>
                    <a:lnTo>
                      <a:pt x="649" y="139"/>
                    </a:lnTo>
                    <a:lnTo>
                      <a:pt x="653" y="140"/>
                    </a:lnTo>
                    <a:lnTo>
                      <a:pt x="659" y="144"/>
                    </a:lnTo>
                    <a:lnTo>
                      <a:pt x="662" y="145"/>
                    </a:lnTo>
                    <a:lnTo>
                      <a:pt x="665" y="145"/>
                    </a:lnTo>
                    <a:lnTo>
                      <a:pt x="672" y="145"/>
                    </a:lnTo>
                    <a:lnTo>
                      <a:pt x="677" y="157"/>
                    </a:lnTo>
                    <a:lnTo>
                      <a:pt x="680" y="160"/>
                    </a:lnTo>
                    <a:lnTo>
                      <a:pt x="684" y="162"/>
                    </a:lnTo>
                    <a:lnTo>
                      <a:pt x="688" y="162"/>
                    </a:lnTo>
                    <a:lnTo>
                      <a:pt x="692" y="162"/>
                    </a:lnTo>
                    <a:lnTo>
                      <a:pt x="696" y="160"/>
                    </a:lnTo>
                    <a:lnTo>
                      <a:pt x="714" y="152"/>
                    </a:lnTo>
                    <a:lnTo>
                      <a:pt x="718" y="150"/>
                    </a:lnTo>
                    <a:lnTo>
                      <a:pt x="724" y="149"/>
                    </a:lnTo>
                    <a:lnTo>
                      <a:pt x="729" y="149"/>
                    </a:lnTo>
                    <a:lnTo>
                      <a:pt x="731" y="150"/>
                    </a:lnTo>
                    <a:lnTo>
                      <a:pt x="734" y="152"/>
                    </a:lnTo>
                    <a:lnTo>
                      <a:pt x="740" y="157"/>
                    </a:lnTo>
                    <a:lnTo>
                      <a:pt x="740" y="157"/>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3" name="Freeform 13">
                <a:extLst>
                  <a:ext uri="{FF2B5EF4-FFF2-40B4-BE49-F238E27FC236}"/>
                </a:extLst>
              </p:cNvPr>
              <p:cNvSpPr>
                <a:spLocks/>
              </p:cNvSpPr>
              <p:nvPr/>
            </p:nvSpPr>
            <p:spPr bwMode="auto">
              <a:xfrm>
                <a:off x="2570163" y="1851025"/>
                <a:ext cx="2274888" cy="1430338"/>
              </a:xfrm>
              <a:custGeom>
                <a:avLst/>
                <a:gdLst>
                  <a:gd name="T0" fmla="*/ 1329 w 1433"/>
                  <a:gd name="T1" fmla="*/ 639 h 901"/>
                  <a:gd name="T2" fmla="*/ 1230 w 1433"/>
                  <a:gd name="T3" fmla="*/ 795 h 901"/>
                  <a:gd name="T4" fmla="*/ 1186 w 1433"/>
                  <a:gd name="T5" fmla="*/ 859 h 901"/>
                  <a:gd name="T6" fmla="*/ 1185 w 1433"/>
                  <a:gd name="T7" fmla="*/ 875 h 901"/>
                  <a:gd name="T8" fmla="*/ 1186 w 1433"/>
                  <a:gd name="T9" fmla="*/ 897 h 901"/>
                  <a:gd name="T10" fmla="*/ 1171 w 1433"/>
                  <a:gd name="T11" fmla="*/ 899 h 901"/>
                  <a:gd name="T12" fmla="*/ 1159 w 1433"/>
                  <a:gd name="T13" fmla="*/ 884 h 901"/>
                  <a:gd name="T14" fmla="*/ 1115 w 1433"/>
                  <a:gd name="T15" fmla="*/ 846 h 901"/>
                  <a:gd name="T16" fmla="*/ 1048 w 1433"/>
                  <a:gd name="T17" fmla="*/ 832 h 901"/>
                  <a:gd name="T18" fmla="*/ 1019 w 1433"/>
                  <a:gd name="T19" fmla="*/ 779 h 901"/>
                  <a:gd name="T20" fmla="*/ 980 w 1433"/>
                  <a:gd name="T21" fmla="*/ 719 h 901"/>
                  <a:gd name="T22" fmla="*/ 943 w 1433"/>
                  <a:gd name="T23" fmla="*/ 738 h 901"/>
                  <a:gd name="T24" fmla="*/ 911 w 1433"/>
                  <a:gd name="T25" fmla="*/ 726 h 901"/>
                  <a:gd name="T26" fmla="*/ 880 w 1433"/>
                  <a:gd name="T27" fmla="*/ 726 h 901"/>
                  <a:gd name="T28" fmla="*/ 863 w 1433"/>
                  <a:gd name="T29" fmla="*/ 710 h 901"/>
                  <a:gd name="T30" fmla="*/ 860 w 1433"/>
                  <a:gd name="T31" fmla="*/ 688 h 901"/>
                  <a:gd name="T32" fmla="*/ 844 w 1433"/>
                  <a:gd name="T33" fmla="*/ 686 h 901"/>
                  <a:gd name="T34" fmla="*/ 816 w 1433"/>
                  <a:gd name="T35" fmla="*/ 698 h 901"/>
                  <a:gd name="T36" fmla="*/ 791 w 1433"/>
                  <a:gd name="T37" fmla="*/ 691 h 901"/>
                  <a:gd name="T38" fmla="*/ 758 w 1433"/>
                  <a:gd name="T39" fmla="*/ 656 h 901"/>
                  <a:gd name="T40" fmla="*/ 670 w 1433"/>
                  <a:gd name="T41" fmla="*/ 641 h 901"/>
                  <a:gd name="T42" fmla="*/ 636 w 1433"/>
                  <a:gd name="T43" fmla="*/ 646 h 901"/>
                  <a:gd name="T44" fmla="*/ 571 w 1433"/>
                  <a:gd name="T45" fmla="*/ 632 h 901"/>
                  <a:gd name="T46" fmla="*/ 450 w 1433"/>
                  <a:gd name="T47" fmla="*/ 643 h 901"/>
                  <a:gd name="T48" fmla="*/ 478 w 1433"/>
                  <a:gd name="T49" fmla="*/ 608 h 901"/>
                  <a:gd name="T50" fmla="*/ 487 w 1433"/>
                  <a:gd name="T51" fmla="*/ 532 h 901"/>
                  <a:gd name="T52" fmla="*/ 652 w 1433"/>
                  <a:gd name="T53" fmla="*/ 422 h 901"/>
                  <a:gd name="T54" fmla="*/ 678 w 1433"/>
                  <a:gd name="T55" fmla="*/ 396 h 901"/>
                  <a:gd name="T56" fmla="*/ 640 w 1433"/>
                  <a:gd name="T57" fmla="*/ 360 h 901"/>
                  <a:gd name="T58" fmla="*/ 622 w 1433"/>
                  <a:gd name="T59" fmla="*/ 327 h 901"/>
                  <a:gd name="T60" fmla="*/ 603 w 1433"/>
                  <a:gd name="T61" fmla="*/ 313 h 901"/>
                  <a:gd name="T62" fmla="*/ 556 w 1433"/>
                  <a:gd name="T63" fmla="*/ 306 h 901"/>
                  <a:gd name="T64" fmla="*/ 505 w 1433"/>
                  <a:gd name="T65" fmla="*/ 273 h 901"/>
                  <a:gd name="T66" fmla="*/ 372 w 1433"/>
                  <a:gd name="T67" fmla="*/ 268 h 901"/>
                  <a:gd name="T68" fmla="*/ 346 w 1433"/>
                  <a:gd name="T69" fmla="*/ 250 h 901"/>
                  <a:gd name="T70" fmla="*/ 201 w 1433"/>
                  <a:gd name="T71" fmla="*/ 228 h 901"/>
                  <a:gd name="T72" fmla="*/ 60 w 1433"/>
                  <a:gd name="T73" fmla="*/ 241 h 901"/>
                  <a:gd name="T74" fmla="*/ 45 w 1433"/>
                  <a:gd name="T75" fmla="*/ 230 h 901"/>
                  <a:gd name="T76" fmla="*/ 26 w 1433"/>
                  <a:gd name="T77" fmla="*/ 198 h 901"/>
                  <a:gd name="T78" fmla="*/ 3 w 1433"/>
                  <a:gd name="T79" fmla="*/ 175 h 901"/>
                  <a:gd name="T80" fmla="*/ 1 w 1433"/>
                  <a:gd name="T81" fmla="*/ 147 h 901"/>
                  <a:gd name="T82" fmla="*/ 191 w 1433"/>
                  <a:gd name="T83" fmla="*/ 23 h 901"/>
                  <a:gd name="T84" fmla="*/ 250 w 1433"/>
                  <a:gd name="T85" fmla="*/ 5 h 901"/>
                  <a:gd name="T86" fmla="*/ 429 w 1433"/>
                  <a:gd name="T87" fmla="*/ 39 h 901"/>
                  <a:gd name="T88" fmla="*/ 515 w 1433"/>
                  <a:gd name="T89" fmla="*/ 91 h 901"/>
                  <a:gd name="T90" fmla="*/ 706 w 1433"/>
                  <a:gd name="T91" fmla="*/ 205 h 901"/>
                  <a:gd name="T92" fmla="*/ 821 w 1433"/>
                  <a:gd name="T93" fmla="*/ 305 h 901"/>
                  <a:gd name="T94" fmla="*/ 933 w 1433"/>
                  <a:gd name="T95" fmla="*/ 397 h 901"/>
                  <a:gd name="T96" fmla="*/ 1099 w 1433"/>
                  <a:gd name="T97" fmla="*/ 533 h 901"/>
                  <a:gd name="T98" fmla="*/ 1147 w 1433"/>
                  <a:gd name="T99" fmla="*/ 571 h 901"/>
                  <a:gd name="T100" fmla="*/ 1433 w 1433"/>
                  <a:gd name="T101" fmla="*/ 59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3" h="901">
                    <a:moveTo>
                      <a:pt x="1433" y="593"/>
                    </a:moveTo>
                    <a:lnTo>
                      <a:pt x="1431" y="595"/>
                    </a:lnTo>
                    <a:lnTo>
                      <a:pt x="1352" y="625"/>
                    </a:lnTo>
                    <a:lnTo>
                      <a:pt x="1329" y="639"/>
                    </a:lnTo>
                    <a:lnTo>
                      <a:pt x="1312" y="654"/>
                    </a:lnTo>
                    <a:lnTo>
                      <a:pt x="1299" y="669"/>
                    </a:lnTo>
                    <a:lnTo>
                      <a:pt x="1289" y="684"/>
                    </a:lnTo>
                    <a:lnTo>
                      <a:pt x="1230" y="795"/>
                    </a:lnTo>
                    <a:lnTo>
                      <a:pt x="1222" y="808"/>
                    </a:lnTo>
                    <a:lnTo>
                      <a:pt x="1194" y="841"/>
                    </a:lnTo>
                    <a:lnTo>
                      <a:pt x="1190" y="848"/>
                    </a:lnTo>
                    <a:lnTo>
                      <a:pt x="1186" y="859"/>
                    </a:lnTo>
                    <a:lnTo>
                      <a:pt x="1185" y="864"/>
                    </a:lnTo>
                    <a:lnTo>
                      <a:pt x="1184" y="868"/>
                    </a:lnTo>
                    <a:lnTo>
                      <a:pt x="1184" y="870"/>
                    </a:lnTo>
                    <a:lnTo>
                      <a:pt x="1185" y="875"/>
                    </a:lnTo>
                    <a:lnTo>
                      <a:pt x="1187" y="878"/>
                    </a:lnTo>
                    <a:lnTo>
                      <a:pt x="1191" y="884"/>
                    </a:lnTo>
                    <a:lnTo>
                      <a:pt x="1193" y="887"/>
                    </a:lnTo>
                    <a:lnTo>
                      <a:pt x="1186" y="897"/>
                    </a:lnTo>
                    <a:lnTo>
                      <a:pt x="1182" y="899"/>
                    </a:lnTo>
                    <a:lnTo>
                      <a:pt x="1179" y="901"/>
                    </a:lnTo>
                    <a:lnTo>
                      <a:pt x="1174" y="901"/>
                    </a:lnTo>
                    <a:lnTo>
                      <a:pt x="1171" y="899"/>
                    </a:lnTo>
                    <a:lnTo>
                      <a:pt x="1168" y="897"/>
                    </a:lnTo>
                    <a:lnTo>
                      <a:pt x="1165" y="892"/>
                    </a:lnTo>
                    <a:lnTo>
                      <a:pt x="1161" y="890"/>
                    </a:lnTo>
                    <a:lnTo>
                      <a:pt x="1159" y="884"/>
                    </a:lnTo>
                    <a:lnTo>
                      <a:pt x="1154" y="878"/>
                    </a:lnTo>
                    <a:lnTo>
                      <a:pt x="1127" y="853"/>
                    </a:lnTo>
                    <a:lnTo>
                      <a:pt x="1123" y="851"/>
                    </a:lnTo>
                    <a:lnTo>
                      <a:pt x="1115" y="846"/>
                    </a:lnTo>
                    <a:lnTo>
                      <a:pt x="1110" y="845"/>
                    </a:lnTo>
                    <a:lnTo>
                      <a:pt x="1058" y="837"/>
                    </a:lnTo>
                    <a:lnTo>
                      <a:pt x="1054" y="835"/>
                    </a:lnTo>
                    <a:lnTo>
                      <a:pt x="1048" y="832"/>
                    </a:lnTo>
                    <a:lnTo>
                      <a:pt x="1043" y="829"/>
                    </a:lnTo>
                    <a:lnTo>
                      <a:pt x="1039" y="825"/>
                    </a:lnTo>
                    <a:lnTo>
                      <a:pt x="1033" y="816"/>
                    </a:lnTo>
                    <a:lnTo>
                      <a:pt x="1019" y="779"/>
                    </a:lnTo>
                    <a:lnTo>
                      <a:pt x="991" y="728"/>
                    </a:lnTo>
                    <a:lnTo>
                      <a:pt x="988" y="724"/>
                    </a:lnTo>
                    <a:lnTo>
                      <a:pt x="985" y="721"/>
                    </a:lnTo>
                    <a:lnTo>
                      <a:pt x="980" y="719"/>
                    </a:lnTo>
                    <a:lnTo>
                      <a:pt x="974" y="720"/>
                    </a:lnTo>
                    <a:lnTo>
                      <a:pt x="970" y="722"/>
                    </a:lnTo>
                    <a:lnTo>
                      <a:pt x="950" y="735"/>
                    </a:lnTo>
                    <a:lnTo>
                      <a:pt x="943" y="738"/>
                    </a:lnTo>
                    <a:lnTo>
                      <a:pt x="940" y="739"/>
                    </a:lnTo>
                    <a:lnTo>
                      <a:pt x="935" y="738"/>
                    </a:lnTo>
                    <a:lnTo>
                      <a:pt x="928" y="736"/>
                    </a:lnTo>
                    <a:lnTo>
                      <a:pt x="911" y="726"/>
                    </a:lnTo>
                    <a:lnTo>
                      <a:pt x="906" y="725"/>
                    </a:lnTo>
                    <a:lnTo>
                      <a:pt x="901" y="724"/>
                    </a:lnTo>
                    <a:lnTo>
                      <a:pt x="884" y="726"/>
                    </a:lnTo>
                    <a:lnTo>
                      <a:pt x="880" y="726"/>
                    </a:lnTo>
                    <a:lnTo>
                      <a:pt x="875" y="724"/>
                    </a:lnTo>
                    <a:lnTo>
                      <a:pt x="869" y="721"/>
                    </a:lnTo>
                    <a:lnTo>
                      <a:pt x="866" y="716"/>
                    </a:lnTo>
                    <a:lnTo>
                      <a:pt x="863" y="710"/>
                    </a:lnTo>
                    <a:lnTo>
                      <a:pt x="861" y="707"/>
                    </a:lnTo>
                    <a:lnTo>
                      <a:pt x="861" y="704"/>
                    </a:lnTo>
                    <a:lnTo>
                      <a:pt x="860" y="690"/>
                    </a:lnTo>
                    <a:lnTo>
                      <a:pt x="860" y="688"/>
                    </a:lnTo>
                    <a:lnTo>
                      <a:pt x="858" y="686"/>
                    </a:lnTo>
                    <a:lnTo>
                      <a:pt x="855" y="685"/>
                    </a:lnTo>
                    <a:lnTo>
                      <a:pt x="849" y="685"/>
                    </a:lnTo>
                    <a:lnTo>
                      <a:pt x="844" y="686"/>
                    </a:lnTo>
                    <a:lnTo>
                      <a:pt x="840" y="687"/>
                    </a:lnTo>
                    <a:lnTo>
                      <a:pt x="826" y="695"/>
                    </a:lnTo>
                    <a:lnTo>
                      <a:pt x="821" y="697"/>
                    </a:lnTo>
                    <a:lnTo>
                      <a:pt x="816" y="698"/>
                    </a:lnTo>
                    <a:lnTo>
                      <a:pt x="811" y="699"/>
                    </a:lnTo>
                    <a:lnTo>
                      <a:pt x="805" y="698"/>
                    </a:lnTo>
                    <a:lnTo>
                      <a:pt x="797" y="694"/>
                    </a:lnTo>
                    <a:lnTo>
                      <a:pt x="791" y="691"/>
                    </a:lnTo>
                    <a:lnTo>
                      <a:pt x="786" y="686"/>
                    </a:lnTo>
                    <a:lnTo>
                      <a:pt x="766" y="663"/>
                    </a:lnTo>
                    <a:lnTo>
                      <a:pt x="762" y="659"/>
                    </a:lnTo>
                    <a:lnTo>
                      <a:pt x="758" y="656"/>
                    </a:lnTo>
                    <a:lnTo>
                      <a:pt x="750" y="654"/>
                    </a:lnTo>
                    <a:lnTo>
                      <a:pt x="693" y="640"/>
                    </a:lnTo>
                    <a:lnTo>
                      <a:pt x="689" y="640"/>
                    </a:lnTo>
                    <a:lnTo>
                      <a:pt x="670" y="641"/>
                    </a:lnTo>
                    <a:lnTo>
                      <a:pt x="651" y="647"/>
                    </a:lnTo>
                    <a:lnTo>
                      <a:pt x="647" y="647"/>
                    </a:lnTo>
                    <a:lnTo>
                      <a:pt x="642" y="647"/>
                    </a:lnTo>
                    <a:lnTo>
                      <a:pt x="636" y="646"/>
                    </a:lnTo>
                    <a:lnTo>
                      <a:pt x="595" y="632"/>
                    </a:lnTo>
                    <a:lnTo>
                      <a:pt x="590" y="632"/>
                    </a:lnTo>
                    <a:lnTo>
                      <a:pt x="583" y="632"/>
                    </a:lnTo>
                    <a:lnTo>
                      <a:pt x="571" y="632"/>
                    </a:lnTo>
                    <a:lnTo>
                      <a:pt x="482" y="654"/>
                    </a:lnTo>
                    <a:lnTo>
                      <a:pt x="478" y="654"/>
                    </a:lnTo>
                    <a:lnTo>
                      <a:pt x="468" y="651"/>
                    </a:lnTo>
                    <a:lnTo>
                      <a:pt x="450" y="643"/>
                    </a:lnTo>
                    <a:lnTo>
                      <a:pt x="473" y="619"/>
                    </a:lnTo>
                    <a:lnTo>
                      <a:pt x="476" y="615"/>
                    </a:lnTo>
                    <a:lnTo>
                      <a:pt x="477" y="611"/>
                    </a:lnTo>
                    <a:lnTo>
                      <a:pt x="478" y="608"/>
                    </a:lnTo>
                    <a:lnTo>
                      <a:pt x="482" y="544"/>
                    </a:lnTo>
                    <a:lnTo>
                      <a:pt x="483" y="540"/>
                    </a:lnTo>
                    <a:lnTo>
                      <a:pt x="484" y="535"/>
                    </a:lnTo>
                    <a:lnTo>
                      <a:pt x="487" y="532"/>
                    </a:lnTo>
                    <a:lnTo>
                      <a:pt x="490" y="527"/>
                    </a:lnTo>
                    <a:lnTo>
                      <a:pt x="494" y="524"/>
                    </a:lnTo>
                    <a:lnTo>
                      <a:pt x="512" y="510"/>
                    </a:lnTo>
                    <a:lnTo>
                      <a:pt x="652" y="422"/>
                    </a:lnTo>
                    <a:lnTo>
                      <a:pt x="666" y="411"/>
                    </a:lnTo>
                    <a:lnTo>
                      <a:pt x="673" y="403"/>
                    </a:lnTo>
                    <a:lnTo>
                      <a:pt x="676" y="399"/>
                    </a:lnTo>
                    <a:lnTo>
                      <a:pt x="678" y="396"/>
                    </a:lnTo>
                    <a:lnTo>
                      <a:pt x="676" y="391"/>
                    </a:lnTo>
                    <a:lnTo>
                      <a:pt x="673" y="388"/>
                    </a:lnTo>
                    <a:lnTo>
                      <a:pt x="648" y="368"/>
                    </a:lnTo>
                    <a:lnTo>
                      <a:pt x="640" y="360"/>
                    </a:lnTo>
                    <a:lnTo>
                      <a:pt x="637" y="356"/>
                    </a:lnTo>
                    <a:lnTo>
                      <a:pt x="632" y="348"/>
                    </a:lnTo>
                    <a:lnTo>
                      <a:pt x="625" y="330"/>
                    </a:lnTo>
                    <a:lnTo>
                      <a:pt x="622" y="327"/>
                    </a:lnTo>
                    <a:lnTo>
                      <a:pt x="617" y="321"/>
                    </a:lnTo>
                    <a:lnTo>
                      <a:pt x="615" y="318"/>
                    </a:lnTo>
                    <a:lnTo>
                      <a:pt x="609" y="314"/>
                    </a:lnTo>
                    <a:lnTo>
                      <a:pt x="603" y="313"/>
                    </a:lnTo>
                    <a:lnTo>
                      <a:pt x="584" y="309"/>
                    </a:lnTo>
                    <a:lnTo>
                      <a:pt x="570" y="309"/>
                    </a:lnTo>
                    <a:lnTo>
                      <a:pt x="561" y="308"/>
                    </a:lnTo>
                    <a:lnTo>
                      <a:pt x="556" y="306"/>
                    </a:lnTo>
                    <a:lnTo>
                      <a:pt x="550" y="304"/>
                    </a:lnTo>
                    <a:lnTo>
                      <a:pt x="518" y="277"/>
                    </a:lnTo>
                    <a:lnTo>
                      <a:pt x="512" y="275"/>
                    </a:lnTo>
                    <a:lnTo>
                      <a:pt x="505" y="273"/>
                    </a:lnTo>
                    <a:lnTo>
                      <a:pt x="489" y="273"/>
                    </a:lnTo>
                    <a:lnTo>
                      <a:pt x="479" y="274"/>
                    </a:lnTo>
                    <a:lnTo>
                      <a:pt x="388" y="272"/>
                    </a:lnTo>
                    <a:lnTo>
                      <a:pt x="372" y="268"/>
                    </a:lnTo>
                    <a:lnTo>
                      <a:pt x="367" y="267"/>
                    </a:lnTo>
                    <a:lnTo>
                      <a:pt x="362" y="264"/>
                    </a:lnTo>
                    <a:lnTo>
                      <a:pt x="350" y="252"/>
                    </a:lnTo>
                    <a:lnTo>
                      <a:pt x="346" y="250"/>
                    </a:lnTo>
                    <a:lnTo>
                      <a:pt x="342" y="247"/>
                    </a:lnTo>
                    <a:lnTo>
                      <a:pt x="337" y="246"/>
                    </a:lnTo>
                    <a:lnTo>
                      <a:pt x="223" y="229"/>
                    </a:lnTo>
                    <a:lnTo>
                      <a:pt x="201" y="228"/>
                    </a:lnTo>
                    <a:lnTo>
                      <a:pt x="150" y="236"/>
                    </a:lnTo>
                    <a:lnTo>
                      <a:pt x="76" y="244"/>
                    </a:lnTo>
                    <a:lnTo>
                      <a:pt x="67" y="243"/>
                    </a:lnTo>
                    <a:lnTo>
                      <a:pt x="60" y="241"/>
                    </a:lnTo>
                    <a:lnTo>
                      <a:pt x="56" y="239"/>
                    </a:lnTo>
                    <a:lnTo>
                      <a:pt x="53" y="237"/>
                    </a:lnTo>
                    <a:lnTo>
                      <a:pt x="49" y="234"/>
                    </a:lnTo>
                    <a:lnTo>
                      <a:pt x="45" y="230"/>
                    </a:lnTo>
                    <a:lnTo>
                      <a:pt x="40" y="221"/>
                    </a:lnTo>
                    <a:lnTo>
                      <a:pt x="37" y="214"/>
                    </a:lnTo>
                    <a:lnTo>
                      <a:pt x="32" y="205"/>
                    </a:lnTo>
                    <a:lnTo>
                      <a:pt x="26" y="198"/>
                    </a:lnTo>
                    <a:lnTo>
                      <a:pt x="22" y="192"/>
                    </a:lnTo>
                    <a:lnTo>
                      <a:pt x="7" y="182"/>
                    </a:lnTo>
                    <a:lnTo>
                      <a:pt x="5" y="178"/>
                    </a:lnTo>
                    <a:lnTo>
                      <a:pt x="3" y="175"/>
                    </a:lnTo>
                    <a:lnTo>
                      <a:pt x="3" y="173"/>
                    </a:lnTo>
                    <a:lnTo>
                      <a:pt x="1" y="166"/>
                    </a:lnTo>
                    <a:lnTo>
                      <a:pt x="0" y="154"/>
                    </a:lnTo>
                    <a:lnTo>
                      <a:pt x="1" y="147"/>
                    </a:lnTo>
                    <a:lnTo>
                      <a:pt x="22" y="72"/>
                    </a:lnTo>
                    <a:lnTo>
                      <a:pt x="91" y="53"/>
                    </a:lnTo>
                    <a:lnTo>
                      <a:pt x="185" y="24"/>
                    </a:lnTo>
                    <a:lnTo>
                      <a:pt x="191" y="23"/>
                    </a:lnTo>
                    <a:lnTo>
                      <a:pt x="211" y="3"/>
                    </a:lnTo>
                    <a:lnTo>
                      <a:pt x="214" y="0"/>
                    </a:lnTo>
                    <a:lnTo>
                      <a:pt x="218" y="0"/>
                    </a:lnTo>
                    <a:lnTo>
                      <a:pt x="250" y="5"/>
                    </a:lnTo>
                    <a:lnTo>
                      <a:pt x="316" y="16"/>
                    </a:lnTo>
                    <a:lnTo>
                      <a:pt x="363" y="24"/>
                    </a:lnTo>
                    <a:lnTo>
                      <a:pt x="421" y="36"/>
                    </a:lnTo>
                    <a:lnTo>
                      <a:pt x="429" y="39"/>
                    </a:lnTo>
                    <a:lnTo>
                      <a:pt x="439" y="45"/>
                    </a:lnTo>
                    <a:lnTo>
                      <a:pt x="471" y="64"/>
                    </a:lnTo>
                    <a:lnTo>
                      <a:pt x="485" y="73"/>
                    </a:lnTo>
                    <a:lnTo>
                      <a:pt x="515" y="91"/>
                    </a:lnTo>
                    <a:lnTo>
                      <a:pt x="558" y="116"/>
                    </a:lnTo>
                    <a:lnTo>
                      <a:pt x="602" y="143"/>
                    </a:lnTo>
                    <a:lnTo>
                      <a:pt x="662" y="178"/>
                    </a:lnTo>
                    <a:lnTo>
                      <a:pt x="706" y="205"/>
                    </a:lnTo>
                    <a:lnTo>
                      <a:pt x="716" y="214"/>
                    </a:lnTo>
                    <a:lnTo>
                      <a:pt x="759" y="252"/>
                    </a:lnTo>
                    <a:lnTo>
                      <a:pt x="773" y="264"/>
                    </a:lnTo>
                    <a:lnTo>
                      <a:pt x="821" y="305"/>
                    </a:lnTo>
                    <a:lnTo>
                      <a:pt x="836" y="319"/>
                    </a:lnTo>
                    <a:lnTo>
                      <a:pt x="869" y="345"/>
                    </a:lnTo>
                    <a:lnTo>
                      <a:pt x="898" y="370"/>
                    </a:lnTo>
                    <a:lnTo>
                      <a:pt x="933" y="397"/>
                    </a:lnTo>
                    <a:lnTo>
                      <a:pt x="990" y="444"/>
                    </a:lnTo>
                    <a:lnTo>
                      <a:pt x="1009" y="460"/>
                    </a:lnTo>
                    <a:lnTo>
                      <a:pt x="1067" y="507"/>
                    </a:lnTo>
                    <a:lnTo>
                      <a:pt x="1099" y="533"/>
                    </a:lnTo>
                    <a:lnTo>
                      <a:pt x="1114" y="546"/>
                    </a:lnTo>
                    <a:lnTo>
                      <a:pt x="1130" y="558"/>
                    </a:lnTo>
                    <a:lnTo>
                      <a:pt x="1144" y="569"/>
                    </a:lnTo>
                    <a:lnTo>
                      <a:pt x="1147" y="571"/>
                    </a:lnTo>
                    <a:lnTo>
                      <a:pt x="1250" y="579"/>
                    </a:lnTo>
                    <a:lnTo>
                      <a:pt x="1267" y="581"/>
                    </a:lnTo>
                    <a:lnTo>
                      <a:pt x="1422" y="595"/>
                    </a:lnTo>
                    <a:lnTo>
                      <a:pt x="1433" y="593"/>
                    </a:lnTo>
                    <a:lnTo>
                      <a:pt x="1433" y="593"/>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4" name="Freeform 14">
                <a:extLst>
                  <a:ext uri="{FF2B5EF4-FFF2-40B4-BE49-F238E27FC236}"/>
                </a:extLst>
              </p:cNvPr>
              <p:cNvSpPr>
                <a:spLocks/>
              </p:cNvSpPr>
              <p:nvPr/>
            </p:nvSpPr>
            <p:spPr bwMode="auto">
              <a:xfrm>
                <a:off x="1765300" y="1965325"/>
                <a:ext cx="1881188" cy="1111250"/>
              </a:xfrm>
              <a:custGeom>
                <a:avLst/>
                <a:gdLst>
                  <a:gd name="T0" fmla="*/ 879 w 1185"/>
                  <a:gd name="T1" fmla="*/ 595 h 700"/>
                  <a:gd name="T2" fmla="*/ 720 w 1185"/>
                  <a:gd name="T3" fmla="*/ 672 h 700"/>
                  <a:gd name="T4" fmla="*/ 689 w 1185"/>
                  <a:gd name="T5" fmla="*/ 688 h 700"/>
                  <a:gd name="T6" fmla="*/ 672 w 1185"/>
                  <a:gd name="T7" fmla="*/ 690 h 700"/>
                  <a:gd name="T8" fmla="*/ 642 w 1185"/>
                  <a:gd name="T9" fmla="*/ 700 h 700"/>
                  <a:gd name="T10" fmla="*/ 623 w 1185"/>
                  <a:gd name="T11" fmla="*/ 683 h 700"/>
                  <a:gd name="T12" fmla="*/ 607 w 1185"/>
                  <a:gd name="T13" fmla="*/ 677 h 700"/>
                  <a:gd name="T14" fmla="*/ 586 w 1185"/>
                  <a:gd name="T15" fmla="*/ 683 h 700"/>
                  <a:gd name="T16" fmla="*/ 515 w 1185"/>
                  <a:gd name="T17" fmla="*/ 667 h 700"/>
                  <a:gd name="T18" fmla="*/ 497 w 1185"/>
                  <a:gd name="T19" fmla="*/ 645 h 700"/>
                  <a:gd name="T20" fmla="*/ 491 w 1185"/>
                  <a:gd name="T21" fmla="*/ 603 h 700"/>
                  <a:gd name="T22" fmla="*/ 487 w 1185"/>
                  <a:gd name="T23" fmla="*/ 562 h 700"/>
                  <a:gd name="T24" fmla="*/ 458 w 1185"/>
                  <a:gd name="T25" fmla="*/ 580 h 700"/>
                  <a:gd name="T26" fmla="*/ 444 w 1185"/>
                  <a:gd name="T27" fmla="*/ 608 h 700"/>
                  <a:gd name="T28" fmla="*/ 431 w 1185"/>
                  <a:gd name="T29" fmla="*/ 618 h 700"/>
                  <a:gd name="T30" fmla="*/ 353 w 1185"/>
                  <a:gd name="T31" fmla="*/ 604 h 700"/>
                  <a:gd name="T32" fmla="*/ 278 w 1185"/>
                  <a:gd name="T33" fmla="*/ 620 h 700"/>
                  <a:gd name="T34" fmla="*/ 265 w 1185"/>
                  <a:gd name="T35" fmla="*/ 615 h 700"/>
                  <a:gd name="T36" fmla="*/ 205 w 1185"/>
                  <a:gd name="T37" fmla="*/ 546 h 700"/>
                  <a:gd name="T38" fmla="*/ 126 w 1185"/>
                  <a:gd name="T39" fmla="*/ 543 h 700"/>
                  <a:gd name="T40" fmla="*/ 73 w 1185"/>
                  <a:gd name="T41" fmla="*/ 560 h 700"/>
                  <a:gd name="T42" fmla="*/ 28 w 1185"/>
                  <a:gd name="T43" fmla="*/ 557 h 700"/>
                  <a:gd name="T44" fmla="*/ 3 w 1185"/>
                  <a:gd name="T45" fmla="*/ 557 h 700"/>
                  <a:gd name="T46" fmla="*/ 5 w 1185"/>
                  <a:gd name="T47" fmla="*/ 543 h 700"/>
                  <a:gd name="T48" fmla="*/ 6 w 1185"/>
                  <a:gd name="T49" fmla="*/ 523 h 700"/>
                  <a:gd name="T50" fmla="*/ 14 w 1185"/>
                  <a:gd name="T51" fmla="*/ 495 h 700"/>
                  <a:gd name="T52" fmla="*/ 19 w 1185"/>
                  <a:gd name="T53" fmla="*/ 488 h 700"/>
                  <a:gd name="T54" fmla="*/ 20 w 1185"/>
                  <a:gd name="T55" fmla="*/ 478 h 700"/>
                  <a:gd name="T56" fmla="*/ 20 w 1185"/>
                  <a:gd name="T57" fmla="*/ 471 h 700"/>
                  <a:gd name="T58" fmla="*/ 108 w 1185"/>
                  <a:gd name="T59" fmla="*/ 484 h 700"/>
                  <a:gd name="T60" fmla="*/ 204 w 1185"/>
                  <a:gd name="T61" fmla="*/ 499 h 700"/>
                  <a:gd name="T62" fmla="*/ 305 w 1185"/>
                  <a:gd name="T63" fmla="*/ 392 h 700"/>
                  <a:gd name="T64" fmla="*/ 352 w 1185"/>
                  <a:gd name="T65" fmla="*/ 362 h 700"/>
                  <a:gd name="T66" fmla="*/ 454 w 1185"/>
                  <a:gd name="T67" fmla="*/ 323 h 700"/>
                  <a:gd name="T68" fmla="*/ 476 w 1185"/>
                  <a:gd name="T69" fmla="*/ 276 h 700"/>
                  <a:gd name="T70" fmla="*/ 483 w 1185"/>
                  <a:gd name="T71" fmla="*/ 193 h 700"/>
                  <a:gd name="T72" fmla="*/ 357 w 1185"/>
                  <a:gd name="T73" fmla="*/ 52 h 700"/>
                  <a:gd name="T74" fmla="*/ 508 w 1185"/>
                  <a:gd name="T75" fmla="*/ 75 h 700"/>
                  <a:gd name="T76" fmla="*/ 510 w 1185"/>
                  <a:gd name="T77" fmla="*/ 103 h 700"/>
                  <a:gd name="T78" fmla="*/ 533 w 1185"/>
                  <a:gd name="T79" fmla="*/ 126 h 700"/>
                  <a:gd name="T80" fmla="*/ 552 w 1185"/>
                  <a:gd name="T81" fmla="*/ 158 h 700"/>
                  <a:gd name="T82" fmla="*/ 567 w 1185"/>
                  <a:gd name="T83" fmla="*/ 169 h 700"/>
                  <a:gd name="T84" fmla="*/ 708 w 1185"/>
                  <a:gd name="T85" fmla="*/ 156 h 700"/>
                  <a:gd name="T86" fmla="*/ 853 w 1185"/>
                  <a:gd name="T87" fmla="*/ 178 h 700"/>
                  <a:gd name="T88" fmla="*/ 879 w 1185"/>
                  <a:gd name="T89" fmla="*/ 196 h 700"/>
                  <a:gd name="T90" fmla="*/ 1012 w 1185"/>
                  <a:gd name="T91" fmla="*/ 201 h 700"/>
                  <a:gd name="T92" fmla="*/ 1063 w 1185"/>
                  <a:gd name="T93" fmla="*/ 234 h 700"/>
                  <a:gd name="T94" fmla="*/ 1110 w 1185"/>
                  <a:gd name="T95" fmla="*/ 241 h 700"/>
                  <a:gd name="T96" fmla="*/ 1129 w 1185"/>
                  <a:gd name="T97" fmla="*/ 255 h 700"/>
                  <a:gd name="T98" fmla="*/ 1147 w 1185"/>
                  <a:gd name="T99" fmla="*/ 288 h 700"/>
                  <a:gd name="T100" fmla="*/ 1185 w 1185"/>
                  <a:gd name="T101" fmla="*/ 324 h 700"/>
                  <a:gd name="T102" fmla="*/ 1159 w 1185"/>
                  <a:gd name="T103" fmla="*/ 350 h 700"/>
                  <a:gd name="T104" fmla="*/ 994 w 1185"/>
                  <a:gd name="T105" fmla="*/ 460 h 700"/>
                  <a:gd name="T106" fmla="*/ 985 w 1185"/>
                  <a:gd name="T107" fmla="*/ 536 h 700"/>
                  <a:gd name="T108" fmla="*/ 957 w 1185"/>
                  <a:gd name="T109" fmla="*/ 57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5" h="700">
                    <a:moveTo>
                      <a:pt x="957" y="571"/>
                    </a:moveTo>
                    <a:lnTo>
                      <a:pt x="946" y="568"/>
                    </a:lnTo>
                    <a:lnTo>
                      <a:pt x="943" y="568"/>
                    </a:lnTo>
                    <a:lnTo>
                      <a:pt x="879" y="595"/>
                    </a:lnTo>
                    <a:lnTo>
                      <a:pt x="817" y="630"/>
                    </a:lnTo>
                    <a:lnTo>
                      <a:pt x="787" y="638"/>
                    </a:lnTo>
                    <a:lnTo>
                      <a:pt x="725" y="669"/>
                    </a:lnTo>
                    <a:lnTo>
                      <a:pt x="720" y="672"/>
                    </a:lnTo>
                    <a:lnTo>
                      <a:pt x="717" y="675"/>
                    </a:lnTo>
                    <a:lnTo>
                      <a:pt x="698" y="695"/>
                    </a:lnTo>
                    <a:lnTo>
                      <a:pt x="692" y="690"/>
                    </a:lnTo>
                    <a:lnTo>
                      <a:pt x="689" y="688"/>
                    </a:lnTo>
                    <a:lnTo>
                      <a:pt x="687" y="687"/>
                    </a:lnTo>
                    <a:lnTo>
                      <a:pt x="682" y="687"/>
                    </a:lnTo>
                    <a:lnTo>
                      <a:pt x="676" y="688"/>
                    </a:lnTo>
                    <a:lnTo>
                      <a:pt x="672" y="690"/>
                    </a:lnTo>
                    <a:lnTo>
                      <a:pt x="654" y="698"/>
                    </a:lnTo>
                    <a:lnTo>
                      <a:pt x="650" y="700"/>
                    </a:lnTo>
                    <a:lnTo>
                      <a:pt x="646" y="700"/>
                    </a:lnTo>
                    <a:lnTo>
                      <a:pt x="642" y="700"/>
                    </a:lnTo>
                    <a:lnTo>
                      <a:pt x="638" y="698"/>
                    </a:lnTo>
                    <a:lnTo>
                      <a:pt x="635" y="695"/>
                    </a:lnTo>
                    <a:lnTo>
                      <a:pt x="630" y="683"/>
                    </a:lnTo>
                    <a:lnTo>
                      <a:pt x="623" y="683"/>
                    </a:lnTo>
                    <a:lnTo>
                      <a:pt x="620" y="683"/>
                    </a:lnTo>
                    <a:lnTo>
                      <a:pt x="617" y="682"/>
                    </a:lnTo>
                    <a:lnTo>
                      <a:pt x="611" y="678"/>
                    </a:lnTo>
                    <a:lnTo>
                      <a:pt x="607" y="677"/>
                    </a:lnTo>
                    <a:lnTo>
                      <a:pt x="602" y="679"/>
                    </a:lnTo>
                    <a:lnTo>
                      <a:pt x="598" y="681"/>
                    </a:lnTo>
                    <a:lnTo>
                      <a:pt x="591" y="682"/>
                    </a:lnTo>
                    <a:lnTo>
                      <a:pt x="586" y="683"/>
                    </a:lnTo>
                    <a:lnTo>
                      <a:pt x="552" y="680"/>
                    </a:lnTo>
                    <a:lnTo>
                      <a:pt x="542" y="677"/>
                    </a:lnTo>
                    <a:lnTo>
                      <a:pt x="523" y="671"/>
                    </a:lnTo>
                    <a:lnTo>
                      <a:pt x="515" y="667"/>
                    </a:lnTo>
                    <a:lnTo>
                      <a:pt x="505" y="658"/>
                    </a:lnTo>
                    <a:lnTo>
                      <a:pt x="501" y="654"/>
                    </a:lnTo>
                    <a:lnTo>
                      <a:pt x="500" y="650"/>
                    </a:lnTo>
                    <a:lnTo>
                      <a:pt x="497" y="645"/>
                    </a:lnTo>
                    <a:lnTo>
                      <a:pt x="494" y="639"/>
                    </a:lnTo>
                    <a:lnTo>
                      <a:pt x="492" y="631"/>
                    </a:lnTo>
                    <a:lnTo>
                      <a:pt x="492" y="621"/>
                    </a:lnTo>
                    <a:lnTo>
                      <a:pt x="491" y="603"/>
                    </a:lnTo>
                    <a:lnTo>
                      <a:pt x="492" y="573"/>
                    </a:lnTo>
                    <a:lnTo>
                      <a:pt x="492" y="568"/>
                    </a:lnTo>
                    <a:lnTo>
                      <a:pt x="490" y="564"/>
                    </a:lnTo>
                    <a:lnTo>
                      <a:pt x="487" y="562"/>
                    </a:lnTo>
                    <a:lnTo>
                      <a:pt x="484" y="561"/>
                    </a:lnTo>
                    <a:lnTo>
                      <a:pt x="480" y="562"/>
                    </a:lnTo>
                    <a:lnTo>
                      <a:pt x="470" y="573"/>
                    </a:lnTo>
                    <a:lnTo>
                      <a:pt x="458" y="580"/>
                    </a:lnTo>
                    <a:lnTo>
                      <a:pt x="455" y="583"/>
                    </a:lnTo>
                    <a:lnTo>
                      <a:pt x="452" y="586"/>
                    </a:lnTo>
                    <a:lnTo>
                      <a:pt x="450" y="591"/>
                    </a:lnTo>
                    <a:lnTo>
                      <a:pt x="444" y="608"/>
                    </a:lnTo>
                    <a:lnTo>
                      <a:pt x="441" y="612"/>
                    </a:lnTo>
                    <a:lnTo>
                      <a:pt x="439" y="615"/>
                    </a:lnTo>
                    <a:lnTo>
                      <a:pt x="435" y="617"/>
                    </a:lnTo>
                    <a:lnTo>
                      <a:pt x="431" y="618"/>
                    </a:lnTo>
                    <a:lnTo>
                      <a:pt x="402" y="616"/>
                    </a:lnTo>
                    <a:lnTo>
                      <a:pt x="387" y="614"/>
                    </a:lnTo>
                    <a:lnTo>
                      <a:pt x="362" y="605"/>
                    </a:lnTo>
                    <a:lnTo>
                      <a:pt x="353" y="604"/>
                    </a:lnTo>
                    <a:lnTo>
                      <a:pt x="339" y="604"/>
                    </a:lnTo>
                    <a:lnTo>
                      <a:pt x="299" y="613"/>
                    </a:lnTo>
                    <a:lnTo>
                      <a:pt x="281" y="620"/>
                    </a:lnTo>
                    <a:lnTo>
                      <a:pt x="278" y="620"/>
                    </a:lnTo>
                    <a:lnTo>
                      <a:pt x="274" y="620"/>
                    </a:lnTo>
                    <a:lnTo>
                      <a:pt x="267" y="617"/>
                    </a:lnTo>
                    <a:lnTo>
                      <a:pt x="266" y="616"/>
                    </a:lnTo>
                    <a:lnTo>
                      <a:pt x="265" y="615"/>
                    </a:lnTo>
                    <a:lnTo>
                      <a:pt x="221" y="559"/>
                    </a:lnTo>
                    <a:lnTo>
                      <a:pt x="216" y="553"/>
                    </a:lnTo>
                    <a:lnTo>
                      <a:pt x="209" y="549"/>
                    </a:lnTo>
                    <a:lnTo>
                      <a:pt x="205" y="546"/>
                    </a:lnTo>
                    <a:lnTo>
                      <a:pt x="172" y="538"/>
                    </a:lnTo>
                    <a:lnTo>
                      <a:pt x="161" y="538"/>
                    </a:lnTo>
                    <a:lnTo>
                      <a:pt x="148" y="541"/>
                    </a:lnTo>
                    <a:lnTo>
                      <a:pt x="126" y="543"/>
                    </a:lnTo>
                    <a:lnTo>
                      <a:pt x="92" y="549"/>
                    </a:lnTo>
                    <a:lnTo>
                      <a:pt x="85" y="552"/>
                    </a:lnTo>
                    <a:lnTo>
                      <a:pt x="78" y="554"/>
                    </a:lnTo>
                    <a:lnTo>
                      <a:pt x="73" y="560"/>
                    </a:lnTo>
                    <a:lnTo>
                      <a:pt x="70" y="561"/>
                    </a:lnTo>
                    <a:lnTo>
                      <a:pt x="66" y="562"/>
                    </a:lnTo>
                    <a:lnTo>
                      <a:pt x="42" y="560"/>
                    </a:lnTo>
                    <a:lnTo>
                      <a:pt x="28" y="557"/>
                    </a:lnTo>
                    <a:lnTo>
                      <a:pt x="23" y="556"/>
                    </a:lnTo>
                    <a:lnTo>
                      <a:pt x="17" y="557"/>
                    </a:lnTo>
                    <a:lnTo>
                      <a:pt x="3" y="558"/>
                    </a:lnTo>
                    <a:lnTo>
                      <a:pt x="3" y="557"/>
                    </a:lnTo>
                    <a:lnTo>
                      <a:pt x="0" y="556"/>
                    </a:lnTo>
                    <a:lnTo>
                      <a:pt x="0" y="555"/>
                    </a:lnTo>
                    <a:lnTo>
                      <a:pt x="3" y="551"/>
                    </a:lnTo>
                    <a:lnTo>
                      <a:pt x="5" y="543"/>
                    </a:lnTo>
                    <a:lnTo>
                      <a:pt x="6" y="534"/>
                    </a:lnTo>
                    <a:lnTo>
                      <a:pt x="4" y="530"/>
                    </a:lnTo>
                    <a:lnTo>
                      <a:pt x="4" y="527"/>
                    </a:lnTo>
                    <a:lnTo>
                      <a:pt x="6" y="523"/>
                    </a:lnTo>
                    <a:lnTo>
                      <a:pt x="8" y="519"/>
                    </a:lnTo>
                    <a:lnTo>
                      <a:pt x="11" y="502"/>
                    </a:lnTo>
                    <a:lnTo>
                      <a:pt x="12" y="500"/>
                    </a:lnTo>
                    <a:lnTo>
                      <a:pt x="14" y="495"/>
                    </a:lnTo>
                    <a:lnTo>
                      <a:pt x="14" y="494"/>
                    </a:lnTo>
                    <a:lnTo>
                      <a:pt x="14" y="492"/>
                    </a:lnTo>
                    <a:lnTo>
                      <a:pt x="16" y="490"/>
                    </a:lnTo>
                    <a:lnTo>
                      <a:pt x="19" y="488"/>
                    </a:lnTo>
                    <a:lnTo>
                      <a:pt x="18" y="484"/>
                    </a:lnTo>
                    <a:lnTo>
                      <a:pt x="18" y="480"/>
                    </a:lnTo>
                    <a:lnTo>
                      <a:pt x="18" y="477"/>
                    </a:lnTo>
                    <a:lnTo>
                      <a:pt x="20" y="478"/>
                    </a:lnTo>
                    <a:lnTo>
                      <a:pt x="21" y="477"/>
                    </a:lnTo>
                    <a:lnTo>
                      <a:pt x="21" y="477"/>
                    </a:lnTo>
                    <a:lnTo>
                      <a:pt x="20" y="474"/>
                    </a:lnTo>
                    <a:lnTo>
                      <a:pt x="20" y="471"/>
                    </a:lnTo>
                    <a:lnTo>
                      <a:pt x="20" y="469"/>
                    </a:lnTo>
                    <a:lnTo>
                      <a:pt x="39" y="471"/>
                    </a:lnTo>
                    <a:lnTo>
                      <a:pt x="59" y="475"/>
                    </a:lnTo>
                    <a:lnTo>
                      <a:pt x="108" y="484"/>
                    </a:lnTo>
                    <a:lnTo>
                      <a:pt x="133" y="488"/>
                    </a:lnTo>
                    <a:lnTo>
                      <a:pt x="162" y="493"/>
                    </a:lnTo>
                    <a:lnTo>
                      <a:pt x="199" y="500"/>
                    </a:lnTo>
                    <a:lnTo>
                      <a:pt x="204" y="499"/>
                    </a:lnTo>
                    <a:lnTo>
                      <a:pt x="208" y="497"/>
                    </a:lnTo>
                    <a:lnTo>
                      <a:pt x="226" y="483"/>
                    </a:lnTo>
                    <a:lnTo>
                      <a:pt x="276" y="440"/>
                    </a:lnTo>
                    <a:lnTo>
                      <a:pt x="305" y="392"/>
                    </a:lnTo>
                    <a:lnTo>
                      <a:pt x="314" y="376"/>
                    </a:lnTo>
                    <a:lnTo>
                      <a:pt x="318" y="371"/>
                    </a:lnTo>
                    <a:lnTo>
                      <a:pt x="323" y="369"/>
                    </a:lnTo>
                    <a:lnTo>
                      <a:pt x="352" y="362"/>
                    </a:lnTo>
                    <a:lnTo>
                      <a:pt x="401" y="353"/>
                    </a:lnTo>
                    <a:lnTo>
                      <a:pt x="442" y="344"/>
                    </a:lnTo>
                    <a:lnTo>
                      <a:pt x="446" y="341"/>
                    </a:lnTo>
                    <a:lnTo>
                      <a:pt x="454" y="323"/>
                    </a:lnTo>
                    <a:lnTo>
                      <a:pt x="465" y="294"/>
                    </a:lnTo>
                    <a:lnTo>
                      <a:pt x="470" y="282"/>
                    </a:lnTo>
                    <a:lnTo>
                      <a:pt x="472" y="279"/>
                    </a:lnTo>
                    <a:lnTo>
                      <a:pt x="476" y="276"/>
                    </a:lnTo>
                    <a:lnTo>
                      <a:pt x="514" y="254"/>
                    </a:lnTo>
                    <a:lnTo>
                      <a:pt x="526" y="247"/>
                    </a:lnTo>
                    <a:lnTo>
                      <a:pt x="528" y="246"/>
                    </a:lnTo>
                    <a:lnTo>
                      <a:pt x="483" y="193"/>
                    </a:lnTo>
                    <a:lnTo>
                      <a:pt x="464" y="172"/>
                    </a:lnTo>
                    <a:lnTo>
                      <a:pt x="444" y="147"/>
                    </a:lnTo>
                    <a:lnTo>
                      <a:pt x="401" y="99"/>
                    </a:lnTo>
                    <a:lnTo>
                      <a:pt x="357" y="52"/>
                    </a:lnTo>
                    <a:lnTo>
                      <a:pt x="439" y="27"/>
                    </a:lnTo>
                    <a:lnTo>
                      <a:pt x="522" y="2"/>
                    </a:lnTo>
                    <a:lnTo>
                      <a:pt x="529" y="0"/>
                    </a:lnTo>
                    <a:lnTo>
                      <a:pt x="508" y="75"/>
                    </a:lnTo>
                    <a:lnTo>
                      <a:pt x="507" y="82"/>
                    </a:lnTo>
                    <a:lnTo>
                      <a:pt x="508" y="94"/>
                    </a:lnTo>
                    <a:lnTo>
                      <a:pt x="510" y="101"/>
                    </a:lnTo>
                    <a:lnTo>
                      <a:pt x="510" y="103"/>
                    </a:lnTo>
                    <a:lnTo>
                      <a:pt x="512" y="106"/>
                    </a:lnTo>
                    <a:lnTo>
                      <a:pt x="514" y="110"/>
                    </a:lnTo>
                    <a:lnTo>
                      <a:pt x="529" y="120"/>
                    </a:lnTo>
                    <a:lnTo>
                      <a:pt x="533" y="126"/>
                    </a:lnTo>
                    <a:lnTo>
                      <a:pt x="539" y="133"/>
                    </a:lnTo>
                    <a:lnTo>
                      <a:pt x="544" y="142"/>
                    </a:lnTo>
                    <a:lnTo>
                      <a:pt x="547" y="149"/>
                    </a:lnTo>
                    <a:lnTo>
                      <a:pt x="552" y="158"/>
                    </a:lnTo>
                    <a:lnTo>
                      <a:pt x="556" y="162"/>
                    </a:lnTo>
                    <a:lnTo>
                      <a:pt x="560" y="165"/>
                    </a:lnTo>
                    <a:lnTo>
                      <a:pt x="563" y="167"/>
                    </a:lnTo>
                    <a:lnTo>
                      <a:pt x="567" y="169"/>
                    </a:lnTo>
                    <a:lnTo>
                      <a:pt x="574" y="171"/>
                    </a:lnTo>
                    <a:lnTo>
                      <a:pt x="583" y="172"/>
                    </a:lnTo>
                    <a:lnTo>
                      <a:pt x="657" y="164"/>
                    </a:lnTo>
                    <a:lnTo>
                      <a:pt x="708" y="156"/>
                    </a:lnTo>
                    <a:lnTo>
                      <a:pt x="730" y="157"/>
                    </a:lnTo>
                    <a:lnTo>
                      <a:pt x="844" y="174"/>
                    </a:lnTo>
                    <a:lnTo>
                      <a:pt x="849" y="175"/>
                    </a:lnTo>
                    <a:lnTo>
                      <a:pt x="853" y="178"/>
                    </a:lnTo>
                    <a:lnTo>
                      <a:pt x="857" y="180"/>
                    </a:lnTo>
                    <a:lnTo>
                      <a:pt x="869" y="192"/>
                    </a:lnTo>
                    <a:lnTo>
                      <a:pt x="874" y="195"/>
                    </a:lnTo>
                    <a:lnTo>
                      <a:pt x="879" y="196"/>
                    </a:lnTo>
                    <a:lnTo>
                      <a:pt x="895" y="200"/>
                    </a:lnTo>
                    <a:lnTo>
                      <a:pt x="986" y="202"/>
                    </a:lnTo>
                    <a:lnTo>
                      <a:pt x="996" y="201"/>
                    </a:lnTo>
                    <a:lnTo>
                      <a:pt x="1012" y="201"/>
                    </a:lnTo>
                    <a:lnTo>
                      <a:pt x="1019" y="203"/>
                    </a:lnTo>
                    <a:lnTo>
                      <a:pt x="1025" y="205"/>
                    </a:lnTo>
                    <a:lnTo>
                      <a:pt x="1057" y="232"/>
                    </a:lnTo>
                    <a:lnTo>
                      <a:pt x="1063" y="234"/>
                    </a:lnTo>
                    <a:lnTo>
                      <a:pt x="1068" y="236"/>
                    </a:lnTo>
                    <a:lnTo>
                      <a:pt x="1077" y="237"/>
                    </a:lnTo>
                    <a:lnTo>
                      <a:pt x="1091" y="237"/>
                    </a:lnTo>
                    <a:lnTo>
                      <a:pt x="1110" y="241"/>
                    </a:lnTo>
                    <a:lnTo>
                      <a:pt x="1116" y="242"/>
                    </a:lnTo>
                    <a:lnTo>
                      <a:pt x="1122" y="246"/>
                    </a:lnTo>
                    <a:lnTo>
                      <a:pt x="1124" y="249"/>
                    </a:lnTo>
                    <a:lnTo>
                      <a:pt x="1129" y="255"/>
                    </a:lnTo>
                    <a:lnTo>
                      <a:pt x="1132" y="258"/>
                    </a:lnTo>
                    <a:lnTo>
                      <a:pt x="1139" y="276"/>
                    </a:lnTo>
                    <a:lnTo>
                      <a:pt x="1144" y="284"/>
                    </a:lnTo>
                    <a:lnTo>
                      <a:pt x="1147" y="288"/>
                    </a:lnTo>
                    <a:lnTo>
                      <a:pt x="1155" y="296"/>
                    </a:lnTo>
                    <a:lnTo>
                      <a:pt x="1180" y="316"/>
                    </a:lnTo>
                    <a:lnTo>
                      <a:pt x="1183" y="319"/>
                    </a:lnTo>
                    <a:lnTo>
                      <a:pt x="1185" y="324"/>
                    </a:lnTo>
                    <a:lnTo>
                      <a:pt x="1183" y="327"/>
                    </a:lnTo>
                    <a:lnTo>
                      <a:pt x="1180" y="331"/>
                    </a:lnTo>
                    <a:lnTo>
                      <a:pt x="1173" y="339"/>
                    </a:lnTo>
                    <a:lnTo>
                      <a:pt x="1159" y="350"/>
                    </a:lnTo>
                    <a:lnTo>
                      <a:pt x="1019" y="438"/>
                    </a:lnTo>
                    <a:lnTo>
                      <a:pt x="1001" y="452"/>
                    </a:lnTo>
                    <a:lnTo>
                      <a:pt x="997" y="455"/>
                    </a:lnTo>
                    <a:lnTo>
                      <a:pt x="994" y="460"/>
                    </a:lnTo>
                    <a:lnTo>
                      <a:pt x="991" y="463"/>
                    </a:lnTo>
                    <a:lnTo>
                      <a:pt x="990" y="468"/>
                    </a:lnTo>
                    <a:lnTo>
                      <a:pt x="989" y="472"/>
                    </a:lnTo>
                    <a:lnTo>
                      <a:pt x="985" y="536"/>
                    </a:lnTo>
                    <a:lnTo>
                      <a:pt x="984" y="539"/>
                    </a:lnTo>
                    <a:lnTo>
                      <a:pt x="983" y="543"/>
                    </a:lnTo>
                    <a:lnTo>
                      <a:pt x="980" y="547"/>
                    </a:lnTo>
                    <a:lnTo>
                      <a:pt x="957" y="571"/>
                    </a:lnTo>
                    <a:lnTo>
                      <a:pt x="957" y="571"/>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5" name="Freeform 15">
                <a:extLst>
                  <a:ext uri="{FF2B5EF4-FFF2-40B4-BE49-F238E27FC236}"/>
                </a:extLst>
              </p:cNvPr>
              <p:cNvSpPr>
                <a:spLocks/>
              </p:cNvSpPr>
              <p:nvPr/>
            </p:nvSpPr>
            <p:spPr bwMode="auto">
              <a:xfrm>
                <a:off x="3351213" y="5237163"/>
                <a:ext cx="328613" cy="395288"/>
              </a:xfrm>
              <a:custGeom>
                <a:avLst/>
                <a:gdLst>
                  <a:gd name="T0" fmla="*/ 198 w 207"/>
                  <a:gd name="T1" fmla="*/ 52 h 249"/>
                  <a:gd name="T2" fmla="*/ 200 w 207"/>
                  <a:gd name="T3" fmla="*/ 61 h 249"/>
                  <a:gd name="T4" fmla="*/ 206 w 207"/>
                  <a:gd name="T5" fmla="*/ 69 h 249"/>
                  <a:gd name="T6" fmla="*/ 206 w 207"/>
                  <a:gd name="T7" fmla="*/ 78 h 249"/>
                  <a:gd name="T8" fmla="*/ 198 w 207"/>
                  <a:gd name="T9" fmla="*/ 87 h 249"/>
                  <a:gd name="T10" fmla="*/ 175 w 207"/>
                  <a:gd name="T11" fmla="*/ 104 h 249"/>
                  <a:gd name="T12" fmla="*/ 171 w 207"/>
                  <a:gd name="T13" fmla="*/ 114 h 249"/>
                  <a:gd name="T14" fmla="*/ 168 w 207"/>
                  <a:gd name="T15" fmla="*/ 135 h 249"/>
                  <a:gd name="T16" fmla="*/ 146 w 207"/>
                  <a:gd name="T17" fmla="*/ 174 h 249"/>
                  <a:gd name="T18" fmla="*/ 125 w 207"/>
                  <a:gd name="T19" fmla="*/ 175 h 249"/>
                  <a:gd name="T20" fmla="*/ 118 w 207"/>
                  <a:gd name="T21" fmla="*/ 177 h 249"/>
                  <a:gd name="T22" fmla="*/ 115 w 207"/>
                  <a:gd name="T23" fmla="*/ 181 h 249"/>
                  <a:gd name="T24" fmla="*/ 99 w 207"/>
                  <a:gd name="T25" fmla="*/ 217 h 249"/>
                  <a:gd name="T26" fmla="*/ 94 w 207"/>
                  <a:gd name="T27" fmla="*/ 240 h 249"/>
                  <a:gd name="T28" fmla="*/ 88 w 207"/>
                  <a:gd name="T29" fmla="*/ 245 h 249"/>
                  <a:gd name="T30" fmla="*/ 82 w 207"/>
                  <a:gd name="T31" fmla="*/ 248 h 249"/>
                  <a:gd name="T32" fmla="*/ 74 w 207"/>
                  <a:gd name="T33" fmla="*/ 249 h 249"/>
                  <a:gd name="T34" fmla="*/ 65 w 207"/>
                  <a:gd name="T35" fmla="*/ 246 h 249"/>
                  <a:gd name="T36" fmla="*/ 51 w 207"/>
                  <a:gd name="T37" fmla="*/ 229 h 249"/>
                  <a:gd name="T38" fmla="*/ 35 w 207"/>
                  <a:gd name="T39" fmla="*/ 218 h 249"/>
                  <a:gd name="T40" fmla="*/ 30 w 207"/>
                  <a:gd name="T41" fmla="*/ 214 h 249"/>
                  <a:gd name="T42" fmla="*/ 28 w 207"/>
                  <a:gd name="T43" fmla="*/ 207 h 249"/>
                  <a:gd name="T44" fmla="*/ 28 w 207"/>
                  <a:gd name="T45" fmla="*/ 189 h 249"/>
                  <a:gd name="T46" fmla="*/ 25 w 207"/>
                  <a:gd name="T47" fmla="*/ 174 h 249"/>
                  <a:gd name="T48" fmla="*/ 27 w 207"/>
                  <a:gd name="T49" fmla="*/ 152 h 249"/>
                  <a:gd name="T50" fmla="*/ 26 w 207"/>
                  <a:gd name="T51" fmla="*/ 144 h 249"/>
                  <a:gd name="T52" fmla="*/ 21 w 207"/>
                  <a:gd name="T53" fmla="*/ 137 h 249"/>
                  <a:gd name="T54" fmla="*/ 7 w 207"/>
                  <a:gd name="T55" fmla="*/ 132 h 249"/>
                  <a:gd name="T56" fmla="*/ 1 w 207"/>
                  <a:gd name="T57" fmla="*/ 128 h 249"/>
                  <a:gd name="T58" fmla="*/ 0 w 207"/>
                  <a:gd name="T59" fmla="*/ 121 h 249"/>
                  <a:gd name="T60" fmla="*/ 16 w 207"/>
                  <a:gd name="T61" fmla="*/ 104 h 249"/>
                  <a:gd name="T62" fmla="*/ 24 w 207"/>
                  <a:gd name="T63" fmla="*/ 99 h 249"/>
                  <a:gd name="T64" fmla="*/ 45 w 207"/>
                  <a:gd name="T65" fmla="*/ 95 h 249"/>
                  <a:gd name="T66" fmla="*/ 53 w 207"/>
                  <a:gd name="T67" fmla="*/ 92 h 249"/>
                  <a:gd name="T68" fmla="*/ 59 w 207"/>
                  <a:gd name="T69" fmla="*/ 85 h 249"/>
                  <a:gd name="T70" fmla="*/ 75 w 207"/>
                  <a:gd name="T71" fmla="*/ 52 h 249"/>
                  <a:gd name="T72" fmla="*/ 77 w 207"/>
                  <a:gd name="T73" fmla="*/ 46 h 249"/>
                  <a:gd name="T74" fmla="*/ 73 w 207"/>
                  <a:gd name="T75" fmla="*/ 30 h 249"/>
                  <a:gd name="T76" fmla="*/ 72 w 207"/>
                  <a:gd name="T77" fmla="*/ 18 h 249"/>
                  <a:gd name="T78" fmla="*/ 73 w 207"/>
                  <a:gd name="T79" fmla="*/ 11 h 249"/>
                  <a:gd name="T80" fmla="*/ 75 w 207"/>
                  <a:gd name="T81" fmla="*/ 7 h 249"/>
                  <a:gd name="T82" fmla="*/ 81 w 207"/>
                  <a:gd name="T83" fmla="*/ 1 h 249"/>
                  <a:gd name="T84" fmla="*/ 89 w 207"/>
                  <a:gd name="T85" fmla="*/ 0 h 249"/>
                  <a:gd name="T86" fmla="*/ 98 w 207"/>
                  <a:gd name="T87" fmla="*/ 2 h 249"/>
                  <a:gd name="T88" fmla="*/ 104 w 207"/>
                  <a:gd name="T89" fmla="*/ 9 h 249"/>
                  <a:gd name="T90" fmla="*/ 111 w 207"/>
                  <a:gd name="T91" fmla="*/ 27 h 249"/>
                  <a:gd name="T92" fmla="*/ 117 w 207"/>
                  <a:gd name="T93" fmla="*/ 32 h 249"/>
                  <a:gd name="T94" fmla="*/ 122 w 207"/>
                  <a:gd name="T95" fmla="*/ 33 h 249"/>
                  <a:gd name="T96" fmla="*/ 135 w 207"/>
                  <a:gd name="T97" fmla="*/ 29 h 249"/>
                  <a:gd name="T98" fmla="*/ 145 w 207"/>
                  <a:gd name="T99" fmla="*/ 27 h 249"/>
                  <a:gd name="T100" fmla="*/ 167 w 207"/>
                  <a:gd name="T101" fmla="*/ 25 h 249"/>
                  <a:gd name="T102" fmla="*/ 186 w 207"/>
                  <a:gd name="T103" fmla="*/ 15 h 249"/>
                  <a:gd name="T104" fmla="*/ 193 w 207"/>
                  <a:gd name="T105" fmla="*/ 15 h 249"/>
                  <a:gd name="T106" fmla="*/ 207 w 207"/>
                  <a:gd name="T107" fmla="*/ 2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7" h="249">
                    <a:moveTo>
                      <a:pt x="207" y="24"/>
                    </a:moveTo>
                    <a:lnTo>
                      <a:pt x="198" y="52"/>
                    </a:lnTo>
                    <a:lnTo>
                      <a:pt x="199" y="56"/>
                    </a:lnTo>
                    <a:lnTo>
                      <a:pt x="200" y="61"/>
                    </a:lnTo>
                    <a:lnTo>
                      <a:pt x="204" y="66"/>
                    </a:lnTo>
                    <a:lnTo>
                      <a:pt x="206" y="69"/>
                    </a:lnTo>
                    <a:lnTo>
                      <a:pt x="207" y="73"/>
                    </a:lnTo>
                    <a:lnTo>
                      <a:pt x="206" y="78"/>
                    </a:lnTo>
                    <a:lnTo>
                      <a:pt x="201" y="84"/>
                    </a:lnTo>
                    <a:lnTo>
                      <a:pt x="198" y="87"/>
                    </a:lnTo>
                    <a:lnTo>
                      <a:pt x="178" y="100"/>
                    </a:lnTo>
                    <a:lnTo>
                      <a:pt x="175" y="104"/>
                    </a:lnTo>
                    <a:lnTo>
                      <a:pt x="172" y="108"/>
                    </a:lnTo>
                    <a:lnTo>
                      <a:pt x="171" y="114"/>
                    </a:lnTo>
                    <a:lnTo>
                      <a:pt x="170" y="126"/>
                    </a:lnTo>
                    <a:lnTo>
                      <a:pt x="168" y="135"/>
                    </a:lnTo>
                    <a:lnTo>
                      <a:pt x="150" y="172"/>
                    </a:lnTo>
                    <a:lnTo>
                      <a:pt x="146" y="174"/>
                    </a:lnTo>
                    <a:lnTo>
                      <a:pt x="141" y="175"/>
                    </a:lnTo>
                    <a:lnTo>
                      <a:pt x="125" y="175"/>
                    </a:lnTo>
                    <a:lnTo>
                      <a:pt x="121" y="175"/>
                    </a:lnTo>
                    <a:lnTo>
                      <a:pt x="118" y="177"/>
                    </a:lnTo>
                    <a:lnTo>
                      <a:pt x="117" y="178"/>
                    </a:lnTo>
                    <a:lnTo>
                      <a:pt x="115" y="181"/>
                    </a:lnTo>
                    <a:lnTo>
                      <a:pt x="110" y="189"/>
                    </a:lnTo>
                    <a:lnTo>
                      <a:pt x="99" y="217"/>
                    </a:lnTo>
                    <a:lnTo>
                      <a:pt x="95" y="236"/>
                    </a:lnTo>
                    <a:lnTo>
                      <a:pt x="94" y="240"/>
                    </a:lnTo>
                    <a:lnTo>
                      <a:pt x="92" y="243"/>
                    </a:lnTo>
                    <a:lnTo>
                      <a:pt x="88" y="245"/>
                    </a:lnTo>
                    <a:lnTo>
                      <a:pt x="86" y="247"/>
                    </a:lnTo>
                    <a:lnTo>
                      <a:pt x="82" y="248"/>
                    </a:lnTo>
                    <a:lnTo>
                      <a:pt x="78" y="249"/>
                    </a:lnTo>
                    <a:lnTo>
                      <a:pt x="74" y="249"/>
                    </a:lnTo>
                    <a:lnTo>
                      <a:pt x="70" y="248"/>
                    </a:lnTo>
                    <a:lnTo>
                      <a:pt x="65" y="246"/>
                    </a:lnTo>
                    <a:lnTo>
                      <a:pt x="62" y="244"/>
                    </a:lnTo>
                    <a:lnTo>
                      <a:pt x="51" y="229"/>
                    </a:lnTo>
                    <a:lnTo>
                      <a:pt x="48" y="225"/>
                    </a:lnTo>
                    <a:lnTo>
                      <a:pt x="35" y="218"/>
                    </a:lnTo>
                    <a:lnTo>
                      <a:pt x="33" y="217"/>
                    </a:lnTo>
                    <a:lnTo>
                      <a:pt x="30" y="214"/>
                    </a:lnTo>
                    <a:lnTo>
                      <a:pt x="28" y="211"/>
                    </a:lnTo>
                    <a:lnTo>
                      <a:pt x="28" y="207"/>
                    </a:lnTo>
                    <a:lnTo>
                      <a:pt x="28" y="204"/>
                    </a:lnTo>
                    <a:lnTo>
                      <a:pt x="28" y="189"/>
                    </a:lnTo>
                    <a:lnTo>
                      <a:pt x="28" y="185"/>
                    </a:lnTo>
                    <a:lnTo>
                      <a:pt x="25" y="174"/>
                    </a:lnTo>
                    <a:lnTo>
                      <a:pt x="25" y="170"/>
                    </a:lnTo>
                    <a:lnTo>
                      <a:pt x="27" y="152"/>
                    </a:lnTo>
                    <a:lnTo>
                      <a:pt x="27" y="148"/>
                    </a:lnTo>
                    <a:lnTo>
                      <a:pt x="26" y="144"/>
                    </a:lnTo>
                    <a:lnTo>
                      <a:pt x="24" y="140"/>
                    </a:lnTo>
                    <a:lnTo>
                      <a:pt x="21" y="137"/>
                    </a:lnTo>
                    <a:lnTo>
                      <a:pt x="20" y="136"/>
                    </a:lnTo>
                    <a:lnTo>
                      <a:pt x="7" y="132"/>
                    </a:lnTo>
                    <a:lnTo>
                      <a:pt x="4" y="130"/>
                    </a:lnTo>
                    <a:lnTo>
                      <a:pt x="1" y="128"/>
                    </a:lnTo>
                    <a:lnTo>
                      <a:pt x="0" y="124"/>
                    </a:lnTo>
                    <a:lnTo>
                      <a:pt x="0" y="121"/>
                    </a:lnTo>
                    <a:lnTo>
                      <a:pt x="3" y="117"/>
                    </a:lnTo>
                    <a:lnTo>
                      <a:pt x="16" y="104"/>
                    </a:lnTo>
                    <a:lnTo>
                      <a:pt x="20" y="101"/>
                    </a:lnTo>
                    <a:lnTo>
                      <a:pt x="24" y="99"/>
                    </a:lnTo>
                    <a:lnTo>
                      <a:pt x="28" y="98"/>
                    </a:lnTo>
                    <a:lnTo>
                      <a:pt x="45" y="95"/>
                    </a:lnTo>
                    <a:lnTo>
                      <a:pt x="49" y="94"/>
                    </a:lnTo>
                    <a:lnTo>
                      <a:pt x="53" y="92"/>
                    </a:lnTo>
                    <a:lnTo>
                      <a:pt x="57" y="89"/>
                    </a:lnTo>
                    <a:lnTo>
                      <a:pt x="59" y="85"/>
                    </a:lnTo>
                    <a:lnTo>
                      <a:pt x="64" y="73"/>
                    </a:lnTo>
                    <a:lnTo>
                      <a:pt x="75" y="52"/>
                    </a:lnTo>
                    <a:lnTo>
                      <a:pt x="77" y="47"/>
                    </a:lnTo>
                    <a:lnTo>
                      <a:pt x="77" y="46"/>
                    </a:lnTo>
                    <a:lnTo>
                      <a:pt x="76" y="40"/>
                    </a:lnTo>
                    <a:lnTo>
                      <a:pt x="73" y="30"/>
                    </a:lnTo>
                    <a:lnTo>
                      <a:pt x="72" y="22"/>
                    </a:lnTo>
                    <a:lnTo>
                      <a:pt x="72" y="18"/>
                    </a:lnTo>
                    <a:lnTo>
                      <a:pt x="73" y="15"/>
                    </a:lnTo>
                    <a:lnTo>
                      <a:pt x="73" y="11"/>
                    </a:lnTo>
                    <a:lnTo>
                      <a:pt x="74" y="9"/>
                    </a:lnTo>
                    <a:lnTo>
                      <a:pt x="75" y="7"/>
                    </a:lnTo>
                    <a:lnTo>
                      <a:pt x="78" y="4"/>
                    </a:lnTo>
                    <a:lnTo>
                      <a:pt x="81" y="1"/>
                    </a:lnTo>
                    <a:lnTo>
                      <a:pt x="85" y="0"/>
                    </a:lnTo>
                    <a:lnTo>
                      <a:pt x="89" y="0"/>
                    </a:lnTo>
                    <a:lnTo>
                      <a:pt x="93" y="0"/>
                    </a:lnTo>
                    <a:lnTo>
                      <a:pt x="98" y="2"/>
                    </a:lnTo>
                    <a:lnTo>
                      <a:pt x="102" y="6"/>
                    </a:lnTo>
                    <a:lnTo>
                      <a:pt x="104" y="9"/>
                    </a:lnTo>
                    <a:lnTo>
                      <a:pt x="110" y="23"/>
                    </a:lnTo>
                    <a:lnTo>
                      <a:pt x="111" y="27"/>
                    </a:lnTo>
                    <a:lnTo>
                      <a:pt x="114" y="30"/>
                    </a:lnTo>
                    <a:lnTo>
                      <a:pt x="117" y="32"/>
                    </a:lnTo>
                    <a:lnTo>
                      <a:pt x="118" y="33"/>
                    </a:lnTo>
                    <a:lnTo>
                      <a:pt x="122" y="33"/>
                    </a:lnTo>
                    <a:lnTo>
                      <a:pt x="127" y="32"/>
                    </a:lnTo>
                    <a:lnTo>
                      <a:pt x="135" y="29"/>
                    </a:lnTo>
                    <a:lnTo>
                      <a:pt x="140" y="27"/>
                    </a:lnTo>
                    <a:lnTo>
                      <a:pt x="145" y="27"/>
                    </a:lnTo>
                    <a:lnTo>
                      <a:pt x="163" y="27"/>
                    </a:lnTo>
                    <a:lnTo>
                      <a:pt x="167" y="25"/>
                    </a:lnTo>
                    <a:lnTo>
                      <a:pt x="171" y="23"/>
                    </a:lnTo>
                    <a:lnTo>
                      <a:pt x="186" y="15"/>
                    </a:lnTo>
                    <a:lnTo>
                      <a:pt x="189" y="14"/>
                    </a:lnTo>
                    <a:lnTo>
                      <a:pt x="193" y="15"/>
                    </a:lnTo>
                    <a:lnTo>
                      <a:pt x="197" y="16"/>
                    </a:lnTo>
                    <a:lnTo>
                      <a:pt x="207" y="24"/>
                    </a:lnTo>
                    <a:lnTo>
                      <a:pt x="207" y="24"/>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6" name="Freeform 16">
                <a:extLst>
                  <a:ext uri="{FF2B5EF4-FFF2-40B4-BE49-F238E27FC236}"/>
                </a:extLst>
              </p:cNvPr>
              <p:cNvSpPr>
                <a:spLocks/>
              </p:cNvSpPr>
              <p:nvPr/>
            </p:nvSpPr>
            <p:spPr bwMode="auto">
              <a:xfrm>
                <a:off x="3506788" y="5175250"/>
                <a:ext cx="831850" cy="996950"/>
              </a:xfrm>
              <a:custGeom>
                <a:avLst/>
                <a:gdLst>
                  <a:gd name="T0" fmla="*/ 522 w 524"/>
                  <a:gd name="T1" fmla="*/ 294 h 628"/>
                  <a:gd name="T2" fmla="*/ 502 w 524"/>
                  <a:gd name="T3" fmla="*/ 307 h 628"/>
                  <a:gd name="T4" fmla="*/ 503 w 524"/>
                  <a:gd name="T5" fmla="*/ 345 h 628"/>
                  <a:gd name="T6" fmla="*/ 502 w 524"/>
                  <a:gd name="T7" fmla="*/ 371 h 628"/>
                  <a:gd name="T8" fmla="*/ 494 w 524"/>
                  <a:gd name="T9" fmla="*/ 385 h 628"/>
                  <a:gd name="T10" fmla="*/ 459 w 524"/>
                  <a:gd name="T11" fmla="*/ 399 h 628"/>
                  <a:gd name="T12" fmla="*/ 446 w 524"/>
                  <a:gd name="T13" fmla="*/ 412 h 628"/>
                  <a:gd name="T14" fmla="*/ 432 w 524"/>
                  <a:gd name="T15" fmla="*/ 434 h 628"/>
                  <a:gd name="T16" fmla="*/ 379 w 524"/>
                  <a:gd name="T17" fmla="*/ 490 h 628"/>
                  <a:gd name="T18" fmla="*/ 381 w 524"/>
                  <a:gd name="T19" fmla="*/ 515 h 628"/>
                  <a:gd name="T20" fmla="*/ 378 w 524"/>
                  <a:gd name="T21" fmla="*/ 576 h 628"/>
                  <a:gd name="T22" fmla="*/ 381 w 524"/>
                  <a:gd name="T23" fmla="*/ 605 h 628"/>
                  <a:gd name="T24" fmla="*/ 366 w 524"/>
                  <a:gd name="T25" fmla="*/ 621 h 628"/>
                  <a:gd name="T26" fmla="*/ 344 w 524"/>
                  <a:gd name="T27" fmla="*/ 614 h 628"/>
                  <a:gd name="T28" fmla="*/ 313 w 524"/>
                  <a:gd name="T29" fmla="*/ 600 h 628"/>
                  <a:gd name="T30" fmla="*/ 291 w 524"/>
                  <a:gd name="T31" fmla="*/ 586 h 628"/>
                  <a:gd name="T32" fmla="*/ 277 w 524"/>
                  <a:gd name="T33" fmla="*/ 564 h 628"/>
                  <a:gd name="T34" fmla="*/ 261 w 524"/>
                  <a:gd name="T35" fmla="*/ 537 h 628"/>
                  <a:gd name="T36" fmla="*/ 250 w 524"/>
                  <a:gd name="T37" fmla="*/ 530 h 628"/>
                  <a:gd name="T38" fmla="*/ 230 w 524"/>
                  <a:gd name="T39" fmla="*/ 546 h 628"/>
                  <a:gd name="T40" fmla="*/ 215 w 524"/>
                  <a:gd name="T41" fmla="*/ 588 h 628"/>
                  <a:gd name="T42" fmla="*/ 201 w 524"/>
                  <a:gd name="T43" fmla="*/ 585 h 628"/>
                  <a:gd name="T44" fmla="*/ 178 w 524"/>
                  <a:gd name="T45" fmla="*/ 557 h 628"/>
                  <a:gd name="T46" fmla="*/ 164 w 524"/>
                  <a:gd name="T47" fmla="*/ 546 h 628"/>
                  <a:gd name="T48" fmla="*/ 127 w 524"/>
                  <a:gd name="T49" fmla="*/ 539 h 628"/>
                  <a:gd name="T50" fmla="*/ 120 w 524"/>
                  <a:gd name="T51" fmla="*/ 524 h 628"/>
                  <a:gd name="T52" fmla="*/ 96 w 524"/>
                  <a:gd name="T53" fmla="*/ 522 h 628"/>
                  <a:gd name="T54" fmla="*/ 89 w 524"/>
                  <a:gd name="T55" fmla="*/ 510 h 628"/>
                  <a:gd name="T56" fmla="*/ 92 w 524"/>
                  <a:gd name="T57" fmla="*/ 477 h 628"/>
                  <a:gd name="T58" fmla="*/ 71 w 524"/>
                  <a:gd name="T59" fmla="*/ 451 h 628"/>
                  <a:gd name="T60" fmla="*/ 58 w 524"/>
                  <a:gd name="T61" fmla="*/ 402 h 628"/>
                  <a:gd name="T62" fmla="*/ 47 w 524"/>
                  <a:gd name="T63" fmla="*/ 392 h 628"/>
                  <a:gd name="T64" fmla="*/ 12 w 524"/>
                  <a:gd name="T65" fmla="*/ 389 h 628"/>
                  <a:gd name="T66" fmla="*/ 2 w 524"/>
                  <a:gd name="T67" fmla="*/ 378 h 628"/>
                  <a:gd name="T68" fmla="*/ 2 w 524"/>
                  <a:gd name="T69" fmla="*/ 322 h 628"/>
                  <a:gd name="T70" fmla="*/ 12 w 524"/>
                  <a:gd name="T71" fmla="*/ 326 h 628"/>
                  <a:gd name="T72" fmla="*/ 35 w 524"/>
                  <a:gd name="T73" fmla="*/ 313 h 628"/>
                  <a:gd name="T74" fmla="*/ 64 w 524"/>
                  <a:gd name="T75" fmla="*/ 313 h 628"/>
                  <a:gd name="T76" fmla="*/ 75 w 524"/>
                  <a:gd name="T77" fmla="*/ 309 h 628"/>
                  <a:gd name="T78" fmla="*/ 84 w 524"/>
                  <a:gd name="T79" fmla="*/ 280 h 628"/>
                  <a:gd name="T80" fmla="*/ 75 w 524"/>
                  <a:gd name="T81" fmla="*/ 255 h 628"/>
                  <a:gd name="T82" fmla="*/ 80 w 524"/>
                  <a:gd name="T83" fmla="*/ 222 h 628"/>
                  <a:gd name="T84" fmla="*/ 73 w 524"/>
                  <a:gd name="T85" fmla="*/ 209 h 628"/>
                  <a:gd name="T86" fmla="*/ 52 w 524"/>
                  <a:gd name="T87" fmla="*/ 211 h 628"/>
                  <a:gd name="T88" fmla="*/ 74 w 524"/>
                  <a:gd name="T89" fmla="*/ 147 h 628"/>
                  <a:gd name="T90" fmla="*/ 103 w 524"/>
                  <a:gd name="T91" fmla="*/ 123 h 628"/>
                  <a:gd name="T92" fmla="*/ 106 w 524"/>
                  <a:gd name="T93" fmla="*/ 105 h 628"/>
                  <a:gd name="T94" fmla="*/ 109 w 524"/>
                  <a:gd name="T95" fmla="*/ 63 h 628"/>
                  <a:gd name="T96" fmla="*/ 134 w 524"/>
                  <a:gd name="T97" fmla="*/ 110 h 628"/>
                  <a:gd name="T98" fmla="*/ 152 w 524"/>
                  <a:gd name="T99" fmla="*/ 111 h 628"/>
                  <a:gd name="T100" fmla="*/ 242 w 524"/>
                  <a:gd name="T101" fmla="*/ 45 h 628"/>
                  <a:gd name="T102" fmla="*/ 262 w 524"/>
                  <a:gd name="T103" fmla="*/ 30 h 628"/>
                  <a:gd name="T104" fmla="*/ 284 w 524"/>
                  <a:gd name="T105" fmla="*/ 27 h 628"/>
                  <a:gd name="T106" fmla="*/ 312 w 524"/>
                  <a:gd name="T107" fmla="*/ 20 h 628"/>
                  <a:gd name="T108" fmla="*/ 338 w 524"/>
                  <a:gd name="T109" fmla="*/ 23 h 628"/>
                  <a:gd name="T110" fmla="*/ 416 w 524"/>
                  <a:gd name="T111" fmla="*/ 32 h 628"/>
                  <a:gd name="T112" fmla="*/ 447 w 524"/>
                  <a:gd name="T113" fmla="*/ 75 h 628"/>
                  <a:gd name="T114" fmla="*/ 447 w 524"/>
                  <a:gd name="T115" fmla="*/ 90 h 628"/>
                  <a:gd name="T116" fmla="*/ 426 w 524"/>
                  <a:gd name="T117" fmla="*/ 146 h 628"/>
                  <a:gd name="T118" fmla="*/ 439 w 524"/>
                  <a:gd name="T119" fmla="*/ 171 h 628"/>
                  <a:gd name="T120" fmla="*/ 524 w 524"/>
                  <a:gd name="T121" fmla="*/ 261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628">
                    <a:moveTo>
                      <a:pt x="524" y="261"/>
                    </a:moveTo>
                    <a:lnTo>
                      <a:pt x="524" y="284"/>
                    </a:lnTo>
                    <a:lnTo>
                      <a:pt x="524" y="290"/>
                    </a:lnTo>
                    <a:lnTo>
                      <a:pt x="522" y="294"/>
                    </a:lnTo>
                    <a:lnTo>
                      <a:pt x="520" y="296"/>
                    </a:lnTo>
                    <a:lnTo>
                      <a:pt x="518" y="298"/>
                    </a:lnTo>
                    <a:lnTo>
                      <a:pt x="507" y="304"/>
                    </a:lnTo>
                    <a:lnTo>
                      <a:pt x="502" y="307"/>
                    </a:lnTo>
                    <a:lnTo>
                      <a:pt x="499" y="313"/>
                    </a:lnTo>
                    <a:lnTo>
                      <a:pt x="498" y="319"/>
                    </a:lnTo>
                    <a:lnTo>
                      <a:pt x="498" y="322"/>
                    </a:lnTo>
                    <a:lnTo>
                      <a:pt x="503" y="345"/>
                    </a:lnTo>
                    <a:lnTo>
                      <a:pt x="504" y="353"/>
                    </a:lnTo>
                    <a:lnTo>
                      <a:pt x="504" y="359"/>
                    </a:lnTo>
                    <a:lnTo>
                      <a:pt x="504" y="366"/>
                    </a:lnTo>
                    <a:lnTo>
                      <a:pt x="502" y="371"/>
                    </a:lnTo>
                    <a:lnTo>
                      <a:pt x="501" y="375"/>
                    </a:lnTo>
                    <a:lnTo>
                      <a:pt x="499" y="379"/>
                    </a:lnTo>
                    <a:lnTo>
                      <a:pt x="496" y="382"/>
                    </a:lnTo>
                    <a:lnTo>
                      <a:pt x="494" y="385"/>
                    </a:lnTo>
                    <a:lnTo>
                      <a:pt x="486" y="390"/>
                    </a:lnTo>
                    <a:lnTo>
                      <a:pt x="478" y="394"/>
                    </a:lnTo>
                    <a:lnTo>
                      <a:pt x="471" y="397"/>
                    </a:lnTo>
                    <a:lnTo>
                      <a:pt x="459" y="399"/>
                    </a:lnTo>
                    <a:lnTo>
                      <a:pt x="456" y="401"/>
                    </a:lnTo>
                    <a:lnTo>
                      <a:pt x="451" y="404"/>
                    </a:lnTo>
                    <a:lnTo>
                      <a:pt x="448" y="407"/>
                    </a:lnTo>
                    <a:lnTo>
                      <a:pt x="446" y="412"/>
                    </a:lnTo>
                    <a:lnTo>
                      <a:pt x="441" y="421"/>
                    </a:lnTo>
                    <a:lnTo>
                      <a:pt x="440" y="425"/>
                    </a:lnTo>
                    <a:lnTo>
                      <a:pt x="437" y="427"/>
                    </a:lnTo>
                    <a:lnTo>
                      <a:pt x="432" y="434"/>
                    </a:lnTo>
                    <a:lnTo>
                      <a:pt x="413" y="450"/>
                    </a:lnTo>
                    <a:lnTo>
                      <a:pt x="386" y="478"/>
                    </a:lnTo>
                    <a:lnTo>
                      <a:pt x="382" y="484"/>
                    </a:lnTo>
                    <a:lnTo>
                      <a:pt x="379" y="490"/>
                    </a:lnTo>
                    <a:lnTo>
                      <a:pt x="377" y="496"/>
                    </a:lnTo>
                    <a:lnTo>
                      <a:pt x="377" y="500"/>
                    </a:lnTo>
                    <a:lnTo>
                      <a:pt x="379" y="508"/>
                    </a:lnTo>
                    <a:lnTo>
                      <a:pt x="381" y="515"/>
                    </a:lnTo>
                    <a:lnTo>
                      <a:pt x="383" y="522"/>
                    </a:lnTo>
                    <a:lnTo>
                      <a:pt x="383" y="530"/>
                    </a:lnTo>
                    <a:lnTo>
                      <a:pt x="379" y="569"/>
                    </a:lnTo>
                    <a:lnTo>
                      <a:pt x="378" y="576"/>
                    </a:lnTo>
                    <a:lnTo>
                      <a:pt x="377" y="580"/>
                    </a:lnTo>
                    <a:lnTo>
                      <a:pt x="378" y="585"/>
                    </a:lnTo>
                    <a:lnTo>
                      <a:pt x="381" y="596"/>
                    </a:lnTo>
                    <a:lnTo>
                      <a:pt x="381" y="605"/>
                    </a:lnTo>
                    <a:lnTo>
                      <a:pt x="377" y="623"/>
                    </a:lnTo>
                    <a:lnTo>
                      <a:pt x="377" y="628"/>
                    </a:lnTo>
                    <a:lnTo>
                      <a:pt x="374" y="625"/>
                    </a:lnTo>
                    <a:lnTo>
                      <a:pt x="366" y="621"/>
                    </a:lnTo>
                    <a:lnTo>
                      <a:pt x="354" y="615"/>
                    </a:lnTo>
                    <a:lnTo>
                      <a:pt x="351" y="614"/>
                    </a:lnTo>
                    <a:lnTo>
                      <a:pt x="346" y="614"/>
                    </a:lnTo>
                    <a:lnTo>
                      <a:pt x="344" y="614"/>
                    </a:lnTo>
                    <a:lnTo>
                      <a:pt x="339" y="614"/>
                    </a:lnTo>
                    <a:lnTo>
                      <a:pt x="336" y="616"/>
                    </a:lnTo>
                    <a:lnTo>
                      <a:pt x="328" y="621"/>
                    </a:lnTo>
                    <a:lnTo>
                      <a:pt x="313" y="600"/>
                    </a:lnTo>
                    <a:lnTo>
                      <a:pt x="311" y="596"/>
                    </a:lnTo>
                    <a:lnTo>
                      <a:pt x="307" y="593"/>
                    </a:lnTo>
                    <a:lnTo>
                      <a:pt x="294" y="588"/>
                    </a:lnTo>
                    <a:lnTo>
                      <a:pt x="291" y="586"/>
                    </a:lnTo>
                    <a:lnTo>
                      <a:pt x="289" y="582"/>
                    </a:lnTo>
                    <a:lnTo>
                      <a:pt x="283" y="572"/>
                    </a:lnTo>
                    <a:lnTo>
                      <a:pt x="281" y="568"/>
                    </a:lnTo>
                    <a:lnTo>
                      <a:pt x="277" y="564"/>
                    </a:lnTo>
                    <a:lnTo>
                      <a:pt x="264" y="553"/>
                    </a:lnTo>
                    <a:lnTo>
                      <a:pt x="261" y="549"/>
                    </a:lnTo>
                    <a:lnTo>
                      <a:pt x="261" y="544"/>
                    </a:lnTo>
                    <a:lnTo>
                      <a:pt x="261" y="537"/>
                    </a:lnTo>
                    <a:lnTo>
                      <a:pt x="260" y="534"/>
                    </a:lnTo>
                    <a:lnTo>
                      <a:pt x="258" y="531"/>
                    </a:lnTo>
                    <a:lnTo>
                      <a:pt x="252" y="529"/>
                    </a:lnTo>
                    <a:lnTo>
                      <a:pt x="250" y="530"/>
                    </a:lnTo>
                    <a:lnTo>
                      <a:pt x="242" y="534"/>
                    </a:lnTo>
                    <a:lnTo>
                      <a:pt x="235" y="540"/>
                    </a:lnTo>
                    <a:lnTo>
                      <a:pt x="232" y="542"/>
                    </a:lnTo>
                    <a:lnTo>
                      <a:pt x="230" y="546"/>
                    </a:lnTo>
                    <a:lnTo>
                      <a:pt x="226" y="553"/>
                    </a:lnTo>
                    <a:lnTo>
                      <a:pt x="218" y="582"/>
                    </a:lnTo>
                    <a:lnTo>
                      <a:pt x="217" y="586"/>
                    </a:lnTo>
                    <a:lnTo>
                      <a:pt x="215" y="588"/>
                    </a:lnTo>
                    <a:lnTo>
                      <a:pt x="212" y="589"/>
                    </a:lnTo>
                    <a:lnTo>
                      <a:pt x="208" y="589"/>
                    </a:lnTo>
                    <a:lnTo>
                      <a:pt x="204" y="587"/>
                    </a:lnTo>
                    <a:lnTo>
                      <a:pt x="201" y="585"/>
                    </a:lnTo>
                    <a:lnTo>
                      <a:pt x="185" y="569"/>
                    </a:lnTo>
                    <a:lnTo>
                      <a:pt x="182" y="564"/>
                    </a:lnTo>
                    <a:lnTo>
                      <a:pt x="180" y="561"/>
                    </a:lnTo>
                    <a:lnTo>
                      <a:pt x="178" y="557"/>
                    </a:lnTo>
                    <a:lnTo>
                      <a:pt x="177" y="553"/>
                    </a:lnTo>
                    <a:lnTo>
                      <a:pt x="173" y="549"/>
                    </a:lnTo>
                    <a:lnTo>
                      <a:pt x="169" y="547"/>
                    </a:lnTo>
                    <a:lnTo>
                      <a:pt x="164" y="546"/>
                    </a:lnTo>
                    <a:lnTo>
                      <a:pt x="139" y="546"/>
                    </a:lnTo>
                    <a:lnTo>
                      <a:pt x="134" y="545"/>
                    </a:lnTo>
                    <a:lnTo>
                      <a:pt x="131" y="543"/>
                    </a:lnTo>
                    <a:lnTo>
                      <a:pt x="127" y="539"/>
                    </a:lnTo>
                    <a:lnTo>
                      <a:pt x="125" y="535"/>
                    </a:lnTo>
                    <a:lnTo>
                      <a:pt x="124" y="529"/>
                    </a:lnTo>
                    <a:lnTo>
                      <a:pt x="123" y="526"/>
                    </a:lnTo>
                    <a:lnTo>
                      <a:pt x="120" y="524"/>
                    </a:lnTo>
                    <a:lnTo>
                      <a:pt x="116" y="521"/>
                    </a:lnTo>
                    <a:lnTo>
                      <a:pt x="111" y="520"/>
                    </a:lnTo>
                    <a:lnTo>
                      <a:pt x="108" y="520"/>
                    </a:lnTo>
                    <a:lnTo>
                      <a:pt x="96" y="522"/>
                    </a:lnTo>
                    <a:lnTo>
                      <a:pt x="94" y="520"/>
                    </a:lnTo>
                    <a:lnTo>
                      <a:pt x="91" y="519"/>
                    </a:lnTo>
                    <a:lnTo>
                      <a:pt x="89" y="513"/>
                    </a:lnTo>
                    <a:lnTo>
                      <a:pt x="89" y="510"/>
                    </a:lnTo>
                    <a:lnTo>
                      <a:pt x="89" y="505"/>
                    </a:lnTo>
                    <a:lnTo>
                      <a:pt x="93" y="484"/>
                    </a:lnTo>
                    <a:lnTo>
                      <a:pt x="93" y="481"/>
                    </a:lnTo>
                    <a:lnTo>
                      <a:pt x="92" y="477"/>
                    </a:lnTo>
                    <a:lnTo>
                      <a:pt x="90" y="474"/>
                    </a:lnTo>
                    <a:lnTo>
                      <a:pt x="84" y="473"/>
                    </a:lnTo>
                    <a:lnTo>
                      <a:pt x="65" y="474"/>
                    </a:lnTo>
                    <a:lnTo>
                      <a:pt x="71" y="451"/>
                    </a:lnTo>
                    <a:lnTo>
                      <a:pt x="72" y="447"/>
                    </a:lnTo>
                    <a:lnTo>
                      <a:pt x="72" y="443"/>
                    </a:lnTo>
                    <a:lnTo>
                      <a:pt x="70" y="437"/>
                    </a:lnTo>
                    <a:lnTo>
                      <a:pt x="58" y="402"/>
                    </a:lnTo>
                    <a:lnTo>
                      <a:pt x="57" y="398"/>
                    </a:lnTo>
                    <a:lnTo>
                      <a:pt x="54" y="396"/>
                    </a:lnTo>
                    <a:lnTo>
                      <a:pt x="50" y="394"/>
                    </a:lnTo>
                    <a:lnTo>
                      <a:pt x="47" y="392"/>
                    </a:lnTo>
                    <a:lnTo>
                      <a:pt x="40" y="391"/>
                    </a:lnTo>
                    <a:lnTo>
                      <a:pt x="33" y="390"/>
                    </a:lnTo>
                    <a:lnTo>
                      <a:pt x="14" y="390"/>
                    </a:lnTo>
                    <a:lnTo>
                      <a:pt x="12" y="389"/>
                    </a:lnTo>
                    <a:lnTo>
                      <a:pt x="8" y="388"/>
                    </a:lnTo>
                    <a:lnTo>
                      <a:pt x="5" y="385"/>
                    </a:lnTo>
                    <a:lnTo>
                      <a:pt x="3" y="382"/>
                    </a:lnTo>
                    <a:lnTo>
                      <a:pt x="2" y="378"/>
                    </a:lnTo>
                    <a:lnTo>
                      <a:pt x="1" y="374"/>
                    </a:lnTo>
                    <a:lnTo>
                      <a:pt x="0" y="366"/>
                    </a:lnTo>
                    <a:lnTo>
                      <a:pt x="1" y="326"/>
                    </a:lnTo>
                    <a:lnTo>
                      <a:pt x="2" y="322"/>
                    </a:lnTo>
                    <a:lnTo>
                      <a:pt x="3" y="321"/>
                    </a:lnTo>
                    <a:lnTo>
                      <a:pt x="5" y="322"/>
                    </a:lnTo>
                    <a:lnTo>
                      <a:pt x="8" y="324"/>
                    </a:lnTo>
                    <a:lnTo>
                      <a:pt x="12" y="326"/>
                    </a:lnTo>
                    <a:lnTo>
                      <a:pt x="15" y="326"/>
                    </a:lnTo>
                    <a:lnTo>
                      <a:pt x="19" y="324"/>
                    </a:lnTo>
                    <a:lnTo>
                      <a:pt x="27" y="318"/>
                    </a:lnTo>
                    <a:lnTo>
                      <a:pt x="35" y="313"/>
                    </a:lnTo>
                    <a:lnTo>
                      <a:pt x="38" y="313"/>
                    </a:lnTo>
                    <a:lnTo>
                      <a:pt x="42" y="312"/>
                    </a:lnTo>
                    <a:lnTo>
                      <a:pt x="45" y="312"/>
                    </a:lnTo>
                    <a:lnTo>
                      <a:pt x="64" y="313"/>
                    </a:lnTo>
                    <a:lnTo>
                      <a:pt x="66" y="313"/>
                    </a:lnTo>
                    <a:lnTo>
                      <a:pt x="69" y="313"/>
                    </a:lnTo>
                    <a:lnTo>
                      <a:pt x="72" y="312"/>
                    </a:lnTo>
                    <a:lnTo>
                      <a:pt x="75" y="309"/>
                    </a:lnTo>
                    <a:lnTo>
                      <a:pt x="77" y="306"/>
                    </a:lnTo>
                    <a:lnTo>
                      <a:pt x="79" y="303"/>
                    </a:lnTo>
                    <a:lnTo>
                      <a:pt x="84" y="284"/>
                    </a:lnTo>
                    <a:lnTo>
                      <a:pt x="84" y="280"/>
                    </a:lnTo>
                    <a:lnTo>
                      <a:pt x="83" y="276"/>
                    </a:lnTo>
                    <a:lnTo>
                      <a:pt x="76" y="264"/>
                    </a:lnTo>
                    <a:lnTo>
                      <a:pt x="75" y="260"/>
                    </a:lnTo>
                    <a:lnTo>
                      <a:pt x="75" y="255"/>
                    </a:lnTo>
                    <a:lnTo>
                      <a:pt x="75" y="252"/>
                    </a:lnTo>
                    <a:lnTo>
                      <a:pt x="80" y="229"/>
                    </a:lnTo>
                    <a:lnTo>
                      <a:pt x="80" y="225"/>
                    </a:lnTo>
                    <a:lnTo>
                      <a:pt x="80" y="222"/>
                    </a:lnTo>
                    <a:lnTo>
                      <a:pt x="80" y="217"/>
                    </a:lnTo>
                    <a:lnTo>
                      <a:pt x="77" y="214"/>
                    </a:lnTo>
                    <a:lnTo>
                      <a:pt x="75" y="211"/>
                    </a:lnTo>
                    <a:lnTo>
                      <a:pt x="73" y="209"/>
                    </a:lnTo>
                    <a:lnTo>
                      <a:pt x="70" y="208"/>
                    </a:lnTo>
                    <a:lnTo>
                      <a:pt x="67" y="207"/>
                    </a:lnTo>
                    <a:lnTo>
                      <a:pt x="60" y="208"/>
                    </a:lnTo>
                    <a:lnTo>
                      <a:pt x="52" y="211"/>
                    </a:lnTo>
                    <a:lnTo>
                      <a:pt x="70" y="174"/>
                    </a:lnTo>
                    <a:lnTo>
                      <a:pt x="72" y="165"/>
                    </a:lnTo>
                    <a:lnTo>
                      <a:pt x="73" y="153"/>
                    </a:lnTo>
                    <a:lnTo>
                      <a:pt x="74" y="147"/>
                    </a:lnTo>
                    <a:lnTo>
                      <a:pt x="77" y="143"/>
                    </a:lnTo>
                    <a:lnTo>
                      <a:pt x="80" y="139"/>
                    </a:lnTo>
                    <a:lnTo>
                      <a:pt x="100" y="126"/>
                    </a:lnTo>
                    <a:lnTo>
                      <a:pt x="103" y="123"/>
                    </a:lnTo>
                    <a:lnTo>
                      <a:pt x="108" y="117"/>
                    </a:lnTo>
                    <a:lnTo>
                      <a:pt x="109" y="112"/>
                    </a:lnTo>
                    <a:lnTo>
                      <a:pt x="108" y="108"/>
                    </a:lnTo>
                    <a:lnTo>
                      <a:pt x="106" y="105"/>
                    </a:lnTo>
                    <a:lnTo>
                      <a:pt x="102" y="100"/>
                    </a:lnTo>
                    <a:lnTo>
                      <a:pt x="101" y="95"/>
                    </a:lnTo>
                    <a:lnTo>
                      <a:pt x="100" y="91"/>
                    </a:lnTo>
                    <a:lnTo>
                      <a:pt x="109" y="63"/>
                    </a:lnTo>
                    <a:lnTo>
                      <a:pt x="111" y="68"/>
                    </a:lnTo>
                    <a:lnTo>
                      <a:pt x="128" y="103"/>
                    </a:lnTo>
                    <a:lnTo>
                      <a:pt x="132" y="107"/>
                    </a:lnTo>
                    <a:lnTo>
                      <a:pt x="134" y="110"/>
                    </a:lnTo>
                    <a:lnTo>
                      <a:pt x="138" y="112"/>
                    </a:lnTo>
                    <a:lnTo>
                      <a:pt x="141" y="114"/>
                    </a:lnTo>
                    <a:lnTo>
                      <a:pt x="147" y="113"/>
                    </a:lnTo>
                    <a:lnTo>
                      <a:pt x="152" y="111"/>
                    </a:lnTo>
                    <a:lnTo>
                      <a:pt x="161" y="106"/>
                    </a:lnTo>
                    <a:lnTo>
                      <a:pt x="167" y="102"/>
                    </a:lnTo>
                    <a:lnTo>
                      <a:pt x="209" y="63"/>
                    </a:lnTo>
                    <a:lnTo>
                      <a:pt x="242" y="45"/>
                    </a:lnTo>
                    <a:lnTo>
                      <a:pt x="247" y="41"/>
                    </a:lnTo>
                    <a:lnTo>
                      <a:pt x="253" y="34"/>
                    </a:lnTo>
                    <a:lnTo>
                      <a:pt x="258" y="31"/>
                    </a:lnTo>
                    <a:lnTo>
                      <a:pt x="262" y="30"/>
                    </a:lnTo>
                    <a:lnTo>
                      <a:pt x="268" y="29"/>
                    </a:lnTo>
                    <a:lnTo>
                      <a:pt x="278" y="29"/>
                    </a:lnTo>
                    <a:lnTo>
                      <a:pt x="282" y="28"/>
                    </a:lnTo>
                    <a:lnTo>
                      <a:pt x="284" y="27"/>
                    </a:lnTo>
                    <a:lnTo>
                      <a:pt x="295" y="23"/>
                    </a:lnTo>
                    <a:lnTo>
                      <a:pt x="300" y="21"/>
                    </a:lnTo>
                    <a:lnTo>
                      <a:pt x="307" y="20"/>
                    </a:lnTo>
                    <a:lnTo>
                      <a:pt x="312" y="20"/>
                    </a:lnTo>
                    <a:lnTo>
                      <a:pt x="316" y="21"/>
                    </a:lnTo>
                    <a:lnTo>
                      <a:pt x="328" y="25"/>
                    </a:lnTo>
                    <a:lnTo>
                      <a:pt x="332" y="24"/>
                    </a:lnTo>
                    <a:lnTo>
                      <a:pt x="338" y="23"/>
                    </a:lnTo>
                    <a:lnTo>
                      <a:pt x="365" y="7"/>
                    </a:lnTo>
                    <a:lnTo>
                      <a:pt x="382" y="0"/>
                    </a:lnTo>
                    <a:lnTo>
                      <a:pt x="406" y="22"/>
                    </a:lnTo>
                    <a:lnTo>
                      <a:pt x="416" y="32"/>
                    </a:lnTo>
                    <a:lnTo>
                      <a:pt x="421" y="41"/>
                    </a:lnTo>
                    <a:lnTo>
                      <a:pt x="431" y="55"/>
                    </a:lnTo>
                    <a:lnTo>
                      <a:pt x="445" y="70"/>
                    </a:lnTo>
                    <a:lnTo>
                      <a:pt x="447" y="75"/>
                    </a:lnTo>
                    <a:lnTo>
                      <a:pt x="448" y="78"/>
                    </a:lnTo>
                    <a:lnTo>
                      <a:pt x="449" y="82"/>
                    </a:lnTo>
                    <a:lnTo>
                      <a:pt x="448" y="85"/>
                    </a:lnTo>
                    <a:lnTo>
                      <a:pt x="447" y="90"/>
                    </a:lnTo>
                    <a:lnTo>
                      <a:pt x="446" y="92"/>
                    </a:lnTo>
                    <a:lnTo>
                      <a:pt x="435" y="108"/>
                    </a:lnTo>
                    <a:lnTo>
                      <a:pt x="433" y="115"/>
                    </a:lnTo>
                    <a:lnTo>
                      <a:pt x="426" y="146"/>
                    </a:lnTo>
                    <a:lnTo>
                      <a:pt x="426" y="150"/>
                    </a:lnTo>
                    <a:lnTo>
                      <a:pt x="426" y="156"/>
                    </a:lnTo>
                    <a:lnTo>
                      <a:pt x="430" y="160"/>
                    </a:lnTo>
                    <a:lnTo>
                      <a:pt x="439" y="171"/>
                    </a:lnTo>
                    <a:lnTo>
                      <a:pt x="456" y="199"/>
                    </a:lnTo>
                    <a:lnTo>
                      <a:pt x="521" y="260"/>
                    </a:lnTo>
                    <a:lnTo>
                      <a:pt x="524" y="261"/>
                    </a:lnTo>
                    <a:lnTo>
                      <a:pt x="524" y="261"/>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7" name="Freeform 17">
                <a:extLst>
                  <a:ext uri="{FF2B5EF4-FFF2-40B4-BE49-F238E27FC236}"/>
                </a:extLst>
              </p:cNvPr>
              <p:cNvSpPr>
                <a:spLocks noEditPoints="1"/>
              </p:cNvSpPr>
              <p:nvPr/>
            </p:nvSpPr>
            <p:spPr bwMode="auto">
              <a:xfrm>
                <a:off x="3562350" y="5926138"/>
                <a:ext cx="465138" cy="544513"/>
              </a:xfrm>
              <a:custGeom>
                <a:avLst/>
                <a:gdLst>
                  <a:gd name="T0" fmla="*/ 67 w 293"/>
                  <a:gd name="T1" fmla="*/ 278 h 343"/>
                  <a:gd name="T2" fmla="*/ 74 w 293"/>
                  <a:gd name="T3" fmla="*/ 279 h 343"/>
                  <a:gd name="T4" fmla="*/ 81 w 293"/>
                  <a:gd name="T5" fmla="*/ 266 h 343"/>
                  <a:gd name="T6" fmla="*/ 93 w 293"/>
                  <a:gd name="T7" fmla="*/ 282 h 343"/>
                  <a:gd name="T8" fmla="*/ 99 w 293"/>
                  <a:gd name="T9" fmla="*/ 302 h 343"/>
                  <a:gd name="T10" fmla="*/ 83 w 293"/>
                  <a:gd name="T11" fmla="*/ 297 h 343"/>
                  <a:gd name="T12" fmla="*/ 78 w 293"/>
                  <a:gd name="T13" fmla="*/ 287 h 343"/>
                  <a:gd name="T14" fmla="*/ 51 w 293"/>
                  <a:gd name="T15" fmla="*/ 283 h 343"/>
                  <a:gd name="T16" fmla="*/ 33 w 293"/>
                  <a:gd name="T17" fmla="*/ 266 h 343"/>
                  <a:gd name="T18" fmla="*/ 28 w 293"/>
                  <a:gd name="T19" fmla="*/ 251 h 343"/>
                  <a:gd name="T20" fmla="*/ 45 w 293"/>
                  <a:gd name="T21" fmla="*/ 264 h 343"/>
                  <a:gd name="T22" fmla="*/ 59 w 293"/>
                  <a:gd name="T23" fmla="*/ 243 h 343"/>
                  <a:gd name="T24" fmla="*/ 59 w 293"/>
                  <a:gd name="T25" fmla="*/ 258 h 343"/>
                  <a:gd name="T26" fmla="*/ 68 w 293"/>
                  <a:gd name="T27" fmla="*/ 272 h 343"/>
                  <a:gd name="T28" fmla="*/ 45 w 293"/>
                  <a:gd name="T29" fmla="*/ 259 h 343"/>
                  <a:gd name="T30" fmla="*/ 53 w 293"/>
                  <a:gd name="T31" fmla="*/ 244 h 343"/>
                  <a:gd name="T32" fmla="*/ 45 w 293"/>
                  <a:gd name="T33" fmla="*/ 233 h 343"/>
                  <a:gd name="T34" fmla="*/ 51 w 293"/>
                  <a:gd name="T35" fmla="*/ 232 h 343"/>
                  <a:gd name="T36" fmla="*/ 286 w 293"/>
                  <a:gd name="T37" fmla="*/ 152 h 343"/>
                  <a:gd name="T38" fmla="*/ 278 w 293"/>
                  <a:gd name="T39" fmla="*/ 185 h 343"/>
                  <a:gd name="T40" fmla="*/ 261 w 293"/>
                  <a:gd name="T41" fmla="*/ 199 h 343"/>
                  <a:gd name="T42" fmla="*/ 257 w 293"/>
                  <a:gd name="T43" fmla="*/ 223 h 343"/>
                  <a:gd name="T44" fmla="*/ 254 w 293"/>
                  <a:gd name="T45" fmla="*/ 248 h 343"/>
                  <a:gd name="T46" fmla="*/ 271 w 293"/>
                  <a:gd name="T47" fmla="*/ 268 h 343"/>
                  <a:gd name="T48" fmla="*/ 263 w 293"/>
                  <a:gd name="T49" fmla="*/ 279 h 343"/>
                  <a:gd name="T50" fmla="*/ 256 w 293"/>
                  <a:gd name="T51" fmla="*/ 289 h 343"/>
                  <a:gd name="T52" fmla="*/ 243 w 293"/>
                  <a:gd name="T53" fmla="*/ 311 h 343"/>
                  <a:gd name="T54" fmla="*/ 219 w 293"/>
                  <a:gd name="T55" fmla="*/ 323 h 343"/>
                  <a:gd name="T56" fmla="*/ 208 w 293"/>
                  <a:gd name="T57" fmla="*/ 340 h 343"/>
                  <a:gd name="T58" fmla="*/ 200 w 293"/>
                  <a:gd name="T59" fmla="*/ 325 h 343"/>
                  <a:gd name="T60" fmla="*/ 191 w 293"/>
                  <a:gd name="T61" fmla="*/ 289 h 343"/>
                  <a:gd name="T62" fmla="*/ 187 w 293"/>
                  <a:gd name="T63" fmla="*/ 280 h 343"/>
                  <a:gd name="T64" fmla="*/ 173 w 293"/>
                  <a:gd name="T65" fmla="*/ 264 h 343"/>
                  <a:gd name="T66" fmla="*/ 160 w 293"/>
                  <a:gd name="T67" fmla="*/ 244 h 343"/>
                  <a:gd name="T68" fmla="*/ 151 w 293"/>
                  <a:gd name="T69" fmla="*/ 226 h 343"/>
                  <a:gd name="T70" fmla="*/ 138 w 293"/>
                  <a:gd name="T71" fmla="*/ 213 h 343"/>
                  <a:gd name="T72" fmla="*/ 129 w 293"/>
                  <a:gd name="T73" fmla="*/ 206 h 343"/>
                  <a:gd name="T74" fmla="*/ 128 w 293"/>
                  <a:gd name="T75" fmla="*/ 213 h 343"/>
                  <a:gd name="T76" fmla="*/ 120 w 293"/>
                  <a:gd name="T77" fmla="*/ 159 h 343"/>
                  <a:gd name="T78" fmla="*/ 113 w 293"/>
                  <a:gd name="T79" fmla="*/ 149 h 343"/>
                  <a:gd name="T80" fmla="*/ 89 w 293"/>
                  <a:gd name="T81" fmla="*/ 127 h 343"/>
                  <a:gd name="T82" fmla="*/ 77 w 293"/>
                  <a:gd name="T83" fmla="*/ 118 h 343"/>
                  <a:gd name="T84" fmla="*/ 63 w 293"/>
                  <a:gd name="T85" fmla="*/ 106 h 343"/>
                  <a:gd name="T86" fmla="*/ 32 w 293"/>
                  <a:gd name="T87" fmla="*/ 86 h 343"/>
                  <a:gd name="T88" fmla="*/ 13 w 293"/>
                  <a:gd name="T89" fmla="*/ 61 h 343"/>
                  <a:gd name="T90" fmla="*/ 3 w 293"/>
                  <a:gd name="T91" fmla="*/ 44 h 343"/>
                  <a:gd name="T92" fmla="*/ 8 w 293"/>
                  <a:gd name="T93" fmla="*/ 22 h 343"/>
                  <a:gd name="T94" fmla="*/ 49 w 293"/>
                  <a:gd name="T95" fmla="*/ 0 h 343"/>
                  <a:gd name="T96" fmla="*/ 54 w 293"/>
                  <a:gd name="T97" fmla="*/ 37 h 343"/>
                  <a:gd name="T98" fmla="*/ 76 w 293"/>
                  <a:gd name="T99" fmla="*/ 47 h 343"/>
                  <a:gd name="T100" fmla="*/ 92 w 293"/>
                  <a:gd name="T101" fmla="*/ 66 h 343"/>
                  <a:gd name="T102" fmla="*/ 138 w 293"/>
                  <a:gd name="T103" fmla="*/ 76 h 343"/>
                  <a:gd name="T104" fmla="*/ 166 w 293"/>
                  <a:gd name="T105" fmla="*/ 112 h 343"/>
                  <a:gd name="T106" fmla="*/ 183 w 293"/>
                  <a:gd name="T107" fmla="*/ 109 h 343"/>
                  <a:gd name="T108" fmla="*/ 215 w 293"/>
                  <a:gd name="T109" fmla="*/ 57 h 343"/>
                  <a:gd name="T110" fmla="*/ 226 w 293"/>
                  <a:gd name="T111" fmla="*/ 76 h 343"/>
                  <a:gd name="T112" fmla="*/ 256 w 293"/>
                  <a:gd name="T113" fmla="*/ 113 h 343"/>
                  <a:gd name="T114" fmla="*/ 293 w 293"/>
                  <a:gd name="T115" fmla="*/ 1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3" h="343">
                    <a:moveTo>
                      <a:pt x="51" y="276"/>
                    </a:moveTo>
                    <a:lnTo>
                      <a:pt x="53" y="277"/>
                    </a:lnTo>
                    <a:lnTo>
                      <a:pt x="58" y="276"/>
                    </a:lnTo>
                    <a:lnTo>
                      <a:pt x="60" y="279"/>
                    </a:lnTo>
                    <a:lnTo>
                      <a:pt x="63" y="279"/>
                    </a:lnTo>
                    <a:lnTo>
                      <a:pt x="67" y="278"/>
                    </a:lnTo>
                    <a:lnTo>
                      <a:pt x="70" y="278"/>
                    </a:lnTo>
                    <a:lnTo>
                      <a:pt x="72" y="281"/>
                    </a:lnTo>
                    <a:lnTo>
                      <a:pt x="72" y="282"/>
                    </a:lnTo>
                    <a:lnTo>
                      <a:pt x="74" y="282"/>
                    </a:lnTo>
                    <a:lnTo>
                      <a:pt x="79" y="280"/>
                    </a:lnTo>
                    <a:lnTo>
                      <a:pt x="74" y="279"/>
                    </a:lnTo>
                    <a:lnTo>
                      <a:pt x="72" y="275"/>
                    </a:lnTo>
                    <a:lnTo>
                      <a:pt x="74" y="272"/>
                    </a:lnTo>
                    <a:lnTo>
                      <a:pt x="75" y="267"/>
                    </a:lnTo>
                    <a:lnTo>
                      <a:pt x="76" y="266"/>
                    </a:lnTo>
                    <a:lnTo>
                      <a:pt x="78" y="265"/>
                    </a:lnTo>
                    <a:lnTo>
                      <a:pt x="81" y="266"/>
                    </a:lnTo>
                    <a:lnTo>
                      <a:pt x="85" y="268"/>
                    </a:lnTo>
                    <a:lnTo>
                      <a:pt x="86" y="272"/>
                    </a:lnTo>
                    <a:lnTo>
                      <a:pt x="88" y="275"/>
                    </a:lnTo>
                    <a:lnTo>
                      <a:pt x="88" y="277"/>
                    </a:lnTo>
                    <a:lnTo>
                      <a:pt x="91" y="278"/>
                    </a:lnTo>
                    <a:lnTo>
                      <a:pt x="93" y="282"/>
                    </a:lnTo>
                    <a:lnTo>
                      <a:pt x="99" y="284"/>
                    </a:lnTo>
                    <a:lnTo>
                      <a:pt x="99" y="286"/>
                    </a:lnTo>
                    <a:lnTo>
                      <a:pt x="98" y="289"/>
                    </a:lnTo>
                    <a:lnTo>
                      <a:pt x="98" y="293"/>
                    </a:lnTo>
                    <a:lnTo>
                      <a:pt x="98" y="297"/>
                    </a:lnTo>
                    <a:lnTo>
                      <a:pt x="99" y="302"/>
                    </a:lnTo>
                    <a:lnTo>
                      <a:pt x="98" y="305"/>
                    </a:lnTo>
                    <a:lnTo>
                      <a:pt x="98" y="305"/>
                    </a:lnTo>
                    <a:lnTo>
                      <a:pt x="94" y="305"/>
                    </a:lnTo>
                    <a:lnTo>
                      <a:pt x="90" y="299"/>
                    </a:lnTo>
                    <a:lnTo>
                      <a:pt x="86" y="298"/>
                    </a:lnTo>
                    <a:lnTo>
                      <a:pt x="83" y="297"/>
                    </a:lnTo>
                    <a:lnTo>
                      <a:pt x="81" y="297"/>
                    </a:lnTo>
                    <a:lnTo>
                      <a:pt x="85" y="294"/>
                    </a:lnTo>
                    <a:lnTo>
                      <a:pt x="88" y="292"/>
                    </a:lnTo>
                    <a:lnTo>
                      <a:pt x="86" y="289"/>
                    </a:lnTo>
                    <a:lnTo>
                      <a:pt x="83" y="286"/>
                    </a:lnTo>
                    <a:lnTo>
                      <a:pt x="78" y="287"/>
                    </a:lnTo>
                    <a:lnTo>
                      <a:pt x="73" y="287"/>
                    </a:lnTo>
                    <a:lnTo>
                      <a:pt x="70" y="288"/>
                    </a:lnTo>
                    <a:lnTo>
                      <a:pt x="64" y="291"/>
                    </a:lnTo>
                    <a:lnTo>
                      <a:pt x="60" y="290"/>
                    </a:lnTo>
                    <a:lnTo>
                      <a:pt x="54" y="284"/>
                    </a:lnTo>
                    <a:lnTo>
                      <a:pt x="51" y="283"/>
                    </a:lnTo>
                    <a:lnTo>
                      <a:pt x="45" y="280"/>
                    </a:lnTo>
                    <a:lnTo>
                      <a:pt x="42" y="277"/>
                    </a:lnTo>
                    <a:lnTo>
                      <a:pt x="40" y="274"/>
                    </a:lnTo>
                    <a:lnTo>
                      <a:pt x="38" y="268"/>
                    </a:lnTo>
                    <a:lnTo>
                      <a:pt x="36" y="266"/>
                    </a:lnTo>
                    <a:lnTo>
                      <a:pt x="33" y="266"/>
                    </a:lnTo>
                    <a:lnTo>
                      <a:pt x="31" y="265"/>
                    </a:lnTo>
                    <a:lnTo>
                      <a:pt x="31" y="264"/>
                    </a:lnTo>
                    <a:lnTo>
                      <a:pt x="31" y="260"/>
                    </a:lnTo>
                    <a:lnTo>
                      <a:pt x="29" y="257"/>
                    </a:lnTo>
                    <a:lnTo>
                      <a:pt x="27" y="254"/>
                    </a:lnTo>
                    <a:lnTo>
                      <a:pt x="28" y="251"/>
                    </a:lnTo>
                    <a:lnTo>
                      <a:pt x="30" y="251"/>
                    </a:lnTo>
                    <a:lnTo>
                      <a:pt x="30" y="252"/>
                    </a:lnTo>
                    <a:lnTo>
                      <a:pt x="33" y="254"/>
                    </a:lnTo>
                    <a:lnTo>
                      <a:pt x="39" y="258"/>
                    </a:lnTo>
                    <a:lnTo>
                      <a:pt x="43" y="261"/>
                    </a:lnTo>
                    <a:lnTo>
                      <a:pt x="45" y="264"/>
                    </a:lnTo>
                    <a:lnTo>
                      <a:pt x="45" y="268"/>
                    </a:lnTo>
                    <a:lnTo>
                      <a:pt x="45" y="270"/>
                    </a:lnTo>
                    <a:lnTo>
                      <a:pt x="48" y="274"/>
                    </a:lnTo>
                    <a:lnTo>
                      <a:pt x="51" y="276"/>
                    </a:lnTo>
                    <a:lnTo>
                      <a:pt x="51" y="276"/>
                    </a:lnTo>
                    <a:close/>
                    <a:moveTo>
                      <a:pt x="59" y="243"/>
                    </a:moveTo>
                    <a:lnTo>
                      <a:pt x="59" y="246"/>
                    </a:lnTo>
                    <a:lnTo>
                      <a:pt x="58" y="250"/>
                    </a:lnTo>
                    <a:lnTo>
                      <a:pt x="59" y="252"/>
                    </a:lnTo>
                    <a:lnTo>
                      <a:pt x="64" y="254"/>
                    </a:lnTo>
                    <a:lnTo>
                      <a:pt x="66" y="258"/>
                    </a:lnTo>
                    <a:lnTo>
                      <a:pt x="59" y="258"/>
                    </a:lnTo>
                    <a:lnTo>
                      <a:pt x="57" y="261"/>
                    </a:lnTo>
                    <a:lnTo>
                      <a:pt x="58" y="264"/>
                    </a:lnTo>
                    <a:lnTo>
                      <a:pt x="61" y="265"/>
                    </a:lnTo>
                    <a:lnTo>
                      <a:pt x="64" y="267"/>
                    </a:lnTo>
                    <a:lnTo>
                      <a:pt x="68" y="268"/>
                    </a:lnTo>
                    <a:lnTo>
                      <a:pt x="68" y="272"/>
                    </a:lnTo>
                    <a:lnTo>
                      <a:pt x="68" y="274"/>
                    </a:lnTo>
                    <a:lnTo>
                      <a:pt x="63" y="272"/>
                    </a:lnTo>
                    <a:lnTo>
                      <a:pt x="58" y="269"/>
                    </a:lnTo>
                    <a:lnTo>
                      <a:pt x="54" y="269"/>
                    </a:lnTo>
                    <a:lnTo>
                      <a:pt x="52" y="267"/>
                    </a:lnTo>
                    <a:lnTo>
                      <a:pt x="45" y="259"/>
                    </a:lnTo>
                    <a:lnTo>
                      <a:pt x="40" y="251"/>
                    </a:lnTo>
                    <a:lnTo>
                      <a:pt x="42" y="250"/>
                    </a:lnTo>
                    <a:lnTo>
                      <a:pt x="46" y="250"/>
                    </a:lnTo>
                    <a:lnTo>
                      <a:pt x="49" y="249"/>
                    </a:lnTo>
                    <a:lnTo>
                      <a:pt x="52" y="247"/>
                    </a:lnTo>
                    <a:lnTo>
                      <a:pt x="53" y="244"/>
                    </a:lnTo>
                    <a:lnTo>
                      <a:pt x="55" y="244"/>
                    </a:lnTo>
                    <a:lnTo>
                      <a:pt x="56" y="240"/>
                    </a:lnTo>
                    <a:lnTo>
                      <a:pt x="54" y="236"/>
                    </a:lnTo>
                    <a:lnTo>
                      <a:pt x="51" y="234"/>
                    </a:lnTo>
                    <a:lnTo>
                      <a:pt x="48" y="234"/>
                    </a:lnTo>
                    <a:lnTo>
                      <a:pt x="45" y="233"/>
                    </a:lnTo>
                    <a:lnTo>
                      <a:pt x="42" y="233"/>
                    </a:lnTo>
                    <a:lnTo>
                      <a:pt x="42" y="232"/>
                    </a:lnTo>
                    <a:lnTo>
                      <a:pt x="43" y="231"/>
                    </a:lnTo>
                    <a:lnTo>
                      <a:pt x="45" y="230"/>
                    </a:lnTo>
                    <a:lnTo>
                      <a:pt x="45" y="231"/>
                    </a:lnTo>
                    <a:lnTo>
                      <a:pt x="51" y="232"/>
                    </a:lnTo>
                    <a:lnTo>
                      <a:pt x="54" y="234"/>
                    </a:lnTo>
                    <a:lnTo>
                      <a:pt x="58" y="237"/>
                    </a:lnTo>
                    <a:lnTo>
                      <a:pt x="59" y="243"/>
                    </a:lnTo>
                    <a:lnTo>
                      <a:pt x="59" y="243"/>
                    </a:lnTo>
                    <a:close/>
                    <a:moveTo>
                      <a:pt x="293" y="148"/>
                    </a:moveTo>
                    <a:lnTo>
                      <a:pt x="286" y="152"/>
                    </a:lnTo>
                    <a:lnTo>
                      <a:pt x="271" y="164"/>
                    </a:lnTo>
                    <a:lnTo>
                      <a:pt x="263" y="175"/>
                    </a:lnTo>
                    <a:lnTo>
                      <a:pt x="263" y="175"/>
                    </a:lnTo>
                    <a:lnTo>
                      <a:pt x="272" y="178"/>
                    </a:lnTo>
                    <a:lnTo>
                      <a:pt x="276" y="181"/>
                    </a:lnTo>
                    <a:lnTo>
                      <a:pt x="278" y="185"/>
                    </a:lnTo>
                    <a:lnTo>
                      <a:pt x="277" y="188"/>
                    </a:lnTo>
                    <a:lnTo>
                      <a:pt x="273" y="190"/>
                    </a:lnTo>
                    <a:lnTo>
                      <a:pt x="270" y="190"/>
                    </a:lnTo>
                    <a:lnTo>
                      <a:pt x="264" y="193"/>
                    </a:lnTo>
                    <a:lnTo>
                      <a:pt x="262" y="196"/>
                    </a:lnTo>
                    <a:lnTo>
                      <a:pt x="261" y="199"/>
                    </a:lnTo>
                    <a:lnTo>
                      <a:pt x="261" y="203"/>
                    </a:lnTo>
                    <a:lnTo>
                      <a:pt x="259" y="206"/>
                    </a:lnTo>
                    <a:lnTo>
                      <a:pt x="256" y="213"/>
                    </a:lnTo>
                    <a:lnTo>
                      <a:pt x="256" y="217"/>
                    </a:lnTo>
                    <a:lnTo>
                      <a:pt x="256" y="221"/>
                    </a:lnTo>
                    <a:lnTo>
                      <a:pt x="257" y="223"/>
                    </a:lnTo>
                    <a:lnTo>
                      <a:pt x="258" y="227"/>
                    </a:lnTo>
                    <a:lnTo>
                      <a:pt x="258" y="231"/>
                    </a:lnTo>
                    <a:lnTo>
                      <a:pt x="257" y="234"/>
                    </a:lnTo>
                    <a:lnTo>
                      <a:pt x="255" y="241"/>
                    </a:lnTo>
                    <a:lnTo>
                      <a:pt x="254" y="245"/>
                    </a:lnTo>
                    <a:lnTo>
                      <a:pt x="254" y="248"/>
                    </a:lnTo>
                    <a:lnTo>
                      <a:pt x="257" y="255"/>
                    </a:lnTo>
                    <a:lnTo>
                      <a:pt x="260" y="261"/>
                    </a:lnTo>
                    <a:lnTo>
                      <a:pt x="262" y="263"/>
                    </a:lnTo>
                    <a:lnTo>
                      <a:pt x="268" y="265"/>
                    </a:lnTo>
                    <a:lnTo>
                      <a:pt x="270" y="267"/>
                    </a:lnTo>
                    <a:lnTo>
                      <a:pt x="271" y="268"/>
                    </a:lnTo>
                    <a:lnTo>
                      <a:pt x="271" y="270"/>
                    </a:lnTo>
                    <a:lnTo>
                      <a:pt x="270" y="272"/>
                    </a:lnTo>
                    <a:lnTo>
                      <a:pt x="269" y="273"/>
                    </a:lnTo>
                    <a:lnTo>
                      <a:pt x="268" y="274"/>
                    </a:lnTo>
                    <a:lnTo>
                      <a:pt x="266" y="274"/>
                    </a:lnTo>
                    <a:lnTo>
                      <a:pt x="263" y="279"/>
                    </a:lnTo>
                    <a:lnTo>
                      <a:pt x="263" y="281"/>
                    </a:lnTo>
                    <a:lnTo>
                      <a:pt x="265" y="283"/>
                    </a:lnTo>
                    <a:lnTo>
                      <a:pt x="266" y="288"/>
                    </a:lnTo>
                    <a:lnTo>
                      <a:pt x="265" y="291"/>
                    </a:lnTo>
                    <a:lnTo>
                      <a:pt x="263" y="291"/>
                    </a:lnTo>
                    <a:lnTo>
                      <a:pt x="256" y="289"/>
                    </a:lnTo>
                    <a:lnTo>
                      <a:pt x="252" y="289"/>
                    </a:lnTo>
                    <a:lnTo>
                      <a:pt x="249" y="289"/>
                    </a:lnTo>
                    <a:lnTo>
                      <a:pt x="248" y="292"/>
                    </a:lnTo>
                    <a:lnTo>
                      <a:pt x="248" y="296"/>
                    </a:lnTo>
                    <a:lnTo>
                      <a:pt x="248" y="299"/>
                    </a:lnTo>
                    <a:lnTo>
                      <a:pt x="243" y="311"/>
                    </a:lnTo>
                    <a:lnTo>
                      <a:pt x="241" y="313"/>
                    </a:lnTo>
                    <a:lnTo>
                      <a:pt x="238" y="316"/>
                    </a:lnTo>
                    <a:lnTo>
                      <a:pt x="231" y="320"/>
                    </a:lnTo>
                    <a:lnTo>
                      <a:pt x="228" y="321"/>
                    </a:lnTo>
                    <a:lnTo>
                      <a:pt x="221" y="323"/>
                    </a:lnTo>
                    <a:lnTo>
                      <a:pt x="219" y="323"/>
                    </a:lnTo>
                    <a:lnTo>
                      <a:pt x="219" y="326"/>
                    </a:lnTo>
                    <a:lnTo>
                      <a:pt x="219" y="328"/>
                    </a:lnTo>
                    <a:lnTo>
                      <a:pt x="219" y="331"/>
                    </a:lnTo>
                    <a:lnTo>
                      <a:pt x="218" y="334"/>
                    </a:lnTo>
                    <a:lnTo>
                      <a:pt x="214" y="337"/>
                    </a:lnTo>
                    <a:lnTo>
                      <a:pt x="208" y="340"/>
                    </a:lnTo>
                    <a:lnTo>
                      <a:pt x="200" y="343"/>
                    </a:lnTo>
                    <a:lnTo>
                      <a:pt x="200" y="343"/>
                    </a:lnTo>
                    <a:lnTo>
                      <a:pt x="200" y="335"/>
                    </a:lnTo>
                    <a:lnTo>
                      <a:pt x="199" y="334"/>
                    </a:lnTo>
                    <a:lnTo>
                      <a:pt x="201" y="328"/>
                    </a:lnTo>
                    <a:lnTo>
                      <a:pt x="200" y="325"/>
                    </a:lnTo>
                    <a:lnTo>
                      <a:pt x="192" y="316"/>
                    </a:lnTo>
                    <a:lnTo>
                      <a:pt x="190" y="312"/>
                    </a:lnTo>
                    <a:lnTo>
                      <a:pt x="189" y="308"/>
                    </a:lnTo>
                    <a:lnTo>
                      <a:pt x="189" y="301"/>
                    </a:lnTo>
                    <a:lnTo>
                      <a:pt x="191" y="293"/>
                    </a:lnTo>
                    <a:lnTo>
                      <a:pt x="191" y="289"/>
                    </a:lnTo>
                    <a:lnTo>
                      <a:pt x="188" y="289"/>
                    </a:lnTo>
                    <a:lnTo>
                      <a:pt x="189" y="288"/>
                    </a:lnTo>
                    <a:lnTo>
                      <a:pt x="188" y="286"/>
                    </a:lnTo>
                    <a:lnTo>
                      <a:pt x="186" y="283"/>
                    </a:lnTo>
                    <a:lnTo>
                      <a:pt x="185" y="281"/>
                    </a:lnTo>
                    <a:lnTo>
                      <a:pt x="187" y="280"/>
                    </a:lnTo>
                    <a:lnTo>
                      <a:pt x="186" y="278"/>
                    </a:lnTo>
                    <a:lnTo>
                      <a:pt x="181" y="274"/>
                    </a:lnTo>
                    <a:lnTo>
                      <a:pt x="181" y="273"/>
                    </a:lnTo>
                    <a:lnTo>
                      <a:pt x="178" y="269"/>
                    </a:lnTo>
                    <a:lnTo>
                      <a:pt x="174" y="265"/>
                    </a:lnTo>
                    <a:lnTo>
                      <a:pt x="173" y="264"/>
                    </a:lnTo>
                    <a:lnTo>
                      <a:pt x="168" y="261"/>
                    </a:lnTo>
                    <a:lnTo>
                      <a:pt x="166" y="261"/>
                    </a:lnTo>
                    <a:lnTo>
                      <a:pt x="165" y="262"/>
                    </a:lnTo>
                    <a:lnTo>
                      <a:pt x="158" y="254"/>
                    </a:lnTo>
                    <a:lnTo>
                      <a:pt x="161" y="246"/>
                    </a:lnTo>
                    <a:lnTo>
                      <a:pt x="160" y="244"/>
                    </a:lnTo>
                    <a:lnTo>
                      <a:pt x="160" y="235"/>
                    </a:lnTo>
                    <a:lnTo>
                      <a:pt x="159" y="231"/>
                    </a:lnTo>
                    <a:lnTo>
                      <a:pt x="156" y="229"/>
                    </a:lnTo>
                    <a:lnTo>
                      <a:pt x="155" y="228"/>
                    </a:lnTo>
                    <a:lnTo>
                      <a:pt x="154" y="226"/>
                    </a:lnTo>
                    <a:lnTo>
                      <a:pt x="151" y="226"/>
                    </a:lnTo>
                    <a:lnTo>
                      <a:pt x="147" y="226"/>
                    </a:lnTo>
                    <a:lnTo>
                      <a:pt x="145" y="226"/>
                    </a:lnTo>
                    <a:lnTo>
                      <a:pt x="143" y="224"/>
                    </a:lnTo>
                    <a:lnTo>
                      <a:pt x="141" y="221"/>
                    </a:lnTo>
                    <a:lnTo>
                      <a:pt x="139" y="216"/>
                    </a:lnTo>
                    <a:lnTo>
                      <a:pt x="138" y="213"/>
                    </a:lnTo>
                    <a:lnTo>
                      <a:pt x="137" y="207"/>
                    </a:lnTo>
                    <a:lnTo>
                      <a:pt x="136" y="205"/>
                    </a:lnTo>
                    <a:lnTo>
                      <a:pt x="135" y="204"/>
                    </a:lnTo>
                    <a:lnTo>
                      <a:pt x="128" y="200"/>
                    </a:lnTo>
                    <a:lnTo>
                      <a:pt x="128" y="204"/>
                    </a:lnTo>
                    <a:lnTo>
                      <a:pt x="129" y="206"/>
                    </a:lnTo>
                    <a:lnTo>
                      <a:pt x="132" y="211"/>
                    </a:lnTo>
                    <a:lnTo>
                      <a:pt x="128" y="213"/>
                    </a:lnTo>
                    <a:lnTo>
                      <a:pt x="130" y="225"/>
                    </a:lnTo>
                    <a:lnTo>
                      <a:pt x="128" y="228"/>
                    </a:lnTo>
                    <a:lnTo>
                      <a:pt x="128" y="224"/>
                    </a:lnTo>
                    <a:lnTo>
                      <a:pt x="128" y="213"/>
                    </a:lnTo>
                    <a:lnTo>
                      <a:pt x="127" y="209"/>
                    </a:lnTo>
                    <a:lnTo>
                      <a:pt x="125" y="202"/>
                    </a:lnTo>
                    <a:lnTo>
                      <a:pt x="121" y="178"/>
                    </a:lnTo>
                    <a:lnTo>
                      <a:pt x="120" y="171"/>
                    </a:lnTo>
                    <a:lnTo>
                      <a:pt x="121" y="162"/>
                    </a:lnTo>
                    <a:lnTo>
                      <a:pt x="120" y="159"/>
                    </a:lnTo>
                    <a:lnTo>
                      <a:pt x="120" y="154"/>
                    </a:lnTo>
                    <a:lnTo>
                      <a:pt x="119" y="152"/>
                    </a:lnTo>
                    <a:lnTo>
                      <a:pt x="117" y="152"/>
                    </a:lnTo>
                    <a:lnTo>
                      <a:pt x="113" y="152"/>
                    </a:lnTo>
                    <a:lnTo>
                      <a:pt x="113" y="151"/>
                    </a:lnTo>
                    <a:lnTo>
                      <a:pt x="113" y="149"/>
                    </a:lnTo>
                    <a:lnTo>
                      <a:pt x="112" y="147"/>
                    </a:lnTo>
                    <a:lnTo>
                      <a:pt x="93" y="131"/>
                    </a:lnTo>
                    <a:lnTo>
                      <a:pt x="92" y="131"/>
                    </a:lnTo>
                    <a:lnTo>
                      <a:pt x="91" y="132"/>
                    </a:lnTo>
                    <a:lnTo>
                      <a:pt x="90" y="130"/>
                    </a:lnTo>
                    <a:lnTo>
                      <a:pt x="89" y="127"/>
                    </a:lnTo>
                    <a:lnTo>
                      <a:pt x="85" y="122"/>
                    </a:lnTo>
                    <a:lnTo>
                      <a:pt x="84" y="119"/>
                    </a:lnTo>
                    <a:lnTo>
                      <a:pt x="83" y="118"/>
                    </a:lnTo>
                    <a:lnTo>
                      <a:pt x="83" y="117"/>
                    </a:lnTo>
                    <a:lnTo>
                      <a:pt x="79" y="118"/>
                    </a:lnTo>
                    <a:lnTo>
                      <a:pt x="77" y="118"/>
                    </a:lnTo>
                    <a:lnTo>
                      <a:pt x="76" y="115"/>
                    </a:lnTo>
                    <a:lnTo>
                      <a:pt x="75" y="114"/>
                    </a:lnTo>
                    <a:lnTo>
                      <a:pt x="68" y="107"/>
                    </a:lnTo>
                    <a:lnTo>
                      <a:pt x="67" y="107"/>
                    </a:lnTo>
                    <a:lnTo>
                      <a:pt x="65" y="107"/>
                    </a:lnTo>
                    <a:lnTo>
                      <a:pt x="63" y="106"/>
                    </a:lnTo>
                    <a:lnTo>
                      <a:pt x="58" y="99"/>
                    </a:lnTo>
                    <a:lnTo>
                      <a:pt x="56" y="98"/>
                    </a:lnTo>
                    <a:lnTo>
                      <a:pt x="46" y="88"/>
                    </a:lnTo>
                    <a:lnTo>
                      <a:pt x="43" y="90"/>
                    </a:lnTo>
                    <a:lnTo>
                      <a:pt x="37" y="85"/>
                    </a:lnTo>
                    <a:lnTo>
                      <a:pt x="32" y="86"/>
                    </a:lnTo>
                    <a:lnTo>
                      <a:pt x="31" y="81"/>
                    </a:lnTo>
                    <a:lnTo>
                      <a:pt x="28" y="78"/>
                    </a:lnTo>
                    <a:lnTo>
                      <a:pt x="24" y="76"/>
                    </a:lnTo>
                    <a:lnTo>
                      <a:pt x="21" y="72"/>
                    </a:lnTo>
                    <a:lnTo>
                      <a:pt x="14" y="63"/>
                    </a:lnTo>
                    <a:lnTo>
                      <a:pt x="13" y="61"/>
                    </a:lnTo>
                    <a:lnTo>
                      <a:pt x="14" y="58"/>
                    </a:lnTo>
                    <a:lnTo>
                      <a:pt x="14" y="56"/>
                    </a:lnTo>
                    <a:lnTo>
                      <a:pt x="14" y="55"/>
                    </a:lnTo>
                    <a:lnTo>
                      <a:pt x="10" y="54"/>
                    </a:lnTo>
                    <a:lnTo>
                      <a:pt x="10" y="50"/>
                    </a:lnTo>
                    <a:lnTo>
                      <a:pt x="3" y="44"/>
                    </a:lnTo>
                    <a:lnTo>
                      <a:pt x="0" y="39"/>
                    </a:lnTo>
                    <a:lnTo>
                      <a:pt x="1" y="37"/>
                    </a:lnTo>
                    <a:lnTo>
                      <a:pt x="0" y="35"/>
                    </a:lnTo>
                    <a:lnTo>
                      <a:pt x="4" y="28"/>
                    </a:lnTo>
                    <a:lnTo>
                      <a:pt x="6" y="24"/>
                    </a:lnTo>
                    <a:lnTo>
                      <a:pt x="8" y="22"/>
                    </a:lnTo>
                    <a:lnTo>
                      <a:pt x="11" y="20"/>
                    </a:lnTo>
                    <a:lnTo>
                      <a:pt x="22" y="14"/>
                    </a:lnTo>
                    <a:lnTo>
                      <a:pt x="24" y="11"/>
                    </a:lnTo>
                    <a:lnTo>
                      <a:pt x="27" y="8"/>
                    </a:lnTo>
                    <a:lnTo>
                      <a:pt x="30" y="1"/>
                    </a:lnTo>
                    <a:lnTo>
                      <a:pt x="49" y="0"/>
                    </a:lnTo>
                    <a:lnTo>
                      <a:pt x="55" y="1"/>
                    </a:lnTo>
                    <a:lnTo>
                      <a:pt x="57" y="4"/>
                    </a:lnTo>
                    <a:lnTo>
                      <a:pt x="58" y="8"/>
                    </a:lnTo>
                    <a:lnTo>
                      <a:pt x="58" y="11"/>
                    </a:lnTo>
                    <a:lnTo>
                      <a:pt x="54" y="32"/>
                    </a:lnTo>
                    <a:lnTo>
                      <a:pt x="54" y="37"/>
                    </a:lnTo>
                    <a:lnTo>
                      <a:pt x="54" y="40"/>
                    </a:lnTo>
                    <a:lnTo>
                      <a:pt x="56" y="46"/>
                    </a:lnTo>
                    <a:lnTo>
                      <a:pt x="59" y="47"/>
                    </a:lnTo>
                    <a:lnTo>
                      <a:pt x="61" y="49"/>
                    </a:lnTo>
                    <a:lnTo>
                      <a:pt x="73" y="47"/>
                    </a:lnTo>
                    <a:lnTo>
                      <a:pt x="76" y="47"/>
                    </a:lnTo>
                    <a:lnTo>
                      <a:pt x="81" y="48"/>
                    </a:lnTo>
                    <a:lnTo>
                      <a:pt x="85" y="51"/>
                    </a:lnTo>
                    <a:lnTo>
                      <a:pt x="88" y="53"/>
                    </a:lnTo>
                    <a:lnTo>
                      <a:pt x="89" y="56"/>
                    </a:lnTo>
                    <a:lnTo>
                      <a:pt x="90" y="62"/>
                    </a:lnTo>
                    <a:lnTo>
                      <a:pt x="92" y="66"/>
                    </a:lnTo>
                    <a:lnTo>
                      <a:pt x="96" y="70"/>
                    </a:lnTo>
                    <a:lnTo>
                      <a:pt x="99" y="72"/>
                    </a:lnTo>
                    <a:lnTo>
                      <a:pt x="104" y="73"/>
                    </a:lnTo>
                    <a:lnTo>
                      <a:pt x="129" y="73"/>
                    </a:lnTo>
                    <a:lnTo>
                      <a:pt x="134" y="74"/>
                    </a:lnTo>
                    <a:lnTo>
                      <a:pt x="138" y="76"/>
                    </a:lnTo>
                    <a:lnTo>
                      <a:pt x="142" y="80"/>
                    </a:lnTo>
                    <a:lnTo>
                      <a:pt x="143" y="84"/>
                    </a:lnTo>
                    <a:lnTo>
                      <a:pt x="145" y="88"/>
                    </a:lnTo>
                    <a:lnTo>
                      <a:pt x="147" y="91"/>
                    </a:lnTo>
                    <a:lnTo>
                      <a:pt x="150" y="96"/>
                    </a:lnTo>
                    <a:lnTo>
                      <a:pt x="166" y="112"/>
                    </a:lnTo>
                    <a:lnTo>
                      <a:pt x="169" y="114"/>
                    </a:lnTo>
                    <a:lnTo>
                      <a:pt x="173" y="116"/>
                    </a:lnTo>
                    <a:lnTo>
                      <a:pt x="177" y="116"/>
                    </a:lnTo>
                    <a:lnTo>
                      <a:pt x="180" y="115"/>
                    </a:lnTo>
                    <a:lnTo>
                      <a:pt x="182" y="113"/>
                    </a:lnTo>
                    <a:lnTo>
                      <a:pt x="183" y="109"/>
                    </a:lnTo>
                    <a:lnTo>
                      <a:pt x="191" y="80"/>
                    </a:lnTo>
                    <a:lnTo>
                      <a:pt x="195" y="73"/>
                    </a:lnTo>
                    <a:lnTo>
                      <a:pt x="197" y="69"/>
                    </a:lnTo>
                    <a:lnTo>
                      <a:pt x="200" y="67"/>
                    </a:lnTo>
                    <a:lnTo>
                      <a:pt x="207" y="61"/>
                    </a:lnTo>
                    <a:lnTo>
                      <a:pt x="215" y="57"/>
                    </a:lnTo>
                    <a:lnTo>
                      <a:pt x="217" y="56"/>
                    </a:lnTo>
                    <a:lnTo>
                      <a:pt x="223" y="58"/>
                    </a:lnTo>
                    <a:lnTo>
                      <a:pt x="225" y="61"/>
                    </a:lnTo>
                    <a:lnTo>
                      <a:pt x="226" y="64"/>
                    </a:lnTo>
                    <a:lnTo>
                      <a:pt x="226" y="71"/>
                    </a:lnTo>
                    <a:lnTo>
                      <a:pt x="226" y="76"/>
                    </a:lnTo>
                    <a:lnTo>
                      <a:pt x="229" y="80"/>
                    </a:lnTo>
                    <a:lnTo>
                      <a:pt x="242" y="91"/>
                    </a:lnTo>
                    <a:lnTo>
                      <a:pt x="246" y="95"/>
                    </a:lnTo>
                    <a:lnTo>
                      <a:pt x="248" y="99"/>
                    </a:lnTo>
                    <a:lnTo>
                      <a:pt x="254" y="109"/>
                    </a:lnTo>
                    <a:lnTo>
                      <a:pt x="256" y="113"/>
                    </a:lnTo>
                    <a:lnTo>
                      <a:pt x="259" y="115"/>
                    </a:lnTo>
                    <a:lnTo>
                      <a:pt x="272" y="120"/>
                    </a:lnTo>
                    <a:lnTo>
                      <a:pt x="276" y="123"/>
                    </a:lnTo>
                    <a:lnTo>
                      <a:pt x="278" y="127"/>
                    </a:lnTo>
                    <a:lnTo>
                      <a:pt x="293" y="148"/>
                    </a:lnTo>
                    <a:lnTo>
                      <a:pt x="293" y="148"/>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a:solidFill>
                    <a:srgbClr val="000000"/>
                  </a:solidFill>
                  <a:latin typeface="Arial"/>
                  <a:cs typeface="+mn-cs"/>
                </a:endParaRPr>
              </a:p>
            </p:txBody>
          </p:sp>
          <p:sp>
            <p:nvSpPr>
              <p:cNvPr id="348" name="Freeform 18">
                <a:extLst>
                  <a:ext uri="{FF2B5EF4-FFF2-40B4-BE49-F238E27FC236}"/>
                </a:extLst>
              </p:cNvPr>
              <p:cNvSpPr>
                <a:spLocks/>
              </p:cNvSpPr>
              <p:nvPr/>
            </p:nvSpPr>
            <p:spPr bwMode="auto">
              <a:xfrm>
                <a:off x="2779713" y="4313238"/>
                <a:ext cx="1333500" cy="1668463"/>
              </a:xfrm>
              <a:custGeom>
                <a:avLst/>
                <a:gdLst>
                  <a:gd name="T0" fmla="*/ 593 w 840"/>
                  <a:gd name="T1" fmla="*/ 99 h 1051"/>
                  <a:gd name="T2" fmla="*/ 719 w 840"/>
                  <a:gd name="T3" fmla="*/ 197 h 1051"/>
                  <a:gd name="T4" fmla="*/ 745 w 840"/>
                  <a:gd name="T5" fmla="*/ 264 h 1051"/>
                  <a:gd name="T6" fmla="*/ 813 w 840"/>
                  <a:gd name="T7" fmla="*/ 363 h 1051"/>
                  <a:gd name="T8" fmla="*/ 793 w 840"/>
                  <a:gd name="T9" fmla="*/ 466 h 1051"/>
                  <a:gd name="T10" fmla="*/ 753 w 840"/>
                  <a:gd name="T11" fmla="*/ 566 h 1051"/>
                  <a:gd name="T12" fmla="*/ 610 w 840"/>
                  <a:gd name="T13" fmla="*/ 654 h 1051"/>
                  <a:gd name="T14" fmla="*/ 531 w 840"/>
                  <a:gd name="T15" fmla="*/ 605 h 1051"/>
                  <a:gd name="T16" fmla="*/ 464 w 840"/>
                  <a:gd name="T17" fmla="*/ 591 h 1051"/>
                  <a:gd name="T18" fmla="*/ 432 w 840"/>
                  <a:gd name="T19" fmla="*/ 604 h 1051"/>
                  <a:gd name="T20" fmla="*/ 384 w 840"/>
                  <a:gd name="T21" fmla="*/ 681 h 1051"/>
                  <a:gd name="T22" fmla="*/ 387 w 840"/>
                  <a:gd name="T23" fmla="*/ 730 h 1051"/>
                  <a:gd name="T24" fmla="*/ 411 w 840"/>
                  <a:gd name="T25" fmla="*/ 811 h 1051"/>
                  <a:gd name="T26" fmla="*/ 470 w 840"/>
                  <a:gd name="T27" fmla="*/ 771 h 1051"/>
                  <a:gd name="T28" fmla="*/ 533 w 840"/>
                  <a:gd name="T29" fmla="*/ 754 h 1051"/>
                  <a:gd name="T30" fmla="*/ 537 w 840"/>
                  <a:gd name="T31" fmla="*/ 846 h 1051"/>
                  <a:gd name="T32" fmla="*/ 473 w 840"/>
                  <a:gd name="T33" fmla="*/ 869 h 1051"/>
                  <a:gd name="T34" fmla="*/ 470 w 840"/>
                  <a:gd name="T35" fmla="*/ 932 h 1051"/>
                  <a:gd name="T36" fmla="*/ 523 w 840"/>
                  <a:gd name="T37" fmla="*/ 1017 h 1051"/>
                  <a:gd name="T38" fmla="*/ 487 w 840"/>
                  <a:gd name="T39" fmla="*/ 1043 h 1051"/>
                  <a:gd name="T40" fmla="*/ 478 w 840"/>
                  <a:gd name="T41" fmla="*/ 1027 h 1051"/>
                  <a:gd name="T42" fmla="*/ 466 w 840"/>
                  <a:gd name="T43" fmla="*/ 989 h 1051"/>
                  <a:gd name="T44" fmla="*/ 446 w 840"/>
                  <a:gd name="T45" fmla="*/ 971 h 1051"/>
                  <a:gd name="T46" fmla="*/ 434 w 840"/>
                  <a:gd name="T47" fmla="*/ 928 h 1051"/>
                  <a:gd name="T48" fmla="*/ 417 w 840"/>
                  <a:gd name="T49" fmla="*/ 905 h 1051"/>
                  <a:gd name="T50" fmla="*/ 403 w 840"/>
                  <a:gd name="T51" fmla="*/ 869 h 1051"/>
                  <a:gd name="T52" fmla="*/ 391 w 840"/>
                  <a:gd name="T53" fmla="*/ 839 h 1051"/>
                  <a:gd name="T54" fmla="*/ 386 w 840"/>
                  <a:gd name="T55" fmla="*/ 810 h 1051"/>
                  <a:gd name="T56" fmla="*/ 351 w 840"/>
                  <a:gd name="T57" fmla="*/ 757 h 1051"/>
                  <a:gd name="T58" fmla="*/ 314 w 840"/>
                  <a:gd name="T59" fmla="*/ 734 h 1051"/>
                  <a:gd name="T60" fmla="*/ 285 w 840"/>
                  <a:gd name="T61" fmla="*/ 704 h 1051"/>
                  <a:gd name="T62" fmla="*/ 247 w 840"/>
                  <a:gd name="T63" fmla="*/ 674 h 1051"/>
                  <a:gd name="T64" fmla="*/ 214 w 840"/>
                  <a:gd name="T65" fmla="*/ 668 h 1051"/>
                  <a:gd name="T66" fmla="*/ 168 w 840"/>
                  <a:gd name="T67" fmla="*/ 635 h 1051"/>
                  <a:gd name="T68" fmla="*/ 147 w 840"/>
                  <a:gd name="T69" fmla="*/ 598 h 1051"/>
                  <a:gd name="T70" fmla="*/ 129 w 840"/>
                  <a:gd name="T71" fmla="*/ 574 h 1051"/>
                  <a:gd name="T72" fmla="*/ 124 w 840"/>
                  <a:gd name="T73" fmla="*/ 567 h 1051"/>
                  <a:gd name="T74" fmla="*/ 109 w 840"/>
                  <a:gd name="T75" fmla="*/ 551 h 1051"/>
                  <a:gd name="T76" fmla="*/ 87 w 840"/>
                  <a:gd name="T77" fmla="*/ 514 h 1051"/>
                  <a:gd name="T78" fmla="*/ 87 w 840"/>
                  <a:gd name="T79" fmla="*/ 455 h 1051"/>
                  <a:gd name="T80" fmla="*/ 74 w 840"/>
                  <a:gd name="T81" fmla="*/ 424 h 1051"/>
                  <a:gd name="T82" fmla="*/ 70 w 840"/>
                  <a:gd name="T83" fmla="*/ 407 h 1051"/>
                  <a:gd name="T84" fmla="*/ 48 w 840"/>
                  <a:gd name="T85" fmla="*/ 354 h 1051"/>
                  <a:gd name="T86" fmla="*/ 64 w 840"/>
                  <a:gd name="T87" fmla="*/ 338 h 1051"/>
                  <a:gd name="T88" fmla="*/ 83 w 840"/>
                  <a:gd name="T89" fmla="*/ 289 h 1051"/>
                  <a:gd name="T90" fmla="*/ 72 w 840"/>
                  <a:gd name="T91" fmla="*/ 259 h 1051"/>
                  <a:gd name="T92" fmla="*/ 49 w 840"/>
                  <a:gd name="T93" fmla="*/ 209 h 1051"/>
                  <a:gd name="T94" fmla="*/ 44 w 840"/>
                  <a:gd name="T95" fmla="*/ 202 h 1051"/>
                  <a:gd name="T96" fmla="*/ 38 w 840"/>
                  <a:gd name="T97" fmla="*/ 182 h 1051"/>
                  <a:gd name="T98" fmla="*/ 23 w 840"/>
                  <a:gd name="T99" fmla="*/ 149 h 1051"/>
                  <a:gd name="T100" fmla="*/ 0 w 840"/>
                  <a:gd name="T101" fmla="*/ 103 h 1051"/>
                  <a:gd name="T102" fmla="*/ 94 w 840"/>
                  <a:gd name="T103" fmla="*/ 147 h 1051"/>
                  <a:gd name="T104" fmla="*/ 205 w 840"/>
                  <a:gd name="T105" fmla="*/ 149 h 1051"/>
                  <a:gd name="T106" fmla="*/ 209 w 840"/>
                  <a:gd name="T107" fmla="*/ 213 h 1051"/>
                  <a:gd name="T108" fmla="*/ 238 w 840"/>
                  <a:gd name="T109" fmla="*/ 262 h 1051"/>
                  <a:gd name="T110" fmla="*/ 330 w 840"/>
                  <a:gd name="T111" fmla="*/ 254 h 1051"/>
                  <a:gd name="T112" fmla="*/ 470 w 840"/>
                  <a:gd name="T113" fmla="*/ 134 h 1051"/>
                  <a:gd name="T114" fmla="*/ 514 w 840"/>
                  <a:gd name="T115" fmla="*/ 60 h 1051"/>
                  <a:gd name="T116" fmla="*/ 537 w 840"/>
                  <a:gd name="T117" fmla="*/ 0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0" h="1051">
                    <a:moveTo>
                      <a:pt x="559" y="3"/>
                    </a:moveTo>
                    <a:lnTo>
                      <a:pt x="557" y="20"/>
                    </a:lnTo>
                    <a:lnTo>
                      <a:pt x="558" y="33"/>
                    </a:lnTo>
                    <a:lnTo>
                      <a:pt x="559" y="36"/>
                    </a:lnTo>
                    <a:lnTo>
                      <a:pt x="561" y="39"/>
                    </a:lnTo>
                    <a:lnTo>
                      <a:pt x="562" y="41"/>
                    </a:lnTo>
                    <a:lnTo>
                      <a:pt x="568" y="44"/>
                    </a:lnTo>
                    <a:lnTo>
                      <a:pt x="572" y="47"/>
                    </a:lnTo>
                    <a:lnTo>
                      <a:pt x="576" y="50"/>
                    </a:lnTo>
                    <a:lnTo>
                      <a:pt x="579" y="56"/>
                    </a:lnTo>
                    <a:lnTo>
                      <a:pt x="588" y="85"/>
                    </a:lnTo>
                    <a:lnTo>
                      <a:pt x="592" y="94"/>
                    </a:lnTo>
                    <a:lnTo>
                      <a:pt x="593" y="99"/>
                    </a:lnTo>
                    <a:lnTo>
                      <a:pt x="598" y="125"/>
                    </a:lnTo>
                    <a:lnTo>
                      <a:pt x="620" y="177"/>
                    </a:lnTo>
                    <a:lnTo>
                      <a:pt x="621" y="179"/>
                    </a:lnTo>
                    <a:lnTo>
                      <a:pt x="624" y="182"/>
                    </a:lnTo>
                    <a:lnTo>
                      <a:pt x="628" y="185"/>
                    </a:lnTo>
                    <a:lnTo>
                      <a:pt x="631" y="187"/>
                    </a:lnTo>
                    <a:lnTo>
                      <a:pt x="635" y="189"/>
                    </a:lnTo>
                    <a:lnTo>
                      <a:pt x="638" y="190"/>
                    </a:lnTo>
                    <a:lnTo>
                      <a:pt x="644" y="191"/>
                    </a:lnTo>
                    <a:lnTo>
                      <a:pt x="670" y="191"/>
                    </a:lnTo>
                    <a:lnTo>
                      <a:pt x="706" y="193"/>
                    </a:lnTo>
                    <a:lnTo>
                      <a:pt x="714" y="195"/>
                    </a:lnTo>
                    <a:lnTo>
                      <a:pt x="719" y="197"/>
                    </a:lnTo>
                    <a:lnTo>
                      <a:pt x="722" y="199"/>
                    </a:lnTo>
                    <a:lnTo>
                      <a:pt x="727" y="202"/>
                    </a:lnTo>
                    <a:lnTo>
                      <a:pt x="729" y="207"/>
                    </a:lnTo>
                    <a:lnTo>
                      <a:pt x="730" y="210"/>
                    </a:lnTo>
                    <a:lnTo>
                      <a:pt x="729" y="213"/>
                    </a:lnTo>
                    <a:lnTo>
                      <a:pt x="727" y="222"/>
                    </a:lnTo>
                    <a:lnTo>
                      <a:pt x="726" y="239"/>
                    </a:lnTo>
                    <a:lnTo>
                      <a:pt x="726" y="245"/>
                    </a:lnTo>
                    <a:lnTo>
                      <a:pt x="727" y="249"/>
                    </a:lnTo>
                    <a:lnTo>
                      <a:pt x="731" y="255"/>
                    </a:lnTo>
                    <a:lnTo>
                      <a:pt x="734" y="259"/>
                    </a:lnTo>
                    <a:lnTo>
                      <a:pt x="738" y="262"/>
                    </a:lnTo>
                    <a:lnTo>
                      <a:pt x="745" y="264"/>
                    </a:lnTo>
                    <a:lnTo>
                      <a:pt x="749" y="264"/>
                    </a:lnTo>
                    <a:lnTo>
                      <a:pt x="753" y="264"/>
                    </a:lnTo>
                    <a:lnTo>
                      <a:pt x="773" y="259"/>
                    </a:lnTo>
                    <a:lnTo>
                      <a:pt x="777" y="258"/>
                    </a:lnTo>
                    <a:lnTo>
                      <a:pt x="780" y="258"/>
                    </a:lnTo>
                    <a:lnTo>
                      <a:pt x="800" y="262"/>
                    </a:lnTo>
                    <a:lnTo>
                      <a:pt x="803" y="263"/>
                    </a:lnTo>
                    <a:lnTo>
                      <a:pt x="807" y="264"/>
                    </a:lnTo>
                    <a:lnTo>
                      <a:pt x="809" y="268"/>
                    </a:lnTo>
                    <a:lnTo>
                      <a:pt x="809" y="269"/>
                    </a:lnTo>
                    <a:lnTo>
                      <a:pt x="805" y="295"/>
                    </a:lnTo>
                    <a:lnTo>
                      <a:pt x="805" y="302"/>
                    </a:lnTo>
                    <a:lnTo>
                      <a:pt x="813" y="363"/>
                    </a:lnTo>
                    <a:lnTo>
                      <a:pt x="813" y="367"/>
                    </a:lnTo>
                    <a:lnTo>
                      <a:pt x="813" y="370"/>
                    </a:lnTo>
                    <a:lnTo>
                      <a:pt x="812" y="374"/>
                    </a:lnTo>
                    <a:lnTo>
                      <a:pt x="810" y="377"/>
                    </a:lnTo>
                    <a:lnTo>
                      <a:pt x="808" y="381"/>
                    </a:lnTo>
                    <a:lnTo>
                      <a:pt x="803" y="388"/>
                    </a:lnTo>
                    <a:lnTo>
                      <a:pt x="801" y="391"/>
                    </a:lnTo>
                    <a:lnTo>
                      <a:pt x="800" y="395"/>
                    </a:lnTo>
                    <a:lnTo>
                      <a:pt x="799" y="399"/>
                    </a:lnTo>
                    <a:lnTo>
                      <a:pt x="802" y="429"/>
                    </a:lnTo>
                    <a:lnTo>
                      <a:pt x="800" y="437"/>
                    </a:lnTo>
                    <a:lnTo>
                      <a:pt x="794" y="462"/>
                    </a:lnTo>
                    <a:lnTo>
                      <a:pt x="793" y="466"/>
                    </a:lnTo>
                    <a:lnTo>
                      <a:pt x="794" y="470"/>
                    </a:lnTo>
                    <a:lnTo>
                      <a:pt x="794" y="474"/>
                    </a:lnTo>
                    <a:lnTo>
                      <a:pt x="796" y="477"/>
                    </a:lnTo>
                    <a:lnTo>
                      <a:pt x="840" y="543"/>
                    </a:lnTo>
                    <a:lnTo>
                      <a:pt x="823" y="550"/>
                    </a:lnTo>
                    <a:lnTo>
                      <a:pt x="796" y="566"/>
                    </a:lnTo>
                    <a:lnTo>
                      <a:pt x="790" y="567"/>
                    </a:lnTo>
                    <a:lnTo>
                      <a:pt x="786" y="568"/>
                    </a:lnTo>
                    <a:lnTo>
                      <a:pt x="774" y="564"/>
                    </a:lnTo>
                    <a:lnTo>
                      <a:pt x="770" y="563"/>
                    </a:lnTo>
                    <a:lnTo>
                      <a:pt x="765" y="563"/>
                    </a:lnTo>
                    <a:lnTo>
                      <a:pt x="758" y="564"/>
                    </a:lnTo>
                    <a:lnTo>
                      <a:pt x="753" y="566"/>
                    </a:lnTo>
                    <a:lnTo>
                      <a:pt x="742" y="570"/>
                    </a:lnTo>
                    <a:lnTo>
                      <a:pt x="740" y="571"/>
                    </a:lnTo>
                    <a:lnTo>
                      <a:pt x="736" y="572"/>
                    </a:lnTo>
                    <a:lnTo>
                      <a:pt x="726" y="572"/>
                    </a:lnTo>
                    <a:lnTo>
                      <a:pt x="720" y="573"/>
                    </a:lnTo>
                    <a:lnTo>
                      <a:pt x="716" y="574"/>
                    </a:lnTo>
                    <a:lnTo>
                      <a:pt x="711" y="577"/>
                    </a:lnTo>
                    <a:lnTo>
                      <a:pt x="705" y="584"/>
                    </a:lnTo>
                    <a:lnTo>
                      <a:pt x="700" y="588"/>
                    </a:lnTo>
                    <a:lnTo>
                      <a:pt x="667" y="606"/>
                    </a:lnTo>
                    <a:lnTo>
                      <a:pt x="625" y="645"/>
                    </a:lnTo>
                    <a:lnTo>
                      <a:pt x="619" y="649"/>
                    </a:lnTo>
                    <a:lnTo>
                      <a:pt x="610" y="654"/>
                    </a:lnTo>
                    <a:lnTo>
                      <a:pt x="605" y="656"/>
                    </a:lnTo>
                    <a:lnTo>
                      <a:pt x="599" y="657"/>
                    </a:lnTo>
                    <a:lnTo>
                      <a:pt x="596" y="655"/>
                    </a:lnTo>
                    <a:lnTo>
                      <a:pt x="592" y="653"/>
                    </a:lnTo>
                    <a:lnTo>
                      <a:pt x="590" y="650"/>
                    </a:lnTo>
                    <a:lnTo>
                      <a:pt x="586" y="646"/>
                    </a:lnTo>
                    <a:lnTo>
                      <a:pt x="569" y="611"/>
                    </a:lnTo>
                    <a:lnTo>
                      <a:pt x="567" y="606"/>
                    </a:lnTo>
                    <a:lnTo>
                      <a:pt x="557" y="598"/>
                    </a:lnTo>
                    <a:lnTo>
                      <a:pt x="553" y="597"/>
                    </a:lnTo>
                    <a:lnTo>
                      <a:pt x="549" y="596"/>
                    </a:lnTo>
                    <a:lnTo>
                      <a:pt x="546" y="597"/>
                    </a:lnTo>
                    <a:lnTo>
                      <a:pt x="531" y="605"/>
                    </a:lnTo>
                    <a:lnTo>
                      <a:pt x="527" y="607"/>
                    </a:lnTo>
                    <a:lnTo>
                      <a:pt x="523" y="609"/>
                    </a:lnTo>
                    <a:lnTo>
                      <a:pt x="505" y="609"/>
                    </a:lnTo>
                    <a:lnTo>
                      <a:pt x="500" y="609"/>
                    </a:lnTo>
                    <a:lnTo>
                      <a:pt x="495" y="611"/>
                    </a:lnTo>
                    <a:lnTo>
                      <a:pt x="487" y="614"/>
                    </a:lnTo>
                    <a:lnTo>
                      <a:pt x="482" y="615"/>
                    </a:lnTo>
                    <a:lnTo>
                      <a:pt x="478" y="615"/>
                    </a:lnTo>
                    <a:lnTo>
                      <a:pt x="477" y="614"/>
                    </a:lnTo>
                    <a:lnTo>
                      <a:pt x="474" y="612"/>
                    </a:lnTo>
                    <a:lnTo>
                      <a:pt x="471" y="609"/>
                    </a:lnTo>
                    <a:lnTo>
                      <a:pt x="470" y="605"/>
                    </a:lnTo>
                    <a:lnTo>
                      <a:pt x="464" y="591"/>
                    </a:lnTo>
                    <a:lnTo>
                      <a:pt x="462" y="588"/>
                    </a:lnTo>
                    <a:lnTo>
                      <a:pt x="458" y="584"/>
                    </a:lnTo>
                    <a:lnTo>
                      <a:pt x="453" y="582"/>
                    </a:lnTo>
                    <a:lnTo>
                      <a:pt x="449" y="582"/>
                    </a:lnTo>
                    <a:lnTo>
                      <a:pt x="445" y="582"/>
                    </a:lnTo>
                    <a:lnTo>
                      <a:pt x="441" y="583"/>
                    </a:lnTo>
                    <a:lnTo>
                      <a:pt x="438" y="586"/>
                    </a:lnTo>
                    <a:lnTo>
                      <a:pt x="435" y="589"/>
                    </a:lnTo>
                    <a:lnTo>
                      <a:pt x="434" y="591"/>
                    </a:lnTo>
                    <a:lnTo>
                      <a:pt x="433" y="593"/>
                    </a:lnTo>
                    <a:lnTo>
                      <a:pt x="433" y="597"/>
                    </a:lnTo>
                    <a:lnTo>
                      <a:pt x="432" y="600"/>
                    </a:lnTo>
                    <a:lnTo>
                      <a:pt x="432" y="604"/>
                    </a:lnTo>
                    <a:lnTo>
                      <a:pt x="433" y="612"/>
                    </a:lnTo>
                    <a:lnTo>
                      <a:pt x="436" y="622"/>
                    </a:lnTo>
                    <a:lnTo>
                      <a:pt x="437" y="628"/>
                    </a:lnTo>
                    <a:lnTo>
                      <a:pt x="437" y="629"/>
                    </a:lnTo>
                    <a:lnTo>
                      <a:pt x="435" y="634"/>
                    </a:lnTo>
                    <a:lnTo>
                      <a:pt x="424" y="655"/>
                    </a:lnTo>
                    <a:lnTo>
                      <a:pt x="419" y="667"/>
                    </a:lnTo>
                    <a:lnTo>
                      <a:pt x="417" y="671"/>
                    </a:lnTo>
                    <a:lnTo>
                      <a:pt x="413" y="674"/>
                    </a:lnTo>
                    <a:lnTo>
                      <a:pt x="409" y="676"/>
                    </a:lnTo>
                    <a:lnTo>
                      <a:pt x="405" y="677"/>
                    </a:lnTo>
                    <a:lnTo>
                      <a:pt x="388" y="680"/>
                    </a:lnTo>
                    <a:lnTo>
                      <a:pt x="384" y="681"/>
                    </a:lnTo>
                    <a:lnTo>
                      <a:pt x="380" y="683"/>
                    </a:lnTo>
                    <a:lnTo>
                      <a:pt x="376" y="686"/>
                    </a:lnTo>
                    <a:lnTo>
                      <a:pt x="363" y="699"/>
                    </a:lnTo>
                    <a:lnTo>
                      <a:pt x="360" y="703"/>
                    </a:lnTo>
                    <a:lnTo>
                      <a:pt x="360" y="706"/>
                    </a:lnTo>
                    <a:lnTo>
                      <a:pt x="361" y="710"/>
                    </a:lnTo>
                    <a:lnTo>
                      <a:pt x="364" y="712"/>
                    </a:lnTo>
                    <a:lnTo>
                      <a:pt x="367" y="714"/>
                    </a:lnTo>
                    <a:lnTo>
                      <a:pt x="380" y="718"/>
                    </a:lnTo>
                    <a:lnTo>
                      <a:pt x="381" y="719"/>
                    </a:lnTo>
                    <a:lnTo>
                      <a:pt x="384" y="722"/>
                    </a:lnTo>
                    <a:lnTo>
                      <a:pt x="386" y="726"/>
                    </a:lnTo>
                    <a:lnTo>
                      <a:pt x="387" y="730"/>
                    </a:lnTo>
                    <a:lnTo>
                      <a:pt x="387" y="734"/>
                    </a:lnTo>
                    <a:lnTo>
                      <a:pt x="385" y="752"/>
                    </a:lnTo>
                    <a:lnTo>
                      <a:pt x="385" y="756"/>
                    </a:lnTo>
                    <a:lnTo>
                      <a:pt x="388" y="767"/>
                    </a:lnTo>
                    <a:lnTo>
                      <a:pt x="388" y="771"/>
                    </a:lnTo>
                    <a:lnTo>
                      <a:pt x="388" y="786"/>
                    </a:lnTo>
                    <a:lnTo>
                      <a:pt x="388" y="789"/>
                    </a:lnTo>
                    <a:lnTo>
                      <a:pt x="388" y="793"/>
                    </a:lnTo>
                    <a:lnTo>
                      <a:pt x="390" y="796"/>
                    </a:lnTo>
                    <a:lnTo>
                      <a:pt x="393" y="799"/>
                    </a:lnTo>
                    <a:lnTo>
                      <a:pt x="395" y="800"/>
                    </a:lnTo>
                    <a:lnTo>
                      <a:pt x="408" y="807"/>
                    </a:lnTo>
                    <a:lnTo>
                      <a:pt x="411" y="811"/>
                    </a:lnTo>
                    <a:lnTo>
                      <a:pt x="422" y="826"/>
                    </a:lnTo>
                    <a:lnTo>
                      <a:pt x="425" y="828"/>
                    </a:lnTo>
                    <a:lnTo>
                      <a:pt x="430" y="830"/>
                    </a:lnTo>
                    <a:lnTo>
                      <a:pt x="434" y="831"/>
                    </a:lnTo>
                    <a:lnTo>
                      <a:pt x="438" y="831"/>
                    </a:lnTo>
                    <a:lnTo>
                      <a:pt x="442" y="830"/>
                    </a:lnTo>
                    <a:lnTo>
                      <a:pt x="446" y="829"/>
                    </a:lnTo>
                    <a:lnTo>
                      <a:pt x="448" y="827"/>
                    </a:lnTo>
                    <a:lnTo>
                      <a:pt x="452" y="825"/>
                    </a:lnTo>
                    <a:lnTo>
                      <a:pt x="454" y="822"/>
                    </a:lnTo>
                    <a:lnTo>
                      <a:pt x="455" y="818"/>
                    </a:lnTo>
                    <a:lnTo>
                      <a:pt x="459" y="799"/>
                    </a:lnTo>
                    <a:lnTo>
                      <a:pt x="470" y="771"/>
                    </a:lnTo>
                    <a:lnTo>
                      <a:pt x="475" y="763"/>
                    </a:lnTo>
                    <a:lnTo>
                      <a:pt x="477" y="760"/>
                    </a:lnTo>
                    <a:lnTo>
                      <a:pt x="478" y="759"/>
                    </a:lnTo>
                    <a:lnTo>
                      <a:pt x="481" y="757"/>
                    </a:lnTo>
                    <a:lnTo>
                      <a:pt x="485" y="757"/>
                    </a:lnTo>
                    <a:lnTo>
                      <a:pt x="501" y="757"/>
                    </a:lnTo>
                    <a:lnTo>
                      <a:pt x="506" y="756"/>
                    </a:lnTo>
                    <a:lnTo>
                      <a:pt x="510" y="754"/>
                    </a:lnTo>
                    <a:lnTo>
                      <a:pt x="518" y="751"/>
                    </a:lnTo>
                    <a:lnTo>
                      <a:pt x="525" y="750"/>
                    </a:lnTo>
                    <a:lnTo>
                      <a:pt x="528" y="751"/>
                    </a:lnTo>
                    <a:lnTo>
                      <a:pt x="531" y="752"/>
                    </a:lnTo>
                    <a:lnTo>
                      <a:pt x="533" y="754"/>
                    </a:lnTo>
                    <a:lnTo>
                      <a:pt x="535" y="757"/>
                    </a:lnTo>
                    <a:lnTo>
                      <a:pt x="538" y="760"/>
                    </a:lnTo>
                    <a:lnTo>
                      <a:pt x="538" y="765"/>
                    </a:lnTo>
                    <a:lnTo>
                      <a:pt x="538" y="768"/>
                    </a:lnTo>
                    <a:lnTo>
                      <a:pt x="538" y="772"/>
                    </a:lnTo>
                    <a:lnTo>
                      <a:pt x="533" y="795"/>
                    </a:lnTo>
                    <a:lnTo>
                      <a:pt x="533" y="798"/>
                    </a:lnTo>
                    <a:lnTo>
                      <a:pt x="533" y="803"/>
                    </a:lnTo>
                    <a:lnTo>
                      <a:pt x="534" y="807"/>
                    </a:lnTo>
                    <a:lnTo>
                      <a:pt x="541" y="819"/>
                    </a:lnTo>
                    <a:lnTo>
                      <a:pt x="542" y="823"/>
                    </a:lnTo>
                    <a:lnTo>
                      <a:pt x="542" y="827"/>
                    </a:lnTo>
                    <a:lnTo>
                      <a:pt x="537" y="846"/>
                    </a:lnTo>
                    <a:lnTo>
                      <a:pt x="535" y="849"/>
                    </a:lnTo>
                    <a:lnTo>
                      <a:pt x="533" y="852"/>
                    </a:lnTo>
                    <a:lnTo>
                      <a:pt x="530" y="855"/>
                    </a:lnTo>
                    <a:lnTo>
                      <a:pt x="527" y="856"/>
                    </a:lnTo>
                    <a:lnTo>
                      <a:pt x="524" y="856"/>
                    </a:lnTo>
                    <a:lnTo>
                      <a:pt x="522" y="856"/>
                    </a:lnTo>
                    <a:lnTo>
                      <a:pt x="503" y="855"/>
                    </a:lnTo>
                    <a:lnTo>
                      <a:pt x="500" y="855"/>
                    </a:lnTo>
                    <a:lnTo>
                      <a:pt x="496" y="856"/>
                    </a:lnTo>
                    <a:lnTo>
                      <a:pt x="493" y="856"/>
                    </a:lnTo>
                    <a:lnTo>
                      <a:pt x="485" y="861"/>
                    </a:lnTo>
                    <a:lnTo>
                      <a:pt x="477" y="867"/>
                    </a:lnTo>
                    <a:lnTo>
                      <a:pt x="473" y="869"/>
                    </a:lnTo>
                    <a:lnTo>
                      <a:pt x="470" y="869"/>
                    </a:lnTo>
                    <a:lnTo>
                      <a:pt x="466" y="867"/>
                    </a:lnTo>
                    <a:lnTo>
                      <a:pt x="463" y="865"/>
                    </a:lnTo>
                    <a:lnTo>
                      <a:pt x="461" y="864"/>
                    </a:lnTo>
                    <a:lnTo>
                      <a:pt x="460" y="865"/>
                    </a:lnTo>
                    <a:lnTo>
                      <a:pt x="459" y="869"/>
                    </a:lnTo>
                    <a:lnTo>
                      <a:pt x="458" y="909"/>
                    </a:lnTo>
                    <a:lnTo>
                      <a:pt x="459" y="917"/>
                    </a:lnTo>
                    <a:lnTo>
                      <a:pt x="460" y="921"/>
                    </a:lnTo>
                    <a:lnTo>
                      <a:pt x="461" y="925"/>
                    </a:lnTo>
                    <a:lnTo>
                      <a:pt x="463" y="928"/>
                    </a:lnTo>
                    <a:lnTo>
                      <a:pt x="466" y="931"/>
                    </a:lnTo>
                    <a:lnTo>
                      <a:pt x="470" y="932"/>
                    </a:lnTo>
                    <a:lnTo>
                      <a:pt x="472" y="933"/>
                    </a:lnTo>
                    <a:lnTo>
                      <a:pt x="491" y="933"/>
                    </a:lnTo>
                    <a:lnTo>
                      <a:pt x="498" y="934"/>
                    </a:lnTo>
                    <a:lnTo>
                      <a:pt x="505" y="935"/>
                    </a:lnTo>
                    <a:lnTo>
                      <a:pt x="508" y="937"/>
                    </a:lnTo>
                    <a:lnTo>
                      <a:pt x="512" y="939"/>
                    </a:lnTo>
                    <a:lnTo>
                      <a:pt x="515" y="941"/>
                    </a:lnTo>
                    <a:lnTo>
                      <a:pt x="516" y="945"/>
                    </a:lnTo>
                    <a:lnTo>
                      <a:pt x="528" y="980"/>
                    </a:lnTo>
                    <a:lnTo>
                      <a:pt x="530" y="986"/>
                    </a:lnTo>
                    <a:lnTo>
                      <a:pt x="530" y="990"/>
                    </a:lnTo>
                    <a:lnTo>
                      <a:pt x="529" y="994"/>
                    </a:lnTo>
                    <a:lnTo>
                      <a:pt x="523" y="1017"/>
                    </a:lnTo>
                    <a:lnTo>
                      <a:pt x="520" y="1024"/>
                    </a:lnTo>
                    <a:lnTo>
                      <a:pt x="517" y="1027"/>
                    </a:lnTo>
                    <a:lnTo>
                      <a:pt x="515" y="1030"/>
                    </a:lnTo>
                    <a:lnTo>
                      <a:pt x="504" y="1036"/>
                    </a:lnTo>
                    <a:lnTo>
                      <a:pt x="501" y="1038"/>
                    </a:lnTo>
                    <a:lnTo>
                      <a:pt x="499" y="1040"/>
                    </a:lnTo>
                    <a:lnTo>
                      <a:pt x="497" y="1044"/>
                    </a:lnTo>
                    <a:lnTo>
                      <a:pt x="493" y="1051"/>
                    </a:lnTo>
                    <a:lnTo>
                      <a:pt x="492" y="1049"/>
                    </a:lnTo>
                    <a:lnTo>
                      <a:pt x="491" y="1046"/>
                    </a:lnTo>
                    <a:lnTo>
                      <a:pt x="490" y="1045"/>
                    </a:lnTo>
                    <a:lnTo>
                      <a:pt x="489" y="1044"/>
                    </a:lnTo>
                    <a:lnTo>
                      <a:pt x="487" y="1043"/>
                    </a:lnTo>
                    <a:lnTo>
                      <a:pt x="487" y="1042"/>
                    </a:lnTo>
                    <a:lnTo>
                      <a:pt x="487" y="1039"/>
                    </a:lnTo>
                    <a:lnTo>
                      <a:pt x="484" y="1039"/>
                    </a:lnTo>
                    <a:lnTo>
                      <a:pt x="481" y="1038"/>
                    </a:lnTo>
                    <a:lnTo>
                      <a:pt x="482" y="1036"/>
                    </a:lnTo>
                    <a:lnTo>
                      <a:pt x="483" y="1035"/>
                    </a:lnTo>
                    <a:lnTo>
                      <a:pt x="482" y="1033"/>
                    </a:lnTo>
                    <a:lnTo>
                      <a:pt x="480" y="1032"/>
                    </a:lnTo>
                    <a:lnTo>
                      <a:pt x="478" y="1032"/>
                    </a:lnTo>
                    <a:lnTo>
                      <a:pt x="477" y="1033"/>
                    </a:lnTo>
                    <a:lnTo>
                      <a:pt x="478" y="1030"/>
                    </a:lnTo>
                    <a:lnTo>
                      <a:pt x="478" y="1028"/>
                    </a:lnTo>
                    <a:lnTo>
                      <a:pt x="478" y="1027"/>
                    </a:lnTo>
                    <a:lnTo>
                      <a:pt x="478" y="1024"/>
                    </a:lnTo>
                    <a:lnTo>
                      <a:pt x="478" y="1024"/>
                    </a:lnTo>
                    <a:lnTo>
                      <a:pt x="475" y="1023"/>
                    </a:lnTo>
                    <a:lnTo>
                      <a:pt x="473" y="1024"/>
                    </a:lnTo>
                    <a:lnTo>
                      <a:pt x="473" y="1021"/>
                    </a:lnTo>
                    <a:lnTo>
                      <a:pt x="473" y="1017"/>
                    </a:lnTo>
                    <a:lnTo>
                      <a:pt x="471" y="1014"/>
                    </a:lnTo>
                    <a:lnTo>
                      <a:pt x="470" y="1012"/>
                    </a:lnTo>
                    <a:lnTo>
                      <a:pt x="470" y="1009"/>
                    </a:lnTo>
                    <a:lnTo>
                      <a:pt x="468" y="1003"/>
                    </a:lnTo>
                    <a:lnTo>
                      <a:pt x="467" y="1000"/>
                    </a:lnTo>
                    <a:lnTo>
                      <a:pt x="467" y="991"/>
                    </a:lnTo>
                    <a:lnTo>
                      <a:pt x="466" y="989"/>
                    </a:lnTo>
                    <a:lnTo>
                      <a:pt x="464" y="988"/>
                    </a:lnTo>
                    <a:lnTo>
                      <a:pt x="463" y="987"/>
                    </a:lnTo>
                    <a:lnTo>
                      <a:pt x="463" y="985"/>
                    </a:lnTo>
                    <a:lnTo>
                      <a:pt x="463" y="984"/>
                    </a:lnTo>
                    <a:lnTo>
                      <a:pt x="456" y="979"/>
                    </a:lnTo>
                    <a:lnTo>
                      <a:pt x="455" y="978"/>
                    </a:lnTo>
                    <a:lnTo>
                      <a:pt x="455" y="976"/>
                    </a:lnTo>
                    <a:lnTo>
                      <a:pt x="455" y="974"/>
                    </a:lnTo>
                    <a:lnTo>
                      <a:pt x="454" y="972"/>
                    </a:lnTo>
                    <a:lnTo>
                      <a:pt x="450" y="971"/>
                    </a:lnTo>
                    <a:lnTo>
                      <a:pt x="448" y="969"/>
                    </a:lnTo>
                    <a:lnTo>
                      <a:pt x="448" y="970"/>
                    </a:lnTo>
                    <a:lnTo>
                      <a:pt x="446" y="971"/>
                    </a:lnTo>
                    <a:lnTo>
                      <a:pt x="445" y="971"/>
                    </a:lnTo>
                    <a:lnTo>
                      <a:pt x="443" y="970"/>
                    </a:lnTo>
                    <a:lnTo>
                      <a:pt x="441" y="970"/>
                    </a:lnTo>
                    <a:lnTo>
                      <a:pt x="440" y="968"/>
                    </a:lnTo>
                    <a:lnTo>
                      <a:pt x="439" y="966"/>
                    </a:lnTo>
                    <a:lnTo>
                      <a:pt x="434" y="956"/>
                    </a:lnTo>
                    <a:lnTo>
                      <a:pt x="433" y="954"/>
                    </a:lnTo>
                    <a:lnTo>
                      <a:pt x="430" y="951"/>
                    </a:lnTo>
                    <a:lnTo>
                      <a:pt x="429" y="949"/>
                    </a:lnTo>
                    <a:lnTo>
                      <a:pt x="429" y="947"/>
                    </a:lnTo>
                    <a:lnTo>
                      <a:pt x="429" y="943"/>
                    </a:lnTo>
                    <a:lnTo>
                      <a:pt x="433" y="932"/>
                    </a:lnTo>
                    <a:lnTo>
                      <a:pt x="434" y="928"/>
                    </a:lnTo>
                    <a:lnTo>
                      <a:pt x="434" y="927"/>
                    </a:lnTo>
                    <a:lnTo>
                      <a:pt x="435" y="926"/>
                    </a:lnTo>
                    <a:lnTo>
                      <a:pt x="435" y="925"/>
                    </a:lnTo>
                    <a:lnTo>
                      <a:pt x="434" y="923"/>
                    </a:lnTo>
                    <a:lnTo>
                      <a:pt x="433" y="923"/>
                    </a:lnTo>
                    <a:lnTo>
                      <a:pt x="429" y="920"/>
                    </a:lnTo>
                    <a:lnTo>
                      <a:pt x="429" y="920"/>
                    </a:lnTo>
                    <a:lnTo>
                      <a:pt x="422" y="918"/>
                    </a:lnTo>
                    <a:lnTo>
                      <a:pt x="420" y="913"/>
                    </a:lnTo>
                    <a:lnTo>
                      <a:pt x="420" y="912"/>
                    </a:lnTo>
                    <a:lnTo>
                      <a:pt x="418" y="908"/>
                    </a:lnTo>
                    <a:lnTo>
                      <a:pt x="417" y="907"/>
                    </a:lnTo>
                    <a:lnTo>
                      <a:pt x="417" y="905"/>
                    </a:lnTo>
                    <a:lnTo>
                      <a:pt x="417" y="903"/>
                    </a:lnTo>
                    <a:lnTo>
                      <a:pt x="418" y="900"/>
                    </a:lnTo>
                    <a:lnTo>
                      <a:pt x="418" y="898"/>
                    </a:lnTo>
                    <a:lnTo>
                      <a:pt x="420" y="895"/>
                    </a:lnTo>
                    <a:lnTo>
                      <a:pt x="420" y="892"/>
                    </a:lnTo>
                    <a:lnTo>
                      <a:pt x="421" y="888"/>
                    </a:lnTo>
                    <a:lnTo>
                      <a:pt x="424" y="884"/>
                    </a:lnTo>
                    <a:lnTo>
                      <a:pt x="422" y="881"/>
                    </a:lnTo>
                    <a:lnTo>
                      <a:pt x="418" y="879"/>
                    </a:lnTo>
                    <a:lnTo>
                      <a:pt x="415" y="878"/>
                    </a:lnTo>
                    <a:lnTo>
                      <a:pt x="408" y="876"/>
                    </a:lnTo>
                    <a:lnTo>
                      <a:pt x="405" y="873"/>
                    </a:lnTo>
                    <a:lnTo>
                      <a:pt x="403" y="869"/>
                    </a:lnTo>
                    <a:lnTo>
                      <a:pt x="401" y="865"/>
                    </a:lnTo>
                    <a:lnTo>
                      <a:pt x="401" y="864"/>
                    </a:lnTo>
                    <a:lnTo>
                      <a:pt x="401" y="861"/>
                    </a:lnTo>
                    <a:lnTo>
                      <a:pt x="402" y="857"/>
                    </a:lnTo>
                    <a:lnTo>
                      <a:pt x="402" y="856"/>
                    </a:lnTo>
                    <a:lnTo>
                      <a:pt x="401" y="852"/>
                    </a:lnTo>
                    <a:lnTo>
                      <a:pt x="401" y="850"/>
                    </a:lnTo>
                    <a:lnTo>
                      <a:pt x="400" y="848"/>
                    </a:lnTo>
                    <a:lnTo>
                      <a:pt x="397" y="847"/>
                    </a:lnTo>
                    <a:lnTo>
                      <a:pt x="395" y="846"/>
                    </a:lnTo>
                    <a:lnTo>
                      <a:pt x="395" y="841"/>
                    </a:lnTo>
                    <a:lnTo>
                      <a:pt x="394" y="840"/>
                    </a:lnTo>
                    <a:lnTo>
                      <a:pt x="391" y="839"/>
                    </a:lnTo>
                    <a:lnTo>
                      <a:pt x="387" y="835"/>
                    </a:lnTo>
                    <a:lnTo>
                      <a:pt x="387" y="832"/>
                    </a:lnTo>
                    <a:lnTo>
                      <a:pt x="387" y="830"/>
                    </a:lnTo>
                    <a:lnTo>
                      <a:pt x="385" y="827"/>
                    </a:lnTo>
                    <a:lnTo>
                      <a:pt x="384" y="824"/>
                    </a:lnTo>
                    <a:lnTo>
                      <a:pt x="383" y="821"/>
                    </a:lnTo>
                    <a:lnTo>
                      <a:pt x="383" y="819"/>
                    </a:lnTo>
                    <a:lnTo>
                      <a:pt x="385" y="818"/>
                    </a:lnTo>
                    <a:lnTo>
                      <a:pt x="386" y="816"/>
                    </a:lnTo>
                    <a:lnTo>
                      <a:pt x="387" y="815"/>
                    </a:lnTo>
                    <a:lnTo>
                      <a:pt x="386" y="813"/>
                    </a:lnTo>
                    <a:lnTo>
                      <a:pt x="387" y="811"/>
                    </a:lnTo>
                    <a:lnTo>
                      <a:pt x="386" y="810"/>
                    </a:lnTo>
                    <a:lnTo>
                      <a:pt x="385" y="808"/>
                    </a:lnTo>
                    <a:lnTo>
                      <a:pt x="385" y="806"/>
                    </a:lnTo>
                    <a:lnTo>
                      <a:pt x="370" y="801"/>
                    </a:lnTo>
                    <a:lnTo>
                      <a:pt x="366" y="798"/>
                    </a:lnTo>
                    <a:lnTo>
                      <a:pt x="357" y="789"/>
                    </a:lnTo>
                    <a:lnTo>
                      <a:pt x="354" y="788"/>
                    </a:lnTo>
                    <a:lnTo>
                      <a:pt x="354" y="787"/>
                    </a:lnTo>
                    <a:lnTo>
                      <a:pt x="356" y="787"/>
                    </a:lnTo>
                    <a:lnTo>
                      <a:pt x="359" y="789"/>
                    </a:lnTo>
                    <a:lnTo>
                      <a:pt x="360" y="781"/>
                    </a:lnTo>
                    <a:lnTo>
                      <a:pt x="360" y="772"/>
                    </a:lnTo>
                    <a:lnTo>
                      <a:pt x="358" y="769"/>
                    </a:lnTo>
                    <a:lnTo>
                      <a:pt x="351" y="757"/>
                    </a:lnTo>
                    <a:lnTo>
                      <a:pt x="348" y="756"/>
                    </a:lnTo>
                    <a:lnTo>
                      <a:pt x="339" y="754"/>
                    </a:lnTo>
                    <a:lnTo>
                      <a:pt x="335" y="755"/>
                    </a:lnTo>
                    <a:lnTo>
                      <a:pt x="335" y="756"/>
                    </a:lnTo>
                    <a:lnTo>
                      <a:pt x="336" y="761"/>
                    </a:lnTo>
                    <a:lnTo>
                      <a:pt x="334" y="758"/>
                    </a:lnTo>
                    <a:lnTo>
                      <a:pt x="332" y="755"/>
                    </a:lnTo>
                    <a:lnTo>
                      <a:pt x="330" y="751"/>
                    </a:lnTo>
                    <a:lnTo>
                      <a:pt x="330" y="749"/>
                    </a:lnTo>
                    <a:lnTo>
                      <a:pt x="327" y="749"/>
                    </a:lnTo>
                    <a:lnTo>
                      <a:pt x="321" y="738"/>
                    </a:lnTo>
                    <a:lnTo>
                      <a:pt x="316" y="734"/>
                    </a:lnTo>
                    <a:lnTo>
                      <a:pt x="314" y="734"/>
                    </a:lnTo>
                    <a:lnTo>
                      <a:pt x="314" y="733"/>
                    </a:lnTo>
                    <a:lnTo>
                      <a:pt x="317" y="727"/>
                    </a:lnTo>
                    <a:lnTo>
                      <a:pt x="316" y="725"/>
                    </a:lnTo>
                    <a:lnTo>
                      <a:pt x="314" y="723"/>
                    </a:lnTo>
                    <a:lnTo>
                      <a:pt x="309" y="720"/>
                    </a:lnTo>
                    <a:lnTo>
                      <a:pt x="303" y="717"/>
                    </a:lnTo>
                    <a:lnTo>
                      <a:pt x="301" y="716"/>
                    </a:lnTo>
                    <a:lnTo>
                      <a:pt x="299" y="713"/>
                    </a:lnTo>
                    <a:lnTo>
                      <a:pt x="297" y="712"/>
                    </a:lnTo>
                    <a:lnTo>
                      <a:pt x="292" y="706"/>
                    </a:lnTo>
                    <a:lnTo>
                      <a:pt x="291" y="705"/>
                    </a:lnTo>
                    <a:lnTo>
                      <a:pt x="287" y="704"/>
                    </a:lnTo>
                    <a:lnTo>
                      <a:pt x="285" y="704"/>
                    </a:lnTo>
                    <a:lnTo>
                      <a:pt x="282" y="704"/>
                    </a:lnTo>
                    <a:lnTo>
                      <a:pt x="279" y="702"/>
                    </a:lnTo>
                    <a:lnTo>
                      <a:pt x="271" y="696"/>
                    </a:lnTo>
                    <a:lnTo>
                      <a:pt x="265" y="689"/>
                    </a:lnTo>
                    <a:lnTo>
                      <a:pt x="267" y="686"/>
                    </a:lnTo>
                    <a:lnTo>
                      <a:pt x="263" y="684"/>
                    </a:lnTo>
                    <a:lnTo>
                      <a:pt x="260" y="683"/>
                    </a:lnTo>
                    <a:lnTo>
                      <a:pt x="254" y="682"/>
                    </a:lnTo>
                    <a:lnTo>
                      <a:pt x="253" y="681"/>
                    </a:lnTo>
                    <a:lnTo>
                      <a:pt x="252" y="679"/>
                    </a:lnTo>
                    <a:lnTo>
                      <a:pt x="249" y="676"/>
                    </a:lnTo>
                    <a:lnTo>
                      <a:pt x="247" y="674"/>
                    </a:lnTo>
                    <a:lnTo>
                      <a:pt x="247" y="674"/>
                    </a:lnTo>
                    <a:lnTo>
                      <a:pt x="245" y="673"/>
                    </a:lnTo>
                    <a:lnTo>
                      <a:pt x="240" y="668"/>
                    </a:lnTo>
                    <a:lnTo>
                      <a:pt x="237" y="666"/>
                    </a:lnTo>
                    <a:lnTo>
                      <a:pt x="234" y="666"/>
                    </a:lnTo>
                    <a:lnTo>
                      <a:pt x="230" y="667"/>
                    </a:lnTo>
                    <a:lnTo>
                      <a:pt x="226" y="669"/>
                    </a:lnTo>
                    <a:lnTo>
                      <a:pt x="225" y="670"/>
                    </a:lnTo>
                    <a:lnTo>
                      <a:pt x="221" y="669"/>
                    </a:lnTo>
                    <a:lnTo>
                      <a:pt x="214" y="665"/>
                    </a:lnTo>
                    <a:lnTo>
                      <a:pt x="210" y="663"/>
                    </a:lnTo>
                    <a:lnTo>
                      <a:pt x="210" y="665"/>
                    </a:lnTo>
                    <a:lnTo>
                      <a:pt x="212" y="666"/>
                    </a:lnTo>
                    <a:lnTo>
                      <a:pt x="214" y="668"/>
                    </a:lnTo>
                    <a:lnTo>
                      <a:pt x="216" y="670"/>
                    </a:lnTo>
                    <a:lnTo>
                      <a:pt x="217" y="671"/>
                    </a:lnTo>
                    <a:lnTo>
                      <a:pt x="216" y="672"/>
                    </a:lnTo>
                    <a:lnTo>
                      <a:pt x="214" y="671"/>
                    </a:lnTo>
                    <a:lnTo>
                      <a:pt x="198" y="660"/>
                    </a:lnTo>
                    <a:lnTo>
                      <a:pt x="195" y="658"/>
                    </a:lnTo>
                    <a:lnTo>
                      <a:pt x="192" y="658"/>
                    </a:lnTo>
                    <a:lnTo>
                      <a:pt x="189" y="657"/>
                    </a:lnTo>
                    <a:lnTo>
                      <a:pt x="186" y="655"/>
                    </a:lnTo>
                    <a:lnTo>
                      <a:pt x="184" y="650"/>
                    </a:lnTo>
                    <a:lnTo>
                      <a:pt x="181" y="647"/>
                    </a:lnTo>
                    <a:lnTo>
                      <a:pt x="172" y="640"/>
                    </a:lnTo>
                    <a:lnTo>
                      <a:pt x="168" y="635"/>
                    </a:lnTo>
                    <a:lnTo>
                      <a:pt x="157" y="620"/>
                    </a:lnTo>
                    <a:lnTo>
                      <a:pt x="154" y="616"/>
                    </a:lnTo>
                    <a:lnTo>
                      <a:pt x="154" y="615"/>
                    </a:lnTo>
                    <a:lnTo>
                      <a:pt x="155" y="615"/>
                    </a:lnTo>
                    <a:lnTo>
                      <a:pt x="157" y="615"/>
                    </a:lnTo>
                    <a:lnTo>
                      <a:pt x="158" y="614"/>
                    </a:lnTo>
                    <a:lnTo>
                      <a:pt x="159" y="612"/>
                    </a:lnTo>
                    <a:lnTo>
                      <a:pt x="156" y="612"/>
                    </a:lnTo>
                    <a:lnTo>
                      <a:pt x="154" y="611"/>
                    </a:lnTo>
                    <a:lnTo>
                      <a:pt x="150" y="607"/>
                    </a:lnTo>
                    <a:lnTo>
                      <a:pt x="149" y="605"/>
                    </a:lnTo>
                    <a:lnTo>
                      <a:pt x="148" y="600"/>
                    </a:lnTo>
                    <a:lnTo>
                      <a:pt x="147" y="598"/>
                    </a:lnTo>
                    <a:lnTo>
                      <a:pt x="141" y="591"/>
                    </a:lnTo>
                    <a:lnTo>
                      <a:pt x="141" y="589"/>
                    </a:lnTo>
                    <a:lnTo>
                      <a:pt x="144" y="584"/>
                    </a:lnTo>
                    <a:lnTo>
                      <a:pt x="138" y="582"/>
                    </a:lnTo>
                    <a:lnTo>
                      <a:pt x="136" y="582"/>
                    </a:lnTo>
                    <a:lnTo>
                      <a:pt x="136" y="583"/>
                    </a:lnTo>
                    <a:lnTo>
                      <a:pt x="136" y="584"/>
                    </a:lnTo>
                    <a:lnTo>
                      <a:pt x="132" y="582"/>
                    </a:lnTo>
                    <a:lnTo>
                      <a:pt x="130" y="580"/>
                    </a:lnTo>
                    <a:lnTo>
                      <a:pt x="131" y="577"/>
                    </a:lnTo>
                    <a:lnTo>
                      <a:pt x="130" y="576"/>
                    </a:lnTo>
                    <a:lnTo>
                      <a:pt x="129" y="575"/>
                    </a:lnTo>
                    <a:lnTo>
                      <a:pt x="129" y="574"/>
                    </a:lnTo>
                    <a:lnTo>
                      <a:pt x="130" y="572"/>
                    </a:lnTo>
                    <a:lnTo>
                      <a:pt x="131" y="574"/>
                    </a:lnTo>
                    <a:lnTo>
                      <a:pt x="132" y="574"/>
                    </a:lnTo>
                    <a:lnTo>
                      <a:pt x="134" y="575"/>
                    </a:lnTo>
                    <a:lnTo>
                      <a:pt x="136" y="575"/>
                    </a:lnTo>
                    <a:lnTo>
                      <a:pt x="135" y="574"/>
                    </a:lnTo>
                    <a:lnTo>
                      <a:pt x="134" y="570"/>
                    </a:lnTo>
                    <a:lnTo>
                      <a:pt x="132" y="570"/>
                    </a:lnTo>
                    <a:lnTo>
                      <a:pt x="131" y="570"/>
                    </a:lnTo>
                    <a:lnTo>
                      <a:pt x="129" y="567"/>
                    </a:lnTo>
                    <a:lnTo>
                      <a:pt x="128" y="567"/>
                    </a:lnTo>
                    <a:lnTo>
                      <a:pt x="128" y="570"/>
                    </a:lnTo>
                    <a:lnTo>
                      <a:pt x="124" y="567"/>
                    </a:lnTo>
                    <a:lnTo>
                      <a:pt x="119" y="563"/>
                    </a:lnTo>
                    <a:lnTo>
                      <a:pt x="116" y="559"/>
                    </a:lnTo>
                    <a:lnTo>
                      <a:pt x="117" y="555"/>
                    </a:lnTo>
                    <a:lnTo>
                      <a:pt x="118" y="557"/>
                    </a:lnTo>
                    <a:lnTo>
                      <a:pt x="119" y="558"/>
                    </a:lnTo>
                    <a:lnTo>
                      <a:pt x="120" y="556"/>
                    </a:lnTo>
                    <a:lnTo>
                      <a:pt x="119" y="554"/>
                    </a:lnTo>
                    <a:lnTo>
                      <a:pt x="118" y="553"/>
                    </a:lnTo>
                    <a:lnTo>
                      <a:pt x="117" y="552"/>
                    </a:lnTo>
                    <a:lnTo>
                      <a:pt x="114" y="551"/>
                    </a:lnTo>
                    <a:lnTo>
                      <a:pt x="112" y="551"/>
                    </a:lnTo>
                    <a:lnTo>
                      <a:pt x="109" y="552"/>
                    </a:lnTo>
                    <a:lnTo>
                      <a:pt x="109" y="551"/>
                    </a:lnTo>
                    <a:lnTo>
                      <a:pt x="104" y="544"/>
                    </a:lnTo>
                    <a:lnTo>
                      <a:pt x="103" y="542"/>
                    </a:lnTo>
                    <a:lnTo>
                      <a:pt x="102" y="538"/>
                    </a:lnTo>
                    <a:lnTo>
                      <a:pt x="102" y="535"/>
                    </a:lnTo>
                    <a:lnTo>
                      <a:pt x="102" y="533"/>
                    </a:lnTo>
                    <a:lnTo>
                      <a:pt x="100" y="531"/>
                    </a:lnTo>
                    <a:lnTo>
                      <a:pt x="99" y="529"/>
                    </a:lnTo>
                    <a:lnTo>
                      <a:pt x="99" y="528"/>
                    </a:lnTo>
                    <a:lnTo>
                      <a:pt x="98" y="527"/>
                    </a:lnTo>
                    <a:lnTo>
                      <a:pt x="97" y="526"/>
                    </a:lnTo>
                    <a:lnTo>
                      <a:pt x="90" y="521"/>
                    </a:lnTo>
                    <a:lnTo>
                      <a:pt x="88" y="519"/>
                    </a:lnTo>
                    <a:lnTo>
                      <a:pt x="87" y="514"/>
                    </a:lnTo>
                    <a:lnTo>
                      <a:pt x="86" y="511"/>
                    </a:lnTo>
                    <a:lnTo>
                      <a:pt x="86" y="508"/>
                    </a:lnTo>
                    <a:lnTo>
                      <a:pt x="86" y="508"/>
                    </a:lnTo>
                    <a:lnTo>
                      <a:pt x="87" y="506"/>
                    </a:lnTo>
                    <a:lnTo>
                      <a:pt x="87" y="505"/>
                    </a:lnTo>
                    <a:lnTo>
                      <a:pt x="87" y="502"/>
                    </a:lnTo>
                    <a:lnTo>
                      <a:pt x="80" y="492"/>
                    </a:lnTo>
                    <a:lnTo>
                      <a:pt x="78" y="490"/>
                    </a:lnTo>
                    <a:lnTo>
                      <a:pt x="72" y="482"/>
                    </a:lnTo>
                    <a:lnTo>
                      <a:pt x="86" y="470"/>
                    </a:lnTo>
                    <a:lnTo>
                      <a:pt x="88" y="466"/>
                    </a:lnTo>
                    <a:lnTo>
                      <a:pt x="88" y="460"/>
                    </a:lnTo>
                    <a:lnTo>
                      <a:pt x="87" y="455"/>
                    </a:lnTo>
                    <a:lnTo>
                      <a:pt x="84" y="452"/>
                    </a:lnTo>
                    <a:lnTo>
                      <a:pt x="84" y="452"/>
                    </a:lnTo>
                    <a:lnTo>
                      <a:pt x="87" y="450"/>
                    </a:lnTo>
                    <a:lnTo>
                      <a:pt x="86" y="447"/>
                    </a:lnTo>
                    <a:lnTo>
                      <a:pt x="83" y="441"/>
                    </a:lnTo>
                    <a:lnTo>
                      <a:pt x="81" y="445"/>
                    </a:lnTo>
                    <a:lnTo>
                      <a:pt x="79" y="445"/>
                    </a:lnTo>
                    <a:lnTo>
                      <a:pt x="78" y="444"/>
                    </a:lnTo>
                    <a:lnTo>
                      <a:pt x="76" y="440"/>
                    </a:lnTo>
                    <a:lnTo>
                      <a:pt x="78" y="439"/>
                    </a:lnTo>
                    <a:lnTo>
                      <a:pt x="74" y="435"/>
                    </a:lnTo>
                    <a:lnTo>
                      <a:pt x="74" y="430"/>
                    </a:lnTo>
                    <a:lnTo>
                      <a:pt x="74" y="424"/>
                    </a:lnTo>
                    <a:lnTo>
                      <a:pt x="74" y="419"/>
                    </a:lnTo>
                    <a:lnTo>
                      <a:pt x="72" y="414"/>
                    </a:lnTo>
                    <a:lnTo>
                      <a:pt x="72" y="412"/>
                    </a:lnTo>
                    <a:lnTo>
                      <a:pt x="76" y="410"/>
                    </a:lnTo>
                    <a:lnTo>
                      <a:pt x="77" y="409"/>
                    </a:lnTo>
                    <a:lnTo>
                      <a:pt x="78" y="407"/>
                    </a:lnTo>
                    <a:lnTo>
                      <a:pt x="78" y="404"/>
                    </a:lnTo>
                    <a:lnTo>
                      <a:pt x="76" y="402"/>
                    </a:lnTo>
                    <a:lnTo>
                      <a:pt x="75" y="406"/>
                    </a:lnTo>
                    <a:lnTo>
                      <a:pt x="74" y="407"/>
                    </a:lnTo>
                    <a:lnTo>
                      <a:pt x="72" y="408"/>
                    </a:lnTo>
                    <a:lnTo>
                      <a:pt x="71" y="408"/>
                    </a:lnTo>
                    <a:lnTo>
                      <a:pt x="70" y="407"/>
                    </a:lnTo>
                    <a:lnTo>
                      <a:pt x="70" y="406"/>
                    </a:lnTo>
                    <a:lnTo>
                      <a:pt x="69" y="404"/>
                    </a:lnTo>
                    <a:lnTo>
                      <a:pt x="67" y="402"/>
                    </a:lnTo>
                    <a:lnTo>
                      <a:pt x="66" y="400"/>
                    </a:lnTo>
                    <a:lnTo>
                      <a:pt x="65" y="399"/>
                    </a:lnTo>
                    <a:lnTo>
                      <a:pt x="65" y="396"/>
                    </a:lnTo>
                    <a:lnTo>
                      <a:pt x="64" y="394"/>
                    </a:lnTo>
                    <a:lnTo>
                      <a:pt x="63" y="393"/>
                    </a:lnTo>
                    <a:lnTo>
                      <a:pt x="61" y="391"/>
                    </a:lnTo>
                    <a:lnTo>
                      <a:pt x="56" y="384"/>
                    </a:lnTo>
                    <a:lnTo>
                      <a:pt x="51" y="373"/>
                    </a:lnTo>
                    <a:lnTo>
                      <a:pt x="48" y="358"/>
                    </a:lnTo>
                    <a:lnTo>
                      <a:pt x="48" y="354"/>
                    </a:lnTo>
                    <a:lnTo>
                      <a:pt x="52" y="353"/>
                    </a:lnTo>
                    <a:lnTo>
                      <a:pt x="56" y="358"/>
                    </a:lnTo>
                    <a:lnTo>
                      <a:pt x="60" y="358"/>
                    </a:lnTo>
                    <a:lnTo>
                      <a:pt x="61" y="354"/>
                    </a:lnTo>
                    <a:lnTo>
                      <a:pt x="61" y="351"/>
                    </a:lnTo>
                    <a:lnTo>
                      <a:pt x="61" y="349"/>
                    </a:lnTo>
                    <a:lnTo>
                      <a:pt x="64" y="346"/>
                    </a:lnTo>
                    <a:lnTo>
                      <a:pt x="64" y="346"/>
                    </a:lnTo>
                    <a:lnTo>
                      <a:pt x="65" y="342"/>
                    </a:lnTo>
                    <a:lnTo>
                      <a:pt x="67" y="335"/>
                    </a:lnTo>
                    <a:lnTo>
                      <a:pt x="67" y="331"/>
                    </a:lnTo>
                    <a:lnTo>
                      <a:pt x="66" y="331"/>
                    </a:lnTo>
                    <a:lnTo>
                      <a:pt x="64" y="338"/>
                    </a:lnTo>
                    <a:lnTo>
                      <a:pt x="63" y="335"/>
                    </a:lnTo>
                    <a:lnTo>
                      <a:pt x="63" y="333"/>
                    </a:lnTo>
                    <a:lnTo>
                      <a:pt x="64" y="331"/>
                    </a:lnTo>
                    <a:lnTo>
                      <a:pt x="64" y="328"/>
                    </a:lnTo>
                    <a:lnTo>
                      <a:pt x="64" y="321"/>
                    </a:lnTo>
                    <a:lnTo>
                      <a:pt x="66" y="315"/>
                    </a:lnTo>
                    <a:lnTo>
                      <a:pt x="71" y="309"/>
                    </a:lnTo>
                    <a:lnTo>
                      <a:pt x="73" y="301"/>
                    </a:lnTo>
                    <a:lnTo>
                      <a:pt x="74" y="300"/>
                    </a:lnTo>
                    <a:lnTo>
                      <a:pt x="76" y="299"/>
                    </a:lnTo>
                    <a:lnTo>
                      <a:pt x="78" y="296"/>
                    </a:lnTo>
                    <a:lnTo>
                      <a:pt x="79" y="292"/>
                    </a:lnTo>
                    <a:lnTo>
                      <a:pt x="83" y="289"/>
                    </a:lnTo>
                    <a:lnTo>
                      <a:pt x="83" y="288"/>
                    </a:lnTo>
                    <a:lnTo>
                      <a:pt x="83" y="285"/>
                    </a:lnTo>
                    <a:lnTo>
                      <a:pt x="82" y="284"/>
                    </a:lnTo>
                    <a:lnTo>
                      <a:pt x="80" y="282"/>
                    </a:lnTo>
                    <a:lnTo>
                      <a:pt x="79" y="283"/>
                    </a:lnTo>
                    <a:lnTo>
                      <a:pt x="78" y="285"/>
                    </a:lnTo>
                    <a:lnTo>
                      <a:pt x="76" y="290"/>
                    </a:lnTo>
                    <a:lnTo>
                      <a:pt x="75" y="292"/>
                    </a:lnTo>
                    <a:lnTo>
                      <a:pt x="71" y="292"/>
                    </a:lnTo>
                    <a:lnTo>
                      <a:pt x="71" y="287"/>
                    </a:lnTo>
                    <a:lnTo>
                      <a:pt x="72" y="279"/>
                    </a:lnTo>
                    <a:lnTo>
                      <a:pt x="71" y="270"/>
                    </a:lnTo>
                    <a:lnTo>
                      <a:pt x="72" y="259"/>
                    </a:lnTo>
                    <a:lnTo>
                      <a:pt x="71" y="254"/>
                    </a:lnTo>
                    <a:lnTo>
                      <a:pt x="71" y="252"/>
                    </a:lnTo>
                    <a:lnTo>
                      <a:pt x="65" y="246"/>
                    </a:lnTo>
                    <a:lnTo>
                      <a:pt x="61" y="236"/>
                    </a:lnTo>
                    <a:lnTo>
                      <a:pt x="58" y="230"/>
                    </a:lnTo>
                    <a:lnTo>
                      <a:pt x="56" y="227"/>
                    </a:lnTo>
                    <a:lnTo>
                      <a:pt x="57" y="225"/>
                    </a:lnTo>
                    <a:lnTo>
                      <a:pt x="62" y="221"/>
                    </a:lnTo>
                    <a:lnTo>
                      <a:pt x="62" y="219"/>
                    </a:lnTo>
                    <a:lnTo>
                      <a:pt x="53" y="210"/>
                    </a:lnTo>
                    <a:lnTo>
                      <a:pt x="50" y="208"/>
                    </a:lnTo>
                    <a:lnTo>
                      <a:pt x="49" y="209"/>
                    </a:lnTo>
                    <a:lnTo>
                      <a:pt x="49" y="209"/>
                    </a:lnTo>
                    <a:lnTo>
                      <a:pt x="52" y="213"/>
                    </a:lnTo>
                    <a:lnTo>
                      <a:pt x="53" y="215"/>
                    </a:lnTo>
                    <a:lnTo>
                      <a:pt x="54" y="216"/>
                    </a:lnTo>
                    <a:lnTo>
                      <a:pt x="55" y="220"/>
                    </a:lnTo>
                    <a:lnTo>
                      <a:pt x="56" y="222"/>
                    </a:lnTo>
                    <a:lnTo>
                      <a:pt x="55" y="224"/>
                    </a:lnTo>
                    <a:lnTo>
                      <a:pt x="52" y="218"/>
                    </a:lnTo>
                    <a:lnTo>
                      <a:pt x="48" y="210"/>
                    </a:lnTo>
                    <a:lnTo>
                      <a:pt x="42" y="206"/>
                    </a:lnTo>
                    <a:lnTo>
                      <a:pt x="34" y="190"/>
                    </a:lnTo>
                    <a:lnTo>
                      <a:pt x="34" y="187"/>
                    </a:lnTo>
                    <a:lnTo>
                      <a:pt x="39" y="190"/>
                    </a:lnTo>
                    <a:lnTo>
                      <a:pt x="44" y="202"/>
                    </a:lnTo>
                    <a:lnTo>
                      <a:pt x="48" y="203"/>
                    </a:lnTo>
                    <a:lnTo>
                      <a:pt x="49" y="204"/>
                    </a:lnTo>
                    <a:lnTo>
                      <a:pt x="51" y="204"/>
                    </a:lnTo>
                    <a:lnTo>
                      <a:pt x="52" y="202"/>
                    </a:lnTo>
                    <a:lnTo>
                      <a:pt x="53" y="201"/>
                    </a:lnTo>
                    <a:lnTo>
                      <a:pt x="51" y="199"/>
                    </a:lnTo>
                    <a:lnTo>
                      <a:pt x="49" y="193"/>
                    </a:lnTo>
                    <a:lnTo>
                      <a:pt x="46" y="192"/>
                    </a:lnTo>
                    <a:lnTo>
                      <a:pt x="44" y="190"/>
                    </a:lnTo>
                    <a:lnTo>
                      <a:pt x="43" y="188"/>
                    </a:lnTo>
                    <a:lnTo>
                      <a:pt x="42" y="186"/>
                    </a:lnTo>
                    <a:lnTo>
                      <a:pt x="41" y="183"/>
                    </a:lnTo>
                    <a:lnTo>
                      <a:pt x="38" y="182"/>
                    </a:lnTo>
                    <a:lnTo>
                      <a:pt x="34" y="181"/>
                    </a:lnTo>
                    <a:lnTo>
                      <a:pt x="32" y="179"/>
                    </a:lnTo>
                    <a:lnTo>
                      <a:pt x="28" y="180"/>
                    </a:lnTo>
                    <a:lnTo>
                      <a:pt x="26" y="178"/>
                    </a:lnTo>
                    <a:lnTo>
                      <a:pt x="22" y="170"/>
                    </a:lnTo>
                    <a:lnTo>
                      <a:pt x="24" y="168"/>
                    </a:lnTo>
                    <a:lnTo>
                      <a:pt x="26" y="165"/>
                    </a:lnTo>
                    <a:lnTo>
                      <a:pt x="26" y="163"/>
                    </a:lnTo>
                    <a:lnTo>
                      <a:pt x="26" y="160"/>
                    </a:lnTo>
                    <a:lnTo>
                      <a:pt x="26" y="155"/>
                    </a:lnTo>
                    <a:lnTo>
                      <a:pt x="26" y="152"/>
                    </a:lnTo>
                    <a:lnTo>
                      <a:pt x="26" y="149"/>
                    </a:lnTo>
                    <a:lnTo>
                      <a:pt x="23" y="149"/>
                    </a:lnTo>
                    <a:lnTo>
                      <a:pt x="22" y="151"/>
                    </a:lnTo>
                    <a:lnTo>
                      <a:pt x="19" y="148"/>
                    </a:lnTo>
                    <a:lnTo>
                      <a:pt x="17" y="144"/>
                    </a:lnTo>
                    <a:lnTo>
                      <a:pt x="14" y="138"/>
                    </a:lnTo>
                    <a:lnTo>
                      <a:pt x="11" y="134"/>
                    </a:lnTo>
                    <a:lnTo>
                      <a:pt x="10" y="130"/>
                    </a:lnTo>
                    <a:lnTo>
                      <a:pt x="7" y="127"/>
                    </a:lnTo>
                    <a:lnTo>
                      <a:pt x="7" y="125"/>
                    </a:lnTo>
                    <a:lnTo>
                      <a:pt x="5" y="121"/>
                    </a:lnTo>
                    <a:lnTo>
                      <a:pt x="5" y="119"/>
                    </a:lnTo>
                    <a:lnTo>
                      <a:pt x="4" y="114"/>
                    </a:lnTo>
                    <a:lnTo>
                      <a:pt x="2" y="109"/>
                    </a:lnTo>
                    <a:lnTo>
                      <a:pt x="0" y="103"/>
                    </a:lnTo>
                    <a:lnTo>
                      <a:pt x="0" y="101"/>
                    </a:lnTo>
                    <a:lnTo>
                      <a:pt x="4" y="100"/>
                    </a:lnTo>
                    <a:lnTo>
                      <a:pt x="26" y="98"/>
                    </a:lnTo>
                    <a:lnTo>
                      <a:pt x="37" y="95"/>
                    </a:lnTo>
                    <a:lnTo>
                      <a:pt x="42" y="94"/>
                    </a:lnTo>
                    <a:lnTo>
                      <a:pt x="47" y="96"/>
                    </a:lnTo>
                    <a:lnTo>
                      <a:pt x="50" y="100"/>
                    </a:lnTo>
                    <a:lnTo>
                      <a:pt x="57" y="110"/>
                    </a:lnTo>
                    <a:lnTo>
                      <a:pt x="59" y="113"/>
                    </a:lnTo>
                    <a:lnTo>
                      <a:pt x="72" y="125"/>
                    </a:lnTo>
                    <a:lnTo>
                      <a:pt x="86" y="140"/>
                    </a:lnTo>
                    <a:lnTo>
                      <a:pt x="90" y="144"/>
                    </a:lnTo>
                    <a:lnTo>
                      <a:pt x="94" y="147"/>
                    </a:lnTo>
                    <a:lnTo>
                      <a:pt x="99" y="148"/>
                    </a:lnTo>
                    <a:lnTo>
                      <a:pt x="106" y="148"/>
                    </a:lnTo>
                    <a:lnTo>
                      <a:pt x="124" y="144"/>
                    </a:lnTo>
                    <a:lnTo>
                      <a:pt x="129" y="144"/>
                    </a:lnTo>
                    <a:lnTo>
                      <a:pt x="132" y="146"/>
                    </a:lnTo>
                    <a:lnTo>
                      <a:pt x="133" y="149"/>
                    </a:lnTo>
                    <a:lnTo>
                      <a:pt x="134" y="153"/>
                    </a:lnTo>
                    <a:lnTo>
                      <a:pt x="135" y="160"/>
                    </a:lnTo>
                    <a:lnTo>
                      <a:pt x="137" y="163"/>
                    </a:lnTo>
                    <a:lnTo>
                      <a:pt x="140" y="164"/>
                    </a:lnTo>
                    <a:lnTo>
                      <a:pt x="154" y="162"/>
                    </a:lnTo>
                    <a:lnTo>
                      <a:pt x="189" y="151"/>
                    </a:lnTo>
                    <a:lnTo>
                      <a:pt x="205" y="149"/>
                    </a:lnTo>
                    <a:lnTo>
                      <a:pt x="208" y="149"/>
                    </a:lnTo>
                    <a:lnTo>
                      <a:pt x="212" y="150"/>
                    </a:lnTo>
                    <a:lnTo>
                      <a:pt x="215" y="153"/>
                    </a:lnTo>
                    <a:lnTo>
                      <a:pt x="217" y="156"/>
                    </a:lnTo>
                    <a:lnTo>
                      <a:pt x="218" y="160"/>
                    </a:lnTo>
                    <a:lnTo>
                      <a:pt x="219" y="163"/>
                    </a:lnTo>
                    <a:lnTo>
                      <a:pt x="219" y="169"/>
                    </a:lnTo>
                    <a:lnTo>
                      <a:pt x="217" y="178"/>
                    </a:lnTo>
                    <a:lnTo>
                      <a:pt x="217" y="180"/>
                    </a:lnTo>
                    <a:lnTo>
                      <a:pt x="207" y="202"/>
                    </a:lnTo>
                    <a:lnTo>
                      <a:pt x="207" y="206"/>
                    </a:lnTo>
                    <a:lnTo>
                      <a:pt x="207" y="209"/>
                    </a:lnTo>
                    <a:lnTo>
                      <a:pt x="209" y="213"/>
                    </a:lnTo>
                    <a:lnTo>
                      <a:pt x="213" y="214"/>
                    </a:lnTo>
                    <a:lnTo>
                      <a:pt x="224" y="217"/>
                    </a:lnTo>
                    <a:lnTo>
                      <a:pt x="229" y="220"/>
                    </a:lnTo>
                    <a:lnTo>
                      <a:pt x="232" y="222"/>
                    </a:lnTo>
                    <a:lnTo>
                      <a:pt x="235" y="225"/>
                    </a:lnTo>
                    <a:lnTo>
                      <a:pt x="237" y="229"/>
                    </a:lnTo>
                    <a:lnTo>
                      <a:pt x="239" y="232"/>
                    </a:lnTo>
                    <a:lnTo>
                      <a:pt x="240" y="236"/>
                    </a:lnTo>
                    <a:lnTo>
                      <a:pt x="240" y="240"/>
                    </a:lnTo>
                    <a:lnTo>
                      <a:pt x="239" y="248"/>
                    </a:lnTo>
                    <a:lnTo>
                      <a:pt x="237" y="255"/>
                    </a:lnTo>
                    <a:lnTo>
                      <a:pt x="237" y="259"/>
                    </a:lnTo>
                    <a:lnTo>
                      <a:pt x="238" y="262"/>
                    </a:lnTo>
                    <a:lnTo>
                      <a:pt x="240" y="266"/>
                    </a:lnTo>
                    <a:lnTo>
                      <a:pt x="244" y="268"/>
                    </a:lnTo>
                    <a:lnTo>
                      <a:pt x="244" y="268"/>
                    </a:lnTo>
                    <a:lnTo>
                      <a:pt x="255" y="270"/>
                    </a:lnTo>
                    <a:lnTo>
                      <a:pt x="259" y="270"/>
                    </a:lnTo>
                    <a:lnTo>
                      <a:pt x="262" y="270"/>
                    </a:lnTo>
                    <a:lnTo>
                      <a:pt x="267" y="268"/>
                    </a:lnTo>
                    <a:lnTo>
                      <a:pt x="271" y="266"/>
                    </a:lnTo>
                    <a:lnTo>
                      <a:pt x="288" y="251"/>
                    </a:lnTo>
                    <a:lnTo>
                      <a:pt x="295" y="247"/>
                    </a:lnTo>
                    <a:lnTo>
                      <a:pt x="300" y="246"/>
                    </a:lnTo>
                    <a:lnTo>
                      <a:pt x="304" y="247"/>
                    </a:lnTo>
                    <a:lnTo>
                      <a:pt x="330" y="254"/>
                    </a:lnTo>
                    <a:lnTo>
                      <a:pt x="334" y="254"/>
                    </a:lnTo>
                    <a:lnTo>
                      <a:pt x="337" y="252"/>
                    </a:lnTo>
                    <a:lnTo>
                      <a:pt x="342" y="247"/>
                    </a:lnTo>
                    <a:lnTo>
                      <a:pt x="354" y="229"/>
                    </a:lnTo>
                    <a:lnTo>
                      <a:pt x="360" y="221"/>
                    </a:lnTo>
                    <a:lnTo>
                      <a:pt x="408" y="183"/>
                    </a:lnTo>
                    <a:lnTo>
                      <a:pt x="432" y="160"/>
                    </a:lnTo>
                    <a:lnTo>
                      <a:pt x="437" y="155"/>
                    </a:lnTo>
                    <a:lnTo>
                      <a:pt x="441" y="153"/>
                    </a:lnTo>
                    <a:lnTo>
                      <a:pt x="461" y="146"/>
                    </a:lnTo>
                    <a:lnTo>
                      <a:pt x="464" y="143"/>
                    </a:lnTo>
                    <a:lnTo>
                      <a:pt x="468" y="140"/>
                    </a:lnTo>
                    <a:lnTo>
                      <a:pt x="470" y="134"/>
                    </a:lnTo>
                    <a:lnTo>
                      <a:pt x="469" y="131"/>
                    </a:lnTo>
                    <a:lnTo>
                      <a:pt x="466" y="128"/>
                    </a:lnTo>
                    <a:lnTo>
                      <a:pt x="448" y="117"/>
                    </a:lnTo>
                    <a:lnTo>
                      <a:pt x="444" y="115"/>
                    </a:lnTo>
                    <a:lnTo>
                      <a:pt x="441" y="112"/>
                    </a:lnTo>
                    <a:lnTo>
                      <a:pt x="440" y="108"/>
                    </a:lnTo>
                    <a:lnTo>
                      <a:pt x="441" y="103"/>
                    </a:lnTo>
                    <a:lnTo>
                      <a:pt x="447" y="98"/>
                    </a:lnTo>
                    <a:lnTo>
                      <a:pt x="454" y="93"/>
                    </a:lnTo>
                    <a:lnTo>
                      <a:pt x="476" y="80"/>
                    </a:lnTo>
                    <a:lnTo>
                      <a:pt x="506" y="67"/>
                    </a:lnTo>
                    <a:lnTo>
                      <a:pt x="509" y="64"/>
                    </a:lnTo>
                    <a:lnTo>
                      <a:pt x="514" y="60"/>
                    </a:lnTo>
                    <a:lnTo>
                      <a:pt x="518" y="53"/>
                    </a:lnTo>
                    <a:lnTo>
                      <a:pt x="521" y="49"/>
                    </a:lnTo>
                    <a:lnTo>
                      <a:pt x="522" y="43"/>
                    </a:lnTo>
                    <a:lnTo>
                      <a:pt x="522" y="35"/>
                    </a:lnTo>
                    <a:lnTo>
                      <a:pt x="522" y="32"/>
                    </a:lnTo>
                    <a:lnTo>
                      <a:pt x="521" y="27"/>
                    </a:lnTo>
                    <a:lnTo>
                      <a:pt x="516" y="16"/>
                    </a:lnTo>
                    <a:lnTo>
                      <a:pt x="516" y="11"/>
                    </a:lnTo>
                    <a:lnTo>
                      <a:pt x="517" y="8"/>
                    </a:lnTo>
                    <a:lnTo>
                      <a:pt x="519" y="4"/>
                    </a:lnTo>
                    <a:lnTo>
                      <a:pt x="523" y="3"/>
                    </a:lnTo>
                    <a:lnTo>
                      <a:pt x="526" y="1"/>
                    </a:lnTo>
                    <a:lnTo>
                      <a:pt x="537" y="0"/>
                    </a:lnTo>
                    <a:lnTo>
                      <a:pt x="559" y="3"/>
                    </a:lnTo>
                    <a:lnTo>
                      <a:pt x="559" y="3"/>
                    </a:lnTo>
                    <a:close/>
                  </a:path>
                </a:pathLst>
              </a:custGeom>
              <a:grpFill/>
              <a:ln w="11113" cap="rnd">
                <a:solidFill>
                  <a:schemeClr val="bg1"/>
                </a:solidFill>
                <a:prstDash val="solid"/>
                <a:round/>
                <a:headEnd/>
                <a:tailEnd/>
              </a:ln>
            </p:spPr>
            <p:txBody>
              <a:bodyPr/>
              <a:lstStyle/>
              <a:p>
                <a:pPr eaLnBrk="1" fontAlgn="auto" hangingPunct="1">
                  <a:spcBef>
                    <a:spcPts val="0"/>
                  </a:spcBef>
                  <a:spcAft>
                    <a:spcPts val="0"/>
                  </a:spcAft>
                  <a:defRPr/>
                </a:pPr>
                <a:endParaRPr lang="en-US" sz="900" dirty="0">
                  <a:solidFill>
                    <a:srgbClr val="000000"/>
                  </a:solidFill>
                  <a:latin typeface="Arial"/>
                  <a:cs typeface="+mn-cs"/>
                </a:endParaRPr>
              </a:p>
            </p:txBody>
          </p:sp>
        </p:grpSp>
        <p:sp>
          <p:nvSpPr>
            <p:cNvPr id="330" name="Star: 5 Points 329">
              <a:extLst>
                <a:ext uri="{FF2B5EF4-FFF2-40B4-BE49-F238E27FC236}"/>
              </a:extLst>
            </p:cNvPr>
            <p:cNvSpPr/>
            <p:nvPr/>
          </p:nvSpPr>
          <p:spPr>
            <a:xfrm>
              <a:off x="4226971" y="5445224"/>
              <a:ext cx="191441" cy="174037"/>
            </a:xfrm>
            <a:prstGeom prst="star5">
              <a:avLst/>
            </a:prstGeom>
            <a:solidFill>
              <a:schemeClr val="accent5"/>
            </a:solidFill>
            <a:ln w="6350" cap="flat">
              <a:noFill/>
              <a:miter lim="800000"/>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331" name="Star: 5 Points 330">
              <a:extLst>
                <a:ext uri="{FF2B5EF4-FFF2-40B4-BE49-F238E27FC236}"/>
              </a:extLst>
            </p:cNvPr>
            <p:cNvSpPr/>
            <p:nvPr/>
          </p:nvSpPr>
          <p:spPr>
            <a:xfrm>
              <a:off x="4056523" y="5595223"/>
              <a:ext cx="191441" cy="174037"/>
            </a:xfrm>
            <a:prstGeom prst="star5">
              <a:avLst/>
            </a:prstGeom>
            <a:solidFill>
              <a:schemeClr val="accent5"/>
            </a:solidFill>
            <a:ln w="6350" cap="flat">
              <a:noFill/>
              <a:miter lim="800000"/>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332" name="Star: 5 Points 331">
              <a:extLst>
                <a:ext uri="{FF2B5EF4-FFF2-40B4-BE49-F238E27FC236}"/>
              </a:extLst>
            </p:cNvPr>
            <p:cNvSpPr/>
            <p:nvPr/>
          </p:nvSpPr>
          <p:spPr>
            <a:xfrm>
              <a:off x="3840499" y="5733645"/>
              <a:ext cx="191441" cy="174037"/>
            </a:xfrm>
            <a:prstGeom prst="star5">
              <a:avLst/>
            </a:prstGeom>
            <a:solidFill>
              <a:schemeClr val="accent5"/>
            </a:solidFill>
            <a:ln w="6350" cap="flat">
              <a:noFill/>
              <a:miter lim="800000"/>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333" name="Star: 5 Points 332">
              <a:extLst>
                <a:ext uri="{FF2B5EF4-FFF2-40B4-BE49-F238E27FC236}"/>
              </a:extLst>
            </p:cNvPr>
            <p:cNvSpPr/>
            <p:nvPr/>
          </p:nvSpPr>
          <p:spPr>
            <a:xfrm>
              <a:off x="3815916" y="5373216"/>
              <a:ext cx="191441" cy="174037"/>
            </a:xfrm>
            <a:prstGeom prst="star5">
              <a:avLst/>
            </a:prstGeom>
            <a:solidFill>
              <a:schemeClr val="accent5"/>
            </a:solidFill>
            <a:ln w="6350" cap="flat">
              <a:noFill/>
              <a:miter lim="800000"/>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sp>
          <p:nvSpPr>
            <p:cNvPr id="334" name="Star: 5 Points 333">
              <a:extLst>
                <a:ext uri="{FF2B5EF4-FFF2-40B4-BE49-F238E27FC236}"/>
              </a:extLst>
            </p:cNvPr>
            <p:cNvSpPr/>
            <p:nvPr/>
          </p:nvSpPr>
          <p:spPr>
            <a:xfrm>
              <a:off x="4042001" y="5883644"/>
              <a:ext cx="191441" cy="174037"/>
            </a:xfrm>
            <a:prstGeom prst="star5">
              <a:avLst/>
            </a:prstGeom>
            <a:solidFill>
              <a:schemeClr val="accent5"/>
            </a:solidFill>
            <a:ln w="6350" cap="flat">
              <a:noFill/>
              <a:miter lim="800000"/>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400" dirty="0" err="1">
                <a:solidFill>
                  <a:srgbClr val="FFFFFF"/>
                </a:solidFill>
                <a:latin typeface="Arial" pitchFamily="34" charset="0"/>
                <a:cs typeface="Arial" pitchFamily="34" charset="0"/>
              </a:endParaRPr>
            </a:p>
          </p:txBody>
        </p:sp>
      </p:grpSp>
      <p:sp>
        <p:nvSpPr>
          <p:cNvPr id="327" name="TextBox 326">
            <a:extLst>
              <a:ext uri="{FF2B5EF4-FFF2-40B4-BE49-F238E27FC236}"/>
            </a:extLst>
          </p:cNvPr>
          <p:cNvSpPr txBox="1"/>
          <p:nvPr/>
        </p:nvSpPr>
        <p:spPr>
          <a:xfrm>
            <a:off x="6043613" y="6518275"/>
            <a:ext cx="595312" cy="96838"/>
          </a:xfrm>
          <a:prstGeom prst="rect">
            <a:avLst/>
          </a:prstGeom>
          <a:noFill/>
          <a:ln w="6350" cap="flat">
            <a:noFill/>
            <a:miter lim="800000"/>
          </a:ln>
        </p:spPr>
        <p:txBody>
          <a:bodyPr lIns="0" tIns="0" rIns="0" bIns="0">
            <a:spAutoFit/>
          </a:bodyPr>
          <a:lstStyle/>
          <a:p>
            <a:pPr eaLnBrk="1" fontAlgn="auto" hangingPunct="1">
              <a:lnSpc>
                <a:spcPct val="90000"/>
              </a:lnSpc>
              <a:spcBef>
                <a:spcPts val="600"/>
              </a:spcBef>
              <a:spcAft>
                <a:spcPts val="0"/>
              </a:spcAft>
              <a:buClr>
                <a:srgbClr val="048962"/>
              </a:buClr>
              <a:defRPr/>
            </a:pPr>
            <a:r>
              <a:rPr lang="en-US" sz="700" dirty="0">
                <a:solidFill>
                  <a:schemeClr val="bg1">
                    <a:lumMod val="50000"/>
                  </a:schemeClr>
                </a:solidFill>
                <a:latin typeface="Arial" pitchFamily="34" charset="0"/>
              </a:rPr>
              <a:t>illustrative</a:t>
            </a:r>
          </a:p>
        </p:txBody>
      </p:sp>
      <p:sp>
        <p:nvSpPr>
          <p:cNvPr id="79887" name="Rectangle 2"/>
          <p:cNvSpPr>
            <a:spLocks noChangeArrowheads="1"/>
          </p:cNvSpPr>
          <p:nvPr/>
        </p:nvSpPr>
        <p:spPr bwMode="gray">
          <a:xfrm>
            <a:off x="4716463" y="4760913"/>
            <a:ext cx="1736725"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rIns="0" bIns="91440"/>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ts val="100"/>
              </a:spcBef>
              <a:spcAft>
                <a:spcPct val="0"/>
              </a:spcAft>
              <a:buClr>
                <a:srgbClr val="048962"/>
              </a:buClr>
              <a:buFontTx/>
              <a:buNone/>
            </a:pPr>
            <a:r>
              <a:rPr lang="en-US" sz="1200">
                <a:solidFill>
                  <a:srgbClr val="000000"/>
                </a:solidFill>
                <a:latin typeface="Arial" panose="020B0604020202020204" pitchFamily="34" charset="0"/>
              </a:rPr>
              <a:t>Planning for MoC roll out support mechanisms needed for implementation</a:t>
            </a:r>
          </a:p>
        </p:txBody>
      </p:sp>
      <p:sp>
        <p:nvSpPr>
          <p:cNvPr id="2" name="Title 1">
            <a:extLst>
              <a:ext uri="{FF2B5EF4-FFF2-40B4-BE49-F238E27FC236}"/>
            </a:extLst>
          </p:cNvPr>
          <p:cNvSpPr>
            <a:spLocks noGrp="1"/>
          </p:cNvSpPr>
          <p:nvPr>
            <p:ph type="title"/>
          </p:nvPr>
        </p:nvSpPr>
        <p:spPr>
          <a:xfrm>
            <a:off x="261938" y="692150"/>
            <a:ext cx="7604125" cy="993775"/>
          </a:xfrm>
        </p:spPr>
        <p:txBody>
          <a:bodyPr>
            <a:normAutofit fontScale="90000"/>
          </a:bodyPr>
          <a:lstStyle/>
          <a:p>
            <a:pPr fontAlgn="auto">
              <a:spcAft>
                <a:spcPts val="0"/>
              </a:spcAft>
              <a:defRPr/>
            </a:pPr>
            <a:r>
              <a:rPr lang="en-US" dirty="0" smtClean="0">
                <a:solidFill>
                  <a:schemeClr val="tx1">
                    <a:lumMod val="75000"/>
                    <a:lumOff val="25000"/>
                  </a:schemeClr>
                </a:solidFill>
              </a:rPr>
              <a:t>currently </a:t>
            </a:r>
            <a:r>
              <a:rPr lang="en-US" dirty="0">
                <a:solidFill>
                  <a:schemeClr val="tx1">
                    <a:lumMod val="75000"/>
                    <a:lumOff val="25000"/>
                  </a:schemeClr>
                </a:solidFill>
              </a:rPr>
              <a:t>planning MoC cluster rollouts as the first step towards national rollout</a:t>
            </a:r>
          </a:p>
        </p:txBody>
      </p:sp>
      <p:sp>
        <p:nvSpPr>
          <p:cNvPr id="3" name="Rectangle 2">
            <a:extLst>
              <a:ext uri="{FF2B5EF4-FFF2-40B4-BE49-F238E27FC236}"/>
            </a:extLst>
          </p:cNvPr>
          <p:cNvSpPr/>
          <p:nvPr/>
        </p:nvSpPr>
        <p:spPr>
          <a:xfrm>
            <a:off x="246063" y="1628775"/>
            <a:ext cx="3959225" cy="249238"/>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nSpc>
                <a:spcPct val="90000"/>
              </a:lnSpc>
              <a:defRPr/>
            </a:pPr>
            <a:r>
              <a:rPr lang="en-US" b="1" dirty="0">
                <a:solidFill>
                  <a:srgbClr val="000000"/>
                </a:solidFill>
                <a:latin typeface="Arial" panose="020B0604020202020204" pitchFamily="34" charset="0"/>
                <a:cs typeface="Arial" pitchFamily="34" charset="0"/>
              </a:rPr>
              <a:t>Phase IV: National rollout </a:t>
            </a:r>
          </a:p>
        </p:txBody>
      </p:sp>
      <p:sp>
        <p:nvSpPr>
          <p:cNvPr id="4" name="Rectangle 3">
            <a:extLst>
              <a:ext uri="{FF2B5EF4-FFF2-40B4-BE49-F238E27FC236}"/>
            </a:extLst>
          </p:cNvPr>
          <p:cNvSpPr/>
          <p:nvPr/>
        </p:nvSpPr>
        <p:spPr>
          <a:xfrm>
            <a:off x="4643438" y="2060575"/>
            <a:ext cx="3960812" cy="222250"/>
          </a:xfrm>
          <a:prstGeom prst="rect">
            <a:avLst/>
          </a:prstGeom>
          <a:noFill/>
          <a:ln w="6350" cap="flat" cmpd="sng" algn="ctr">
            <a:noFill/>
            <a:prstDash val="solid"/>
            <a:miter lim="800000"/>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6350" cap="flat" cmpd="sng" algn="ctr">
                <a:solidFill>
                  <a:srgbClr val="ADABA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eaLnBrk="1" fontAlgn="auto" hangingPunct="1">
              <a:lnSpc>
                <a:spcPct val="90000"/>
              </a:lnSpc>
              <a:defRPr/>
            </a:pPr>
            <a:r>
              <a:rPr lang="en-US" sz="1600" b="1" dirty="0">
                <a:solidFill>
                  <a:srgbClr val="000000"/>
                </a:solidFill>
                <a:latin typeface="Arial" panose="020B0604020202020204" pitchFamily="34" charset="0"/>
                <a:cs typeface="Arial" pitchFamily="34" charset="0"/>
              </a:rPr>
              <a:t>Rollout planning tracks</a:t>
            </a:r>
          </a:p>
        </p:txBody>
      </p:sp>
      <p:grpSp>
        <p:nvGrpSpPr>
          <p:cNvPr id="79891" name="Group 14"/>
          <p:cNvGrpSpPr>
            <a:grpSpLocks/>
          </p:cNvGrpSpPr>
          <p:nvPr/>
        </p:nvGrpSpPr>
        <p:grpSpPr bwMode="auto">
          <a:xfrm>
            <a:off x="220663" y="2492375"/>
            <a:ext cx="3522662" cy="3176588"/>
            <a:chOff x="220313" y="2456892"/>
            <a:chExt cx="3523595" cy="3175661"/>
          </a:xfrm>
        </p:grpSpPr>
        <p:pic>
          <p:nvPicPr>
            <p:cNvPr id="321538" name="Picture 2" descr="Image result for people icon">
              <a:extLst>
                <a:ext uri="{FF2B5EF4-FFF2-40B4-BE49-F238E27FC236}"/>
              </a:extLst>
            </p:cNvPr>
            <p:cNvPicPr>
              <a:picLocks noChangeAspect="1" noChangeArrowheads="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19407" y="2456892"/>
              <a:ext cx="877135" cy="877135"/>
            </a:xfrm>
            <a:prstGeom prst="rect">
              <a:avLst/>
            </a:prstGeom>
            <a:noFill/>
            <a:extLst>
              <a:ext uri="{909E8E84-426E-40DD-AFC4-6F175D3DCCD1}">
                <a14:hiddenFill xmlns:a14="http://schemas.microsoft.com/office/drawing/2010/main">
                  <a:solidFill>
                    <a:srgbClr val="FFFFFF"/>
                  </a:solidFill>
                </a14:hiddenFill>
              </a:ext>
            </a:extLst>
          </p:spPr>
        </p:pic>
        <p:pic>
          <p:nvPicPr>
            <p:cNvPr id="321542" name="Picture 6" descr="Related image">
              <a:extLst>
                <a:ext uri="{FF2B5EF4-FFF2-40B4-BE49-F238E27FC236}"/>
              </a:extLst>
            </p:cNvPr>
            <p:cNvPicPr>
              <a:picLocks noChangeAspect="1" noChangeArrowheads="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20313" y="3469689"/>
              <a:ext cx="1075323" cy="1075323"/>
            </a:xfrm>
            <a:prstGeom prst="rect">
              <a:avLst/>
            </a:prstGeom>
            <a:noFill/>
            <a:extLst>
              <a:ext uri="{909E8E84-426E-40DD-AFC4-6F175D3DCCD1}">
                <a14:hiddenFill xmlns:a14="http://schemas.microsoft.com/office/drawing/2010/main">
                  <a:solidFill>
                    <a:srgbClr val="FFFFFF"/>
                  </a:solidFill>
                </a14:hiddenFill>
              </a:ext>
            </a:extLst>
          </p:spPr>
        </p:pic>
        <p:pic>
          <p:nvPicPr>
            <p:cNvPr id="321544" name="Picture 8" descr="Image result for budget icon">
              <a:extLst>
                <a:ext uri="{FF2B5EF4-FFF2-40B4-BE49-F238E27FC236}"/>
              </a:extLst>
            </p:cNvPr>
            <p:cNvPicPr>
              <a:picLocks noChangeAspect="1" noChangeArrowheads="1"/>
            </p:cNvPicPr>
            <p:nvPr/>
          </p:nvPicPr>
          <p:blipFill rotWithShape="1">
            <a:blip r:embed="rId8" cstate="email">
              <a:duotone>
                <a:schemeClr val="bg2">
                  <a:shade val="45000"/>
                  <a:satMod val="135000"/>
                </a:schemeClr>
                <a:prstClr val="white"/>
              </a:duotone>
              <a:extLst>
                <a:ext uri="{28A0092B-C50C-407E-A947-70E740481C1C}">
                  <a14:useLocalDpi xmlns:a14="http://schemas.microsoft.com/office/drawing/2010/main"/>
                </a:ext>
              </a:extLst>
            </a:blip>
            <a:srcRect l="25282" r="27557"/>
            <a:stretch/>
          </p:blipFill>
          <p:spPr bwMode="auto">
            <a:xfrm>
              <a:off x="331380" y="4646660"/>
              <a:ext cx="853188" cy="985893"/>
            </a:xfrm>
            <a:prstGeom prst="rect">
              <a:avLst/>
            </a:prstGeom>
            <a:noFill/>
            <a:extLst>
              <a:ext uri="{909E8E84-426E-40DD-AFC4-6F175D3DCCD1}">
                <a14:hiddenFill xmlns:a14="http://schemas.microsoft.com/office/drawing/2010/main">
                  <a:solidFill>
                    <a:srgbClr val="FFFFFF"/>
                  </a:solidFill>
                </a14:hiddenFill>
              </a:ext>
            </a:extLst>
          </p:spPr>
        </p:pic>
        <p:sp>
          <p:nvSpPr>
            <p:cNvPr id="79900" name="TextBox 5"/>
            <p:cNvSpPr txBox="1">
              <a:spLocks noChangeArrowheads="1"/>
            </p:cNvSpPr>
            <p:nvPr/>
          </p:nvSpPr>
          <p:spPr bwMode="auto">
            <a:xfrm>
              <a:off x="1367644" y="2545140"/>
              <a:ext cx="2376264"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400" b="1">
                  <a:solidFill>
                    <a:srgbClr val="000000"/>
                  </a:solidFill>
                  <a:latin typeface="Arial" panose="020B0604020202020204" pitchFamily="34" charset="0"/>
                </a:rPr>
                <a:t>Capability building</a:t>
              </a:r>
            </a:p>
            <a:p>
              <a:pPr algn="l" rtl="0" eaLnBrk="1" hangingPunct="1">
                <a:spcBef>
                  <a:spcPts val="600"/>
                </a:spcBef>
                <a:spcAft>
                  <a:spcPct val="0"/>
                </a:spcAft>
                <a:buClr>
                  <a:srgbClr val="048962"/>
                </a:buClr>
                <a:buSzTx/>
                <a:buFontTx/>
                <a:buNone/>
              </a:pPr>
              <a:r>
                <a:rPr lang="en-US" sz="1200">
                  <a:solidFill>
                    <a:srgbClr val="000000"/>
                  </a:solidFill>
                  <a:latin typeface="Arial" panose="020B0604020202020204" pitchFamily="34" charset="0"/>
                </a:rPr>
                <a:t>Develop capabilities to implement and maintain MoC</a:t>
              </a:r>
            </a:p>
          </p:txBody>
        </p:sp>
        <p:sp>
          <p:nvSpPr>
            <p:cNvPr id="79901" name="TextBox 10"/>
            <p:cNvSpPr txBox="1">
              <a:spLocks noChangeArrowheads="1"/>
            </p:cNvSpPr>
            <p:nvPr/>
          </p:nvSpPr>
          <p:spPr bwMode="auto">
            <a:xfrm>
              <a:off x="1367644" y="3630712"/>
              <a:ext cx="2376264"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400" b="1">
                  <a:solidFill>
                    <a:srgbClr val="000000"/>
                  </a:solidFill>
                  <a:latin typeface="Arial" panose="020B0604020202020204" pitchFamily="34" charset="0"/>
                </a:rPr>
                <a:t>Engagement and adoption</a:t>
              </a:r>
            </a:p>
            <a:p>
              <a:pPr algn="l" rtl="0" eaLnBrk="1" hangingPunct="1">
                <a:spcBef>
                  <a:spcPts val="600"/>
                </a:spcBef>
                <a:spcAft>
                  <a:spcPct val="0"/>
                </a:spcAft>
                <a:buClr>
                  <a:srgbClr val="048962"/>
                </a:buClr>
                <a:buSzTx/>
                <a:buFontTx/>
                <a:buNone/>
              </a:pPr>
              <a:r>
                <a:rPr lang="en-US" sz="1200">
                  <a:solidFill>
                    <a:srgbClr val="000000"/>
                  </a:solidFill>
                  <a:latin typeface="Arial" panose="020B0604020202020204" pitchFamily="34" charset="0"/>
                </a:rPr>
                <a:t>Create a sense of ownership at clinical and community-level to support roll-out</a:t>
              </a:r>
            </a:p>
          </p:txBody>
        </p:sp>
        <p:sp>
          <p:nvSpPr>
            <p:cNvPr id="79902" name="TextBox 11"/>
            <p:cNvSpPr txBox="1">
              <a:spLocks noChangeArrowheads="1"/>
            </p:cNvSpPr>
            <p:nvPr/>
          </p:nvSpPr>
          <p:spPr bwMode="auto">
            <a:xfrm>
              <a:off x="1367644" y="4810663"/>
              <a:ext cx="2376264" cy="60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spcBef>
                  <a:spcPts val="600"/>
                </a:spcBef>
                <a:spcAft>
                  <a:spcPct val="0"/>
                </a:spcAft>
                <a:buClr>
                  <a:srgbClr val="048962"/>
                </a:buClr>
                <a:buSzTx/>
                <a:buFontTx/>
                <a:buNone/>
              </a:pPr>
              <a:r>
                <a:rPr lang="en-US" sz="1400" b="1">
                  <a:solidFill>
                    <a:srgbClr val="000000"/>
                  </a:solidFill>
                  <a:latin typeface="Arial" panose="020B0604020202020204" pitchFamily="34" charset="0"/>
                </a:rPr>
                <a:t>Funding</a:t>
              </a:r>
            </a:p>
            <a:p>
              <a:pPr algn="l" rtl="0" eaLnBrk="1" hangingPunct="1">
                <a:spcBef>
                  <a:spcPts val="600"/>
                </a:spcBef>
                <a:spcAft>
                  <a:spcPct val="0"/>
                </a:spcAft>
                <a:buClr>
                  <a:srgbClr val="048962"/>
                </a:buClr>
                <a:buSzTx/>
                <a:buFontTx/>
                <a:buNone/>
              </a:pPr>
              <a:r>
                <a:rPr lang="en-US" sz="1200">
                  <a:solidFill>
                    <a:srgbClr val="000000"/>
                  </a:solidFill>
                  <a:latin typeface="Arial" panose="020B0604020202020204" pitchFamily="34" charset="0"/>
                </a:rPr>
                <a:t>Secure the required funding for national implementation of MoC</a:t>
              </a:r>
            </a:p>
          </p:txBody>
        </p:sp>
      </p:grpSp>
      <p:sp>
        <p:nvSpPr>
          <p:cNvPr id="7" name="Isosceles Triangle 6">
            <a:extLst>
              <a:ext uri="{FF2B5EF4-FFF2-40B4-BE49-F238E27FC236}"/>
            </a:extLst>
          </p:cNvPr>
          <p:cNvSpPr/>
          <p:nvPr/>
        </p:nvSpPr>
        <p:spPr>
          <a:xfrm rot="5400000">
            <a:off x="3100388" y="4179888"/>
            <a:ext cx="2305050" cy="152400"/>
          </a:xfrm>
          <a:prstGeom prst="triangl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anchor="ctr"/>
          <a:lstStyle/>
          <a:p>
            <a:pPr algn="ctr" eaLnBrk="1" fontAlgn="auto" hangingPunct="1">
              <a:lnSpc>
                <a:spcPct val="90000"/>
              </a:lnSpc>
              <a:spcBef>
                <a:spcPts val="900"/>
              </a:spcBef>
              <a:spcAft>
                <a:spcPts val="0"/>
              </a:spcAft>
              <a:defRPr/>
            </a:pPr>
            <a:endParaRPr lang="en-US" sz="1600" dirty="0" err="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9" name="Oval 8">
            <a:extLst>
              <a:ext uri="{FF2B5EF4-FFF2-40B4-BE49-F238E27FC236}"/>
            </a:extLst>
          </p:cNvPr>
          <p:cNvSpPr/>
          <p:nvPr/>
        </p:nvSpPr>
        <p:spPr>
          <a:xfrm>
            <a:off x="6405563" y="4232275"/>
            <a:ext cx="765175" cy="768350"/>
          </a:xfrm>
          <a:prstGeom prst="ellipse">
            <a:avLst/>
          </a:prstGeom>
          <a:solidFill>
            <a:srgbClr val="006E49"/>
          </a:solidFill>
          <a:ln w="6350" cap="flat">
            <a:noFill/>
            <a:miter lim="800000"/>
          </a:ln>
          <a:effectLst>
            <a:outerShdw blurRad="50800" dist="38100" dir="2700015"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90000"/>
              </a:lnSpc>
              <a:spcBef>
                <a:spcPts val="900"/>
              </a:spcBef>
              <a:defRPr/>
            </a:pPr>
            <a:r>
              <a:rPr lang="en-US" sz="1200" b="1" dirty="0">
                <a:solidFill>
                  <a:schemeClr val="bg1"/>
                </a:solidFill>
                <a:latin typeface="Arial" pitchFamily="34" charset="0"/>
                <a:cs typeface="Arial" pitchFamily="34" charset="0"/>
              </a:rPr>
              <a:t>Rollout Tracks</a:t>
            </a:r>
          </a:p>
        </p:txBody>
      </p:sp>
      <p:sp>
        <p:nvSpPr>
          <p:cNvPr id="111" name="Rectangle 110">
            <a:extLst>
              <a:ext uri="{FF2B5EF4-FFF2-40B4-BE49-F238E27FC236}"/>
            </a:extLst>
          </p:cNvPr>
          <p:cNvSpPr/>
          <p:nvPr/>
        </p:nvSpPr>
        <p:spPr>
          <a:xfrm>
            <a:off x="4679950" y="2395538"/>
            <a:ext cx="1828800" cy="146050"/>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gn="r" eaLnBrk="1" fontAlgn="auto" hangingPunct="1">
              <a:lnSpc>
                <a:spcPct val="90000"/>
              </a:lnSpc>
              <a:defRPr/>
            </a:pPr>
            <a:r>
              <a:rPr lang="en-US" sz="1050" b="1" i="1" dirty="0">
                <a:solidFill>
                  <a:schemeClr val="bg2"/>
                </a:solidFill>
                <a:latin typeface="Arial" panose="020B0604020202020204" pitchFamily="34" charset="0"/>
                <a:cs typeface="Arial" pitchFamily="34" charset="0"/>
              </a:rPr>
              <a:t>In progress</a:t>
            </a:r>
          </a:p>
        </p:txBody>
      </p:sp>
      <p:sp>
        <p:nvSpPr>
          <p:cNvPr id="113" name="Rectangle 112">
            <a:extLst>
              <a:ext uri="{FF2B5EF4-FFF2-40B4-BE49-F238E27FC236}"/>
            </a:extLst>
          </p:cNvPr>
          <p:cNvSpPr/>
          <p:nvPr/>
        </p:nvSpPr>
        <p:spPr>
          <a:xfrm>
            <a:off x="7032625" y="4651375"/>
            <a:ext cx="1828800" cy="146050"/>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gn="r" eaLnBrk="1" fontAlgn="auto" hangingPunct="1">
              <a:lnSpc>
                <a:spcPct val="90000"/>
              </a:lnSpc>
              <a:defRPr/>
            </a:pPr>
            <a:r>
              <a:rPr lang="en-US" sz="1050" b="1" i="1" dirty="0">
                <a:solidFill>
                  <a:schemeClr val="bg2"/>
                </a:solidFill>
                <a:latin typeface="Arial" panose="020B0604020202020204" pitchFamily="34" charset="0"/>
                <a:cs typeface="Arial" pitchFamily="34" charset="0"/>
              </a:rPr>
              <a:t>Initiated</a:t>
            </a:r>
          </a:p>
        </p:txBody>
      </p:sp>
      <p:sp>
        <p:nvSpPr>
          <p:cNvPr id="13" name="Rectangle 12">
            <a:extLst>
              <a:ext uri="{FF2B5EF4-FFF2-40B4-BE49-F238E27FC236}"/>
            </a:extLst>
          </p:cNvPr>
          <p:cNvSpPr/>
          <p:nvPr/>
        </p:nvSpPr>
        <p:spPr>
          <a:xfrm>
            <a:off x="246063" y="2058988"/>
            <a:ext cx="3959225" cy="223837"/>
          </a:xfrm>
          <a:prstGeom prst="rect">
            <a:avLst/>
          </a:prstGeom>
          <a:noFill/>
          <a:ln w="6350" cap="flat">
            <a:noFill/>
            <a:miter lim="800000"/>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spAutoFit/>
          </a:bodyPr>
          <a:lstStyle/>
          <a:p>
            <a:pPr>
              <a:lnSpc>
                <a:spcPct val="90000"/>
              </a:lnSpc>
              <a:defRPr/>
            </a:pPr>
            <a:r>
              <a:rPr lang="en-US" sz="1600" b="1" dirty="0">
                <a:solidFill>
                  <a:schemeClr val="tx1"/>
                </a:solidFill>
                <a:latin typeface="Arial" panose="020B0604020202020204" pitchFamily="34" charset="0"/>
                <a:cs typeface="Arial" pitchFamily="34" charset="0"/>
              </a:rPr>
              <a:t>Focus areas for rollout planning</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989138"/>
            <a:ext cx="9144000" cy="287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19459" name="Rectangle 6"/>
          <p:cNvSpPr>
            <a:spLocks noChangeArrowheads="1"/>
          </p:cNvSpPr>
          <p:nvPr/>
        </p:nvSpPr>
        <p:spPr bwMode="auto">
          <a:xfrm>
            <a:off x="866775" y="1244600"/>
            <a:ext cx="21320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Definitions</a:t>
            </a:r>
            <a:endParaRPr lang="ar-SA" sz="3200" b="1">
              <a:solidFill>
                <a:schemeClr val="tx1"/>
              </a:solidFill>
              <a:latin typeface="Garamond" panose="02020404030301010803" pitchFamily="18" charset="0"/>
            </a:endParaRPr>
          </a:p>
        </p:txBody>
      </p:sp>
      <p:sp>
        <p:nvSpPr>
          <p:cNvPr id="7172" name="Text Box 3"/>
          <p:cNvSpPr txBox="1">
            <a:spLocks noChangeArrowheads="1"/>
          </p:cNvSpPr>
          <p:nvPr/>
        </p:nvSpPr>
        <p:spPr bwMode="auto">
          <a:xfrm>
            <a:off x="914400" y="4373563"/>
            <a:ext cx="57975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200" b="1">
                <a:solidFill>
                  <a:srgbClr val="FF0000"/>
                </a:solidFill>
                <a:latin typeface="Arial" panose="020B0604020202020204" pitchFamily="34" charset="0"/>
              </a:rPr>
              <a:t>What is a Health System ?</a:t>
            </a:r>
          </a:p>
        </p:txBody>
      </p:sp>
      <p:sp>
        <p:nvSpPr>
          <p:cNvPr id="7173" name="Rectangle 1"/>
          <p:cNvSpPr>
            <a:spLocks noChangeArrowheads="1"/>
          </p:cNvSpPr>
          <p:nvPr/>
        </p:nvSpPr>
        <p:spPr bwMode="auto">
          <a:xfrm>
            <a:off x="914400" y="4906963"/>
            <a:ext cx="7924800"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just" rtl="0">
              <a:lnSpc>
                <a:spcPct val="100000"/>
              </a:lnSpc>
              <a:spcBef>
                <a:spcPct val="0"/>
              </a:spcBef>
              <a:spcAft>
                <a:spcPct val="0"/>
              </a:spcAft>
              <a:buClrTx/>
              <a:buSzTx/>
              <a:buFontTx/>
              <a:buNone/>
            </a:pPr>
            <a:r>
              <a:rPr lang="en-US" sz="3200" b="1">
                <a:solidFill>
                  <a:schemeClr val="tx1"/>
                </a:solidFill>
                <a:latin typeface="Garamond" panose="02020404030301010803" pitchFamily="18" charset="0"/>
              </a:rPr>
              <a:t>A health system is the total of all the organizations,  institutions and resources whose primary purpose is to improve health. </a:t>
            </a:r>
            <a:endParaRPr lang="ar-SA" sz="3200" b="1">
              <a:solidFill>
                <a:schemeClr val="tx1"/>
              </a:solidFill>
              <a:latin typeface="Garamond" panose="02020404030301010803" pitchFamily="18" charset="0"/>
            </a:endParaRPr>
          </a:p>
        </p:txBody>
      </p:sp>
      <p:sp>
        <p:nvSpPr>
          <p:cNvPr id="19462" name="Rectangle 11"/>
          <p:cNvSpPr>
            <a:spLocks noChangeArrowheads="1"/>
          </p:cNvSpPr>
          <p:nvPr/>
        </p:nvSpPr>
        <p:spPr bwMode="auto">
          <a:xfrm>
            <a:off x="904875" y="533400"/>
            <a:ext cx="3286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a:t>
            </a:r>
            <a:endParaRPr lang="ar-SA" sz="3200">
              <a:solidFill>
                <a:srgbClr val="FF0000"/>
              </a:solidFill>
              <a:latin typeface="Garamond" panose="02020404030301010803" pitchFamily="18" charset="0"/>
            </a:endParaRPr>
          </a:p>
        </p:txBody>
      </p:sp>
      <p:sp>
        <p:nvSpPr>
          <p:cNvPr id="7175" name="Text Box 3"/>
          <p:cNvSpPr txBox="1">
            <a:spLocks noChangeArrowheads="1"/>
          </p:cNvSpPr>
          <p:nvPr/>
        </p:nvSpPr>
        <p:spPr bwMode="auto">
          <a:xfrm>
            <a:off x="941388" y="1752600"/>
            <a:ext cx="43164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200" b="1">
                <a:solidFill>
                  <a:srgbClr val="FF0000"/>
                </a:solidFill>
                <a:latin typeface="Arial" panose="020B0604020202020204" pitchFamily="34" charset="0"/>
              </a:rPr>
              <a:t>What is a System ?</a:t>
            </a:r>
          </a:p>
        </p:txBody>
      </p:sp>
      <p:sp>
        <p:nvSpPr>
          <p:cNvPr id="7176" name="Rectangle 13"/>
          <p:cNvSpPr>
            <a:spLocks noChangeArrowheads="1"/>
          </p:cNvSpPr>
          <p:nvPr/>
        </p:nvSpPr>
        <p:spPr bwMode="auto">
          <a:xfrm>
            <a:off x="914400" y="2362200"/>
            <a:ext cx="76962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just" rtl="0">
              <a:lnSpc>
                <a:spcPct val="100000"/>
              </a:lnSpc>
              <a:spcBef>
                <a:spcPct val="0"/>
              </a:spcBef>
              <a:spcAft>
                <a:spcPct val="0"/>
              </a:spcAft>
              <a:buClrTx/>
              <a:buSzTx/>
              <a:buFontTx/>
              <a:buNone/>
            </a:pPr>
            <a:r>
              <a:rPr lang="en-US" sz="3200">
                <a:solidFill>
                  <a:schemeClr val="tx1"/>
                </a:solidFill>
                <a:latin typeface="Garamond" panose="02020404030301010803" pitchFamily="18" charset="0"/>
              </a:rPr>
              <a:t>A SET OF </a:t>
            </a:r>
            <a:r>
              <a:rPr lang="en-US" sz="3200" b="1" u="sng">
                <a:solidFill>
                  <a:schemeClr val="tx1"/>
                </a:solidFill>
                <a:latin typeface="Garamond" panose="02020404030301010803" pitchFamily="18" charset="0"/>
              </a:rPr>
              <a:t>INTERRELATED</a:t>
            </a:r>
            <a:r>
              <a:rPr lang="en-US" sz="3200">
                <a:solidFill>
                  <a:schemeClr val="tx1"/>
                </a:solidFill>
                <a:latin typeface="Garamond" panose="02020404030301010803" pitchFamily="18" charset="0"/>
              </a:rPr>
              <a:t> AND </a:t>
            </a:r>
            <a:r>
              <a:rPr lang="en-US" sz="3200" b="1" u="sng">
                <a:solidFill>
                  <a:schemeClr val="tx1"/>
                </a:solidFill>
                <a:latin typeface="Garamond" panose="02020404030301010803" pitchFamily="18" charset="0"/>
              </a:rPr>
              <a:t>INDEPENDENT</a:t>
            </a:r>
            <a:r>
              <a:rPr lang="en-US" sz="3200">
                <a:solidFill>
                  <a:schemeClr val="tx1"/>
                </a:solidFill>
                <a:latin typeface="Garamond" panose="02020404030301010803" pitchFamily="18" charset="0"/>
              </a:rPr>
              <a:t> PARTS DESIGNED TO ACHIEVE A SET OF </a:t>
            </a:r>
            <a:r>
              <a:rPr lang="en-US" sz="3200" b="1" u="sng">
                <a:solidFill>
                  <a:schemeClr val="tx1"/>
                </a:solidFill>
                <a:latin typeface="Garamond" panose="02020404030301010803" pitchFamily="18" charset="0"/>
              </a:rPr>
              <a:t>GOALS</a:t>
            </a:r>
            <a:r>
              <a:rPr lang="en-US" sz="3200">
                <a:solidFill>
                  <a:schemeClr val="tx1"/>
                </a:solidFill>
                <a:latin typeface="Garamond" panose="02020404030301010803" pitchFamily="18" charset="0"/>
              </a:rPr>
              <a:t>. </a:t>
            </a:r>
            <a:endParaRPr lang="ar-SA" sz="3200">
              <a:solidFill>
                <a:schemeClr val="tx1"/>
              </a:solidFill>
              <a:latin typeface="Garamond" panose="02020404030301010803" pitchFamily="18" charset="0"/>
            </a:endParaRPr>
          </a:p>
        </p:txBody>
      </p:sp>
      <p:sp>
        <p:nvSpPr>
          <p:cNvPr id="19465"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7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17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172"/>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1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2" grpId="0"/>
      <p:bldP spid="7173" grpId="0"/>
      <p:bldP spid="7175" grpId="0"/>
      <p:bldP spid="717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11" name="Rectangle 4"/>
          <p:cNvSpPr>
            <a:spLocks noChangeArrowheads="1"/>
          </p:cNvSpPr>
          <p:nvPr/>
        </p:nvSpPr>
        <p:spPr bwMode="auto">
          <a:xfrm>
            <a:off x="914400" y="1295400"/>
            <a:ext cx="8077200" cy="412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defRPr/>
            </a:pPr>
            <a:r>
              <a:rPr lang="en-US" sz="3200" b="1" dirty="0">
                <a:latin typeface="Arial Unicode MS" pitchFamily="34" charset="-128"/>
                <a:ea typeface="Arial Unicode MS" pitchFamily="34" charset="-128"/>
                <a:cs typeface="Arial Unicode MS" pitchFamily="34" charset="-128"/>
              </a:rPr>
              <a:t>A health system needs to provide services     </a:t>
            </a:r>
          </a:p>
          <a:p>
            <a:pPr>
              <a:defRPr/>
            </a:pPr>
            <a:r>
              <a:rPr lang="en-US" sz="3200" b="1" dirty="0">
                <a:latin typeface="Arial Unicode MS" pitchFamily="34" charset="-128"/>
                <a:ea typeface="Arial Unicode MS" pitchFamily="34" charset="-128"/>
                <a:cs typeface="Arial Unicode MS" pitchFamily="34" charset="-128"/>
              </a:rPr>
              <a:t>      that are: </a:t>
            </a:r>
          </a:p>
          <a:p>
            <a:pPr marL="457200" indent="-457200">
              <a:spcBef>
                <a:spcPts val="1200"/>
              </a:spcBef>
              <a:spcAft>
                <a:spcPts val="1200"/>
              </a:spcAft>
              <a:buFont typeface="Wingdings" pitchFamily="2" charset="2"/>
              <a:buChar char="§"/>
              <a:defRPr/>
            </a:pPr>
            <a:r>
              <a:rPr lang="en-US" sz="3200" b="1" dirty="0">
                <a:latin typeface="Arial Unicode MS" pitchFamily="34" charset="-128"/>
                <a:ea typeface="Arial Unicode MS" pitchFamily="34" charset="-128"/>
                <a:cs typeface="Arial Unicode MS" pitchFamily="34" charset="-128"/>
              </a:rPr>
              <a:t>Responsive,</a:t>
            </a:r>
          </a:p>
          <a:p>
            <a:pPr marL="457200" indent="-457200">
              <a:spcBef>
                <a:spcPts val="1200"/>
              </a:spcBef>
              <a:spcAft>
                <a:spcPts val="1200"/>
              </a:spcAft>
              <a:buFont typeface="Wingdings" pitchFamily="2" charset="2"/>
              <a:buChar char="§"/>
              <a:defRPr/>
            </a:pPr>
            <a:r>
              <a:rPr lang="en-US" sz="3200" b="1" dirty="0">
                <a:latin typeface="Arial Unicode MS" pitchFamily="34" charset="-128"/>
                <a:ea typeface="Arial Unicode MS" pitchFamily="34" charset="-128"/>
                <a:cs typeface="Arial Unicode MS" pitchFamily="34" charset="-128"/>
              </a:rPr>
              <a:t>Financially fair, </a:t>
            </a:r>
          </a:p>
          <a:p>
            <a:pPr marL="457200" indent="-457200">
              <a:spcBef>
                <a:spcPts val="1200"/>
              </a:spcBef>
              <a:spcAft>
                <a:spcPts val="1200"/>
              </a:spcAft>
              <a:buFont typeface="Wingdings" pitchFamily="2" charset="2"/>
              <a:buChar char="§"/>
              <a:defRPr/>
            </a:pPr>
            <a:r>
              <a:rPr lang="en-US" sz="3200" b="1" dirty="0">
                <a:latin typeface="Arial Unicode MS" pitchFamily="34" charset="-128"/>
                <a:ea typeface="Arial Unicode MS" pitchFamily="34" charset="-128"/>
                <a:cs typeface="Arial Unicode MS" pitchFamily="34" charset="-128"/>
              </a:rPr>
              <a:t>Treating people decently</a:t>
            </a:r>
            <a:r>
              <a:rPr lang="ar-SA" sz="3200" b="1" dirty="0">
                <a:latin typeface="Arial Unicode MS" pitchFamily="34" charset="-128"/>
                <a:ea typeface="Arial Unicode MS" pitchFamily="34" charset="-128"/>
                <a:cs typeface="Arial Unicode MS" pitchFamily="34" charset="-128"/>
              </a:rPr>
              <a:t>.</a:t>
            </a:r>
            <a:r>
              <a:rPr lang="en-US" sz="3200" b="1" dirty="0">
                <a:latin typeface="Arial Unicode MS" pitchFamily="34" charset="-128"/>
                <a:ea typeface="Arial Unicode MS" pitchFamily="34" charset="-128"/>
                <a:cs typeface="Arial Unicode MS" pitchFamily="34" charset="-128"/>
              </a:rPr>
              <a:t>   </a:t>
            </a:r>
          </a:p>
          <a:p>
            <a:pPr>
              <a:spcBef>
                <a:spcPts val="1200"/>
              </a:spcBef>
              <a:spcAft>
                <a:spcPts val="1200"/>
              </a:spcAft>
              <a:defRPr/>
            </a:pPr>
            <a:r>
              <a:rPr lang="en-US" sz="3200" b="1" dirty="0">
                <a:latin typeface="Arial Unicode MS" pitchFamily="34" charset="-128"/>
                <a:ea typeface="Arial Unicode MS" pitchFamily="34" charset="-128"/>
                <a:cs typeface="Arial Unicode MS" pitchFamily="34" charset="-128"/>
              </a:rPr>
              <a:t>                                                       (WHO)</a:t>
            </a:r>
            <a:endParaRPr lang="ar-SA" sz="3200" b="1" dirty="0">
              <a:latin typeface="Arial Unicode MS" pitchFamily="34" charset="-128"/>
              <a:ea typeface="Arial Unicode MS" pitchFamily="34" charset="-128"/>
              <a:cs typeface="Arial Unicode MS" pitchFamily="34" charset="-128"/>
            </a:endParaRPr>
          </a:p>
        </p:txBody>
      </p:sp>
      <p:sp>
        <p:nvSpPr>
          <p:cNvPr id="21508" name="Rectangle 11"/>
          <p:cNvSpPr>
            <a:spLocks noChangeArrowheads="1"/>
          </p:cNvSpPr>
          <p:nvPr/>
        </p:nvSpPr>
        <p:spPr bwMode="auto">
          <a:xfrm>
            <a:off x="904875" y="533400"/>
            <a:ext cx="43529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Needs </a:t>
            </a:r>
            <a:endParaRPr lang="ar-SA" sz="3200">
              <a:solidFill>
                <a:srgbClr val="FF0000"/>
              </a:solidFill>
              <a:latin typeface="Garamond" panose="02020404030301010803" pitchFamily="18" charset="0"/>
            </a:endParaRPr>
          </a:p>
        </p:txBody>
      </p:sp>
      <p:sp>
        <p:nvSpPr>
          <p:cNvPr id="21509"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554"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11" name="Rectangle 4"/>
          <p:cNvSpPr>
            <a:spLocks noChangeArrowheads="1"/>
          </p:cNvSpPr>
          <p:nvPr/>
        </p:nvSpPr>
        <p:spPr bwMode="auto">
          <a:xfrm>
            <a:off x="1676400" y="2614613"/>
            <a:ext cx="6324600"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457200" indent="-457200"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information, </a:t>
            </a:r>
          </a:p>
          <a:p>
            <a:pPr algn="l" rtl="0">
              <a:lnSpc>
                <a:spcPct val="100000"/>
              </a:lnSpc>
              <a:spcBef>
                <a:spcPct val="0"/>
              </a:spcBef>
              <a:spcAft>
                <a:spcPct val="0"/>
              </a:spcAft>
              <a:buClrTx/>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staff, </a:t>
            </a:r>
          </a:p>
          <a:p>
            <a:pPr algn="l" rtl="0">
              <a:lnSpc>
                <a:spcPct val="100000"/>
              </a:lnSpc>
              <a:spcBef>
                <a:spcPct val="0"/>
              </a:spcBef>
              <a:spcAft>
                <a:spcPct val="0"/>
              </a:spcAft>
              <a:buClrTx/>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funds, </a:t>
            </a:r>
          </a:p>
          <a:p>
            <a:pPr algn="l" rtl="0">
              <a:lnSpc>
                <a:spcPct val="100000"/>
              </a:lnSpc>
              <a:spcBef>
                <a:spcPct val="0"/>
              </a:spcBef>
              <a:spcAft>
                <a:spcPct val="0"/>
              </a:spcAft>
              <a:buClrTx/>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communication,</a:t>
            </a:r>
          </a:p>
          <a:p>
            <a:pPr algn="l" rtl="0">
              <a:lnSpc>
                <a:spcPct val="100000"/>
              </a:lnSpc>
              <a:spcBef>
                <a:spcPct val="0"/>
              </a:spcBef>
              <a:spcAft>
                <a:spcPct val="0"/>
              </a:spcAft>
              <a:buClrTx/>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supplies, </a:t>
            </a:r>
          </a:p>
          <a:p>
            <a:pPr algn="l" rtl="0">
              <a:lnSpc>
                <a:spcPct val="100000"/>
              </a:lnSpc>
              <a:spcBef>
                <a:spcPct val="0"/>
              </a:spcBef>
              <a:spcAft>
                <a:spcPct val="0"/>
              </a:spcAft>
              <a:buClrTx/>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transport, and </a:t>
            </a:r>
          </a:p>
          <a:p>
            <a:pPr algn="l" rtl="0">
              <a:lnSpc>
                <a:spcPct val="100000"/>
              </a:lnSpc>
              <a:spcBef>
                <a:spcPct val="0"/>
              </a:spcBef>
              <a:spcAft>
                <a:spcPct val="0"/>
              </a:spcAft>
              <a:buClrTx/>
              <a:buSzTx/>
              <a:buFont typeface="Wingdings" panose="05000000000000000000" pitchFamily="2" charset="2"/>
              <a:buChar char="§"/>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overall guidance and direction. </a:t>
            </a:r>
          </a:p>
        </p:txBody>
      </p:sp>
      <p:sp>
        <p:nvSpPr>
          <p:cNvPr id="23556" name="Rectangle 11"/>
          <p:cNvSpPr>
            <a:spLocks noChangeArrowheads="1"/>
          </p:cNvSpPr>
          <p:nvPr/>
        </p:nvSpPr>
        <p:spPr bwMode="auto">
          <a:xfrm>
            <a:off x="904875" y="533400"/>
            <a:ext cx="43529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Needs </a:t>
            </a:r>
            <a:endParaRPr lang="ar-SA" sz="3200">
              <a:solidFill>
                <a:srgbClr val="FF0000"/>
              </a:solidFill>
              <a:latin typeface="Garamond" panose="02020404030301010803" pitchFamily="18" charset="0"/>
            </a:endParaRPr>
          </a:p>
        </p:txBody>
      </p:sp>
      <p:sp>
        <p:nvSpPr>
          <p:cNvPr id="23557"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2" name="Rectangle 1"/>
          <p:cNvSpPr>
            <a:spLocks noChangeArrowheads="1"/>
          </p:cNvSpPr>
          <p:nvPr/>
        </p:nvSpPr>
        <p:spPr bwMode="auto">
          <a:xfrm>
            <a:off x="919163" y="1828800"/>
            <a:ext cx="49482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A health system needs </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5" end="5"/>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9" name="Text Box 4"/>
          <p:cNvSpPr txBox="1">
            <a:spLocks noChangeArrowheads="1"/>
          </p:cNvSpPr>
          <p:nvPr/>
        </p:nvSpPr>
        <p:spPr bwMode="auto">
          <a:xfrm>
            <a:off x="914400" y="1828800"/>
            <a:ext cx="6324600" cy="403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Financing Resources </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Legislative </a:t>
            </a:r>
            <a:r>
              <a:rPr lang="ar-SA" sz="3200" b="1">
                <a:solidFill>
                  <a:schemeClr val="tx1"/>
                </a:solidFill>
                <a:latin typeface="Arial" panose="020B0604020202020204" pitchFamily="34" charset="0"/>
              </a:rPr>
              <a:t> </a:t>
            </a:r>
            <a:r>
              <a:rPr lang="en-US" sz="3200" b="1">
                <a:solidFill>
                  <a:schemeClr val="tx1"/>
                </a:solidFill>
                <a:latin typeface="Arial" panose="020B0604020202020204" pitchFamily="34" charset="0"/>
              </a:rPr>
              <a:t>Authorities</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Health Regulators</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Health Care Providers</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Human Resources </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Medical supplies providers</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Pharmaceutical </a:t>
            </a:r>
            <a:r>
              <a:rPr lang="ar-SA" sz="3200" b="1">
                <a:solidFill>
                  <a:schemeClr val="tx1"/>
                </a:solidFill>
                <a:latin typeface="Arial" panose="020B0604020202020204" pitchFamily="34" charset="0"/>
              </a:rPr>
              <a:t> </a:t>
            </a:r>
            <a:r>
              <a:rPr lang="en-US" sz="3200" b="1">
                <a:solidFill>
                  <a:schemeClr val="tx1"/>
                </a:solidFill>
                <a:latin typeface="Arial" panose="020B0604020202020204" pitchFamily="34" charset="0"/>
              </a:rPr>
              <a:t>producers</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Arial" panose="020B0604020202020204" pitchFamily="34" charset="0"/>
              </a:rPr>
              <a:t> Judiciary Services</a:t>
            </a:r>
          </a:p>
        </p:txBody>
      </p:sp>
      <p:sp>
        <p:nvSpPr>
          <p:cNvPr id="25604"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25605"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9"/>
          <p:cNvSpPr>
            <a:spLocks noChangeArrowheads="1"/>
          </p:cNvSpPr>
          <p:nvPr/>
        </p:nvSpPr>
        <p:spPr bwMode="auto">
          <a:xfrm>
            <a:off x="0" y="0"/>
            <a:ext cx="9144000" cy="4572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2800" b="1">
                <a:solidFill>
                  <a:schemeClr val="bg1"/>
                </a:solidFill>
                <a:latin typeface="Arial Rounded MT Bold" panose="020F0704030504030204" pitchFamily="34" charset="0"/>
              </a:rPr>
              <a:t>Health System in Saudi Arabia</a:t>
            </a:r>
          </a:p>
        </p:txBody>
      </p:sp>
      <p:sp>
        <p:nvSpPr>
          <p:cNvPr id="27651" name="Rectangle 3"/>
          <p:cNvSpPr>
            <a:spLocks noChangeArrowheads="1"/>
          </p:cNvSpPr>
          <p:nvPr/>
        </p:nvSpPr>
        <p:spPr bwMode="auto">
          <a:xfrm>
            <a:off x="914400" y="1066800"/>
            <a:ext cx="5118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Tx/>
              <a:buSzTx/>
              <a:buFontTx/>
              <a:buNone/>
            </a:pPr>
            <a:r>
              <a:rPr lang="en-US" sz="3600" b="1">
                <a:solidFill>
                  <a:schemeClr val="tx1"/>
                </a:solidFill>
                <a:latin typeface="Garamond" panose="02020404030301010803" pitchFamily="18" charset="0"/>
              </a:rPr>
              <a:t>Financing Resources:</a:t>
            </a:r>
          </a:p>
        </p:txBody>
      </p:sp>
      <p:sp>
        <p:nvSpPr>
          <p:cNvPr id="10244" name="Rectangle 4"/>
          <p:cNvSpPr>
            <a:spLocks noChangeArrowheads="1"/>
          </p:cNvSpPr>
          <p:nvPr/>
        </p:nvSpPr>
        <p:spPr bwMode="auto">
          <a:xfrm>
            <a:off x="1143000" y="2136775"/>
            <a:ext cx="6400800"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Garamond" panose="02020404030301010803" pitchFamily="18" charset="0"/>
              </a:rPr>
              <a:t>Governmental</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Garamond" panose="02020404030301010803" pitchFamily="18" charset="0"/>
              </a:rPr>
              <a:t> Out of pocket.</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Garamond" panose="02020404030301010803" pitchFamily="18" charset="0"/>
              </a:rPr>
              <a:t> Charity.</a:t>
            </a:r>
          </a:p>
          <a:p>
            <a:pPr algn="l" rtl="0" eaLnBrk="1" hangingPunct="1">
              <a:lnSpc>
                <a:spcPct val="100000"/>
              </a:lnSpc>
              <a:spcBef>
                <a:spcPct val="0"/>
              </a:spcBef>
              <a:spcAft>
                <a:spcPct val="0"/>
              </a:spcAft>
              <a:buClr>
                <a:srgbClr val="FF0000"/>
              </a:buClr>
              <a:buSzTx/>
              <a:buFont typeface="Wingdings" panose="05000000000000000000" pitchFamily="2" charset="2"/>
              <a:buChar char="§"/>
            </a:pPr>
            <a:r>
              <a:rPr lang="en-US" sz="3200" b="1">
                <a:solidFill>
                  <a:schemeClr val="tx1"/>
                </a:solidFill>
                <a:latin typeface="Garamond" panose="02020404030301010803" pitchFamily="18" charset="0"/>
              </a:rPr>
              <a:t> Donation.</a:t>
            </a:r>
          </a:p>
        </p:txBody>
      </p:sp>
      <p:sp>
        <p:nvSpPr>
          <p:cNvPr id="27653" name="Rectangle 39"/>
          <p:cNvSpPr>
            <a:spLocks noChangeArrowheads="1"/>
          </p:cNvSpPr>
          <p:nvPr/>
        </p:nvSpPr>
        <p:spPr bwMode="auto">
          <a:xfrm>
            <a:off x="0" y="6743700"/>
            <a:ext cx="9144000" cy="114300"/>
          </a:xfrm>
          <a:prstGeom prst="rect">
            <a:avLst/>
          </a:prstGeom>
          <a:solidFill>
            <a:srgbClr val="CC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endParaRPr lang="ar-SA" sz="2800" b="1">
              <a:solidFill>
                <a:schemeClr val="bg1"/>
              </a:solidFill>
              <a:latin typeface="Arial Rounded MT Bold" panose="020F0704030504030204" pitchFamily="34" charset="0"/>
            </a:endParaRPr>
          </a:p>
        </p:txBody>
      </p:sp>
      <p:sp>
        <p:nvSpPr>
          <p:cNvPr id="27654" name="Rectangle 11"/>
          <p:cNvSpPr>
            <a:spLocks noChangeArrowheads="1"/>
          </p:cNvSpPr>
          <p:nvPr/>
        </p:nvSpPr>
        <p:spPr bwMode="auto">
          <a:xfrm>
            <a:off x="904875" y="533400"/>
            <a:ext cx="7477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r" rtl="1">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gn="r" rtl="1">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gn="r" rtl="1">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l" rtl="0">
              <a:lnSpc>
                <a:spcPct val="100000"/>
              </a:lnSpc>
              <a:spcBef>
                <a:spcPct val="0"/>
              </a:spcBef>
              <a:spcAft>
                <a:spcPct val="0"/>
              </a:spcAft>
              <a:buClrTx/>
              <a:buSzTx/>
              <a:buFontTx/>
              <a:buNone/>
            </a:pPr>
            <a:r>
              <a:rPr lang="en-US" sz="3200" b="1">
                <a:solidFill>
                  <a:srgbClr val="FF0000"/>
                </a:solidFill>
                <a:latin typeface="Arial" panose="020B0604020202020204" pitchFamily="34" charset="0"/>
              </a:rPr>
              <a:t>Health System:  Components </a:t>
            </a:r>
            <a:endParaRPr lang="ar-SA" sz="3200">
              <a:solidFill>
                <a:srgbClr val="FF0000"/>
              </a:solidFill>
              <a:latin typeface="Garamond" panose="02020404030301010803"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0244">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0244">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44">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24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2900769[[fn=Retrospect]]</Template>
  <TotalTime>18140</TotalTime>
  <Words>2250</Words>
  <Application>Microsoft Office PowerPoint</Application>
  <PresentationFormat>On-screen Show (4:3)</PresentationFormat>
  <Paragraphs>626</Paragraphs>
  <Slides>41</Slides>
  <Notes>28</Notes>
  <HiddenSlides>1</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8" baseType="lpstr">
      <vt:lpstr>Garamond</vt:lpstr>
      <vt:lpstr>Arial</vt:lpstr>
      <vt:lpstr>Calibri Light</vt:lpstr>
      <vt:lpstr>Calibri</vt:lpstr>
      <vt:lpstr>Arial Rounded MT Bold</vt:lpstr>
      <vt:lpstr>Wingdings 3</vt:lpstr>
      <vt:lpstr>Arial Unicode MS</vt:lpstr>
      <vt:lpstr>Wingdings</vt:lpstr>
      <vt:lpstr>Tahoma</vt:lpstr>
      <vt:lpstr>Comic Sans MS</vt:lpstr>
      <vt:lpstr>Times New Roman</vt:lpstr>
      <vt:lpstr>Georgia</vt:lpstr>
      <vt:lpstr>SimSun</vt:lpstr>
      <vt:lpstr>方正姚体</vt:lpstr>
      <vt:lpstr>Traditional Arabic</vt:lpstr>
      <vt:lpstr>Retrospec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HIGH COST OF HAELTH CARE </vt:lpstr>
      <vt:lpstr>A delivery system that  prevents abuse and excessive use </vt:lpstr>
      <vt:lpstr>New Model Of Care</vt:lpstr>
      <vt:lpstr>Model of Care (MoC) is based on six systems of care that center around ensuring patient well-being and contributing to a healthier society </vt:lpstr>
      <vt:lpstr>MoC will be delivered through the 42 interventions spread across Systems of Care, which will be rolled out across all the clusters</vt:lpstr>
      <vt:lpstr> Currently, each Cluster is running specific pilots corresponding to a given System of Care</vt:lpstr>
      <vt:lpstr>MoC aim is to create comprehensive Integrated Care Systems for holistic care delivery based on the Model of Care </vt:lpstr>
      <vt:lpstr>The objective of the MoC workstream is to design and implement KSA’s future healthcare delivery system</vt:lpstr>
      <vt:lpstr>We are currently nearing the end of Phase III and are preparing for Phase IV</vt:lpstr>
      <vt:lpstr>In Phase I, citizens, experts and workforce were engaged  to design the new Model of Care…</vt:lpstr>
      <vt:lpstr>PowerPoint Presentation</vt:lpstr>
      <vt:lpstr>In Phase III, 5 pathway development projects (pilots) launched and continued detailing interventions</vt:lpstr>
      <vt:lpstr>currently planning MoC cluster rollouts as the first step towards national rollout</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hamed Almahdi Al noor</dc:creator>
  <cp:lastModifiedBy>Bader</cp:lastModifiedBy>
  <cp:revision>197</cp:revision>
  <dcterms:created xsi:type="dcterms:W3CDTF">2003-01-02T21:43:14Z</dcterms:created>
  <dcterms:modified xsi:type="dcterms:W3CDTF">2019-02-19T19:13:10Z</dcterms:modified>
</cp:coreProperties>
</file>